
<file path=[Content_Types].xml><?xml version="1.0" encoding="utf-8"?>
<Types xmlns="http://schemas.openxmlformats.org/package/2006/content-types">
  <Default Extension="png" ContentType="image/png"/>
  <Default Extension="rels" ContentType="application/vnd.openxmlformats-package.relationships+xml"/>
  <Default Extension="jpeg" ContentType="image/jpeg"/>
  <Default Extension="xml" ContentType="application/xml"/>
  <Override PartName="/ppt/slides/slide8.xml" ContentType="application/vnd.openxmlformats-officedocument.presentationml.slide+xml"/>
  <Override PartName="/ppt/slides/slide20.xml" ContentType="application/vnd.openxmlformats-officedocument.presentationml.slide+xml"/>
  <Override PartName="/ppt/drawings/drawing2.xml" ContentType="application/vnd.openxmlformats-officedocument.drawingml.chartshapes+xml"/>
  <Override PartName="/ppt/drawings/drawing1.xml" ContentType="application/vnd.openxmlformats-officedocument.drawingml.chartshapes+xml"/>
  <Override PartName="/ppt/slides/slide19.xml" ContentType="application/vnd.openxmlformats-officedocument.presentationml.slide+xml"/>
  <Override PartName="/ppt/drawings/drawing3.xml" ContentType="application/vnd.openxmlformats-officedocument.drawingml.chartshapes+xml"/>
  <Override PartName="/ppt/slides/slide17.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8.xml" ContentType="application/vnd.openxmlformats-officedocument.presentationml.slide+xml"/>
  <Override PartName="/ppt/slides/slide9.xml" ContentType="application/vnd.openxmlformats-officedocument.presentationml.slide+xml"/>
  <Override PartName="/ppt/presentation.xml" ContentType="application/vnd.openxmlformats-officedocument.presentationml.presentation.main+xml"/>
  <Override PartName="/ppt/slides/slide7.xml" ContentType="application/vnd.openxmlformats-officedocument.presentationml.slide+xml"/>
  <Override PartName="/ppt/slides/slide1.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4.xml" ContentType="application/vnd.openxmlformats-officedocument.presentationml.slide+xml"/>
  <Override PartName="/ppt/notesSlides/notesSlide11.xml" ContentType="application/vnd.openxmlformats-officedocument.presentationml.notesSlide+xml"/>
  <Override PartName="/ppt/slideMasters/slideMaster26.xml" ContentType="application/vnd.openxmlformats-officedocument.presentationml.slideMaster+xml"/>
  <Override PartName="/ppt/notesSlides/notesSlide12.xml" ContentType="application/vnd.openxmlformats-officedocument.presentationml.notesSlide+xml"/>
  <Override PartName="/ppt/slideMasters/slideMaster25.xml" ContentType="application/vnd.openxmlformats-officedocument.presentationml.slideMaster+xml"/>
  <Override PartName="/ppt/notesSlides/notesSlide10.xml" ContentType="application/vnd.openxmlformats-officedocument.presentationml.notesSlide+xml"/>
  <Override PartName="/ppt/notesSlides/notesSlide9.xml" ContentType="application/vnd.openxmlformats-officedocument.presentationml.notesSlide+xml"/>
  <Override PartName="/ppt/notesSlides/notesSlide8.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13.xml" ContentType="application/vnd.openxmlformats-officedocument.presentationml.notesSlide+xml"/>
  <Override PartName="/ppt/slideMasters/slideMaster24.xml" ContentType="application/vnd.openxmlformats-officedocument.presentationml.slideMaster+xml"/>
  <Override PartName="/ppt/notesSlides/notesSlide14.xml" ContentType="application/vnd.openxmlformats-officedocument.presentationml.notesSlide+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notesSlides/notesSlide16.xml" ContentType="application/vnd.openxmlformats-officedocument.presentationml.notesSlide+xml"/>
  <Override PartName="/ppt/notesSlides/notesSlide15.xml" ContentType="application/vnd.openxmlformats-officedocument.presentationml.notesSlide+xml"/>
  <Override PartName="/ppt/slideMasters/slideMaster11.xml" ContentType="application/vnd.openxmlformats-officedocument.presentationml.slideMaster+xml"/>
  <Override PartName="/ppt/slideMasters/slideMaster10.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5.xml" ContentType="application/vnd.openxmlformats-officedocument.presentationml.slideMaster+xml"/>
  <Override PartName="/ppt/slideMasters/slideMaster14.xml" ContentType="application/vnd.openxmlformats-officedocument.presentationml.slideMaster+xml"/>
  <Override PartName="/ppt/slideMasters/slideMaster9.xml" ContentType="application/vnd.openxmlformats-officedocument.presentationml.slideMaster+xml"/>
  <Override PartName="/ppt/slideMasters/slideMaster4.xml" ContentType="application/vnd.openxmlformats-officedocument.presentationml.slideMaster+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16.xml" ContentType="application/vnd.openxmlformats-officedocument.presentationml.slideMaster+xml"/>
  <Override PartName="/ppt/slideMasters/slideMaster18.xml" ContentType="application/vnd.openxmlformats-officedocument.presentationml.slideMaster+xml"/>
  <Override PartName="/ppt/slideMasters/slideMaster17.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notesSlides/notesSlide3.xml" ContentType="application/vnd.openxmlformats-officedocument.presentationml.notesSlide+xml"/>
  <Override PartName="/ppt/slideMasters/slideMaster1.xml" ContentType="application/vnd.openxmlformats-officedocument.presentationml.slideMaster+xml"/>
  <Override PartName="/ppt/slideLayouts/slideLayout332.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14.xml" ContentType="application/vnd.openxmlformats-officedocument.presentationml.slideLayout+xml"/>
  <Override PartName="/ppt/slideLayouts/slideLayout213.xml" ContentType="application/vnd.openxmlformats-officedocument.presentationml.slideLayout+xml"/>
  <Override PartName="/ppt/slideLayouts/slideLayout21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38.xml" ContentType="application/vnd.openxmlformats-officedocument.presentationml.slideLayout+xml"/>
  <Override PartName="/ppt/slideLayouts/slideLayout237.xml" ContentType="application/vnd.openxmlformats-officedocument.presentationml.slideLayout+xml"/>
  <Override PartName="/ppt/slideLayouts/slideLayout23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02.xml" ContentType="application/vnd.openxmlformats-officedocument.presentationml.slideLayout+xml"/>
  <Override PartName="/ppt/slideLayouts/slideLayout201.xml" ContentType="application/vnd.openxmlformats-officedocument.presentationml.slideLayout+xml"/>
  <Override PartName="/ppt/slideLayouts/slideLayout200.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67.xml" ContentType="application/vnd.openxmlformats-officedocument.presentationml.slideLayout+xml"/>
  <Override PartName="/ppt/slideLayouts/slideLayout331.xml" ContentType="application/vnd.openxmlformats-officedocument.presentationml.slideLayout+xml"/>
  <Override PartName="/ppt/slideLayouts/slideLayout16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190.xml" ContentType="application/vnd.openxmlformats-officedocument.presentationml.slideLayout+xml"/>
  <Override PartName="/ppt/slideLayouts/slideLayout189.xml" ContentType="application/vnd.openxmlformats-officedocument.presentationml.slideLayout+xml"/>
  <Override PartName="/ppt/slideLayouts/slideLayout188.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09.xml" ContentType="application/vnd.openxmlformats-officedocument.presentationml.slideLayout+xml"/>
  <Override PartName="/ppt/slideLayouts/slideLayout308.xml" ContentType="application/vnd.openxmlformats-officedocument.presentationml.slideLayout+xml"/>
  <Override PartName="/ppt/slideLayouts/slideLayout30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41.xml" ContentType="application/vnd.openxmlformats-officedocument.presentationml.slideLayout+xml"/>
  <Override PartName="/ppt/slideLayouts/slideLayout340.xml" ContentType="application/vnd.openxmlformats-officedocument.presentationml.slideLayout+xml"/>
  <Override PartName="/ppt/slideLayouts/slideLayout339.xml" ContentType="application/vnd.openxmlformats-officedocument.presentationml.slideLayout+xml"/>
  <Override PartName="/ppt/slideLayouts/slideLayout338.xml" ContentType="application/vnd.openxmlformats-officedocument.presentationml.slideLayout+xml"/>
  <Override PartName="/ppt/slideLayouts/slideLayout337.xml" ContentType="application/vnd.openxmlformats-officedocument.presentationml.slideLayout+xml"/>
  <Override PartName="/ppt/slideLayouts/slideLayout336.xml" ContentType="application/vnd.openxmlformats-officedocument.presentationml.slideLayout+xml"/>
  <Override PartName="/ppt/slideLayouts/slideLayout335.xml" ContentType="application/vnd.openxmlformats-officedocument.presentationml.slideLayout+xml"/>
  <Override PartName="/ppt/slideLayouts/slideLayout334.xml" ContentType="application/vnd.openxmlformats-officedocument.presentationml.slideLayout+xml"/>
  <Override PartName="/ppt/slideLayouts/slideLayout333.xml" ContentType="application/vnd.openxmlformats-officedocument.presentationml.slideLayout+xml"/>
  <Override PartName="/ppt/slideLayouts/slideLayout342.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297.xml" ContentType="application/vnd.openxmlformats-officedocument.presentationml.slideLayout+xml"/>
  <Override PartName="/ppt/slideLayouts/slideLayout296.xml" ContentType="application/vnd.openxmlformats-officedocument.presentationml.slideLayout+xml"/>
  <Override PartName="/ppt/slideLayouts/slideLayout295.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62.xml" ContentType="application/vnd.openxmlformats-officedocument.presentationml.slideLayout+xml"/>
  <Override PartName="/ppt/slideLayouts/slideLayout261.xml" ContentType="application/vnd.openxmlformats-officedocument.presentationml.slideLayout+xml"/>
  <Override PartName="/ppt/slideLayouts/slideLayout26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85.xml" ContentType="application/vnd.openxmlformats-officedocument.presentationml.slideLayout+xml"/>
  <Override PartName="/ppt/slideLayouts/slideLayout284.xml" ContentType="application/vnd.openxmlformats-officedocument.presentationml.slideLayout+xml"/>
  <Override PartName="/ppt/slideLayouts/slideLayout283.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155.xml" ContentType="application/vnd.openxmlformats-officedocument.presentationml.slideLayout+xml"/>
  <Override PartName="/ppt/slideLayouts/slideLayout166.xml" ContentType="application/vnd.openxmlformats-officedocument.presentationml.slideLayout+xml"/>
  <Override PartName="/ppt/slideLayouts/slideLayout16.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55.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64.xml" ContentType="application/vnd.openxmlformats-officedocument.presentationml.slideLayout+xml"/>
  <Override PartName="/ppt/slideLayouts/slideLayout1.xml" ContentType="application/vnd.openxmlformats-officedocument.presentationml.slideLayout+xml"/>
  <Override PartName="/ppt/slideLayouts/slideLayout6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15.xml" ContentType="application/vnd.openxmlformats-officedocument.presentationml.slideLayout+xml"/>
  <Override PartName="/ppt/slideLayouts/slideLayout83.xml" ContentType="application/vnd.openxmlformats-officedocument.presentationml.slideLayout+xml"/>
  <Override PartName="/ppt/slideLayouts/slideLayout75.xml" ContentType="application/vnd.openxmlformats-officedocument.presentationml.slideLayout+xml"/>
  <Override PartName="/ppt/slideLayouts/slideLayout74.xml" ContentType="application/vnd.openxmlformats-officedocument.presentationml.slideLayout+xml"/>
  <Override PartName="/ppt/slideLayouts/slideLayout73.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47.xml" ContentType="application/vnd.openxmlformats-officedocument.presentationml.slideLayout+xml"/>
  <Override PartName="/ppt/slideLayouts/slideLayout46.xml" ContentType="application/vnd.openxmlformats-officedocument.presentationml.slideLayout+xml"/>
  <Override PartName="/ppt/slideLayouts/slideLayout45.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8.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11.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14.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slideLayouts/slideLayout36.xml" ContentType="application/vnd.openxmlformats-officedocument.presentationml.slideLayout+xml"/>
  <Override PartName="/ppt/slideLayouts/slideLayout35.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34.xml" ContentType="application/vnd.openxmlformats-officedocument.presentationml.slideLayout+xml"/>
  <Override PartName="/ppt/slideLayouts/slideLayout5.xml" ContentType="application/vnd.openxmlformats-officedocument.presentationml.slideLayout+xml"/>
  <Override PartName="/ppt/slideLayouts/slideLayout84.xml" ContentType="application/vnd.openxmlformats-officedocument.presentationml.slideLayout+xml"/>
  <Override PartName="/ppt/slideLayouts/slideLayout82.xml" ContentType="application/vnd.openxmlformats-officedocument.presentationml.slideLayout+xml"/>
  <Override PartName="/ppt/slideLayouts/slideLayout154.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Masters/slideMaster27.xml" ContentType="application/vnd.openxmlformats-officedocument.presentationml.slideMaster+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Layouts/slideLayout129.xml" ContentType="application/vnd.openxmlformats-officedocument.presentationml.slideLayout+xml"/>
  <Override PartName="/ppt/slideLayouts/slideLayout128.xml" ContentType="application/vnd.openxmlformats-officedocument.presentationml.slideLayout+xml"/>
  <Override PartName="/ppt/slideLayouts/slideLayout127.xml" ContentType="application/vnd.openxmlformats-officedocument.presentationml.slideLayout+xml"/>
  <Override PartName="/ppt/slideLayouts/slideLayout119.xml" ContentType="application/vnd.openxmlformats-officedocument.presentationml.slideLayout+xml"/>
  <Override PartName="/ppt/slideLayouts/slideLayout85.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45.xml" ContentType="application/vnd.openxmlformats-officedocument.presentationml.slideLayout+xml"/>
  <Override PartName="/ppt/slideMasters/slideMaster31.xml" ContentType="application/vnd.openxmlformats-officedocument.presentationml.slideMaster+xml"/>
  <Override PartName="/ppt/slideLayouts/slideLayout144.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Masters/slideMaster30.xml" ContentType="application/vnd.openxmlformats-officedocument.presentationml.slideMaster+xml"/>
  <Override PartName="/ppt/slideLayouts/slideLayout118.xml" ContentType="application/vnd.openxmlformats-officedocument.presentationml.slideLayout+xml"/>
  <Override PartName="/ppt/slideLayouts/slideLayout120.xml" ContentType="application/vnd.openxmlformats-officedocument.presentationml.slideLayout+xml"/>
  <Override PartName="/ppt/slideLayouts/slideLayout116.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17.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95.xml" ContentType="application/vnd.openxmlformats-officedocument.presentationml.slideLayout+xml"/>
  <Override PartName="/ppt/slideLayouts/slideLayout94.xml" ContentType="application/vnd.openxmlformats-officedocument.presentationml.slideLayout+xml"/>
  <Override PartName="/ppt/slideLayouts/slideLayout93.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103.xml" ContentType="application/vnd.openxmlformats-officedocument.presentationml.slideLayout+xml"/>
  <Override PartName="/ppt/slideLayouts/slideLayout100.xml" ContentType="application/vnd.openxmlformats-officedocument.presentationml.slideLayout+xml"/>
  <Override PartName="/ppt/slideLayouts/slideLayout112.xml" ContentType="application/vnd.openxmlformats-officedocument.presentationml.slideLayout+xml"/>
  <Override PartName="/ppt/slideLayouts/slideLayout110.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04.xml" ContentType="application/vnd.openxmlformats-officedocument.presentationml.slideLayout+xml"/>
  <Override PartName="/ppt/slideLayouts/slideLayout111.xml" ContentType="application/vnd.openxmlformats-officedocument.presentationml.slideLayout+xml"/>
  <Override PartName="/ppt/slideLayouts/slideLayout109.xml" ContentType="application/vnd.openxmlformats-officedocument.presentationml.slideLayout+xml"/>
  <Override PartName="/ppt/slideLayouts/slideLayout115.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6.xml" ContentType="application/vnd.openxmlformats-officedocument.presentationml.slideLayout+xml"/>
  <Override PartName="/ppt/slideLayouts/slideLayout105.xml" ContentType="application/vnd.openxmlformats-officedocument.presentationml.slideLayout+xml"/>
  <Override PartName="/ppt/handoutMasters/handoutMaster1.xml" ContentType="application/vnd.openxmlformats-officedocument.presentationml.handoutMaster+xml"/>
  <Override PartName="/ppt/theme/theme14.xml" ContentType="application/vnd.openxmlformats-officedocument.theme+xml"/>
  <Override PartName="/ppt/commentAuthors.xml" ContentType="application/vnd.openxmlformats-officedocument.presentationml.commentAuthors+xml"/>
  <Override PartName="/ppt/theme/theme1.xml" ContentType="application/vnd.openxmlformats-officedocument.theme+xml"/>
  <Override PartName="/ppt/notesMasters/notesMaster1.xml" ContentType="application/vnd.openxmlformats-officedocument.presentationml.notesMaster+xml"/>
  <Override PartName="/ppt/theme/theme30.xml" ContentType="application/vnd.openxmlformats-officedocument.theme+xml"/>
  <Override PartName="/ppt/theme/theme32.xml" ContentType="application/vnd.openxmlformats-officedocument.theme+xml"/>
  <Override PartName="/ppt/theme/theme31.xml" ContentType="application/vnd.openxmlformats-officedocument.theme+xml"/>
  <Override PartName="/ppt/theme/theme33.xml" ContentType="application/vnd.openxmlformats-officedocument.theme+xml"/>
  <Override PartName="/ppt/theme/theme29.xml" ContentType="application/vnd.openxmlformats-officedocument.theme+xml"/>
  <Override PartName="/ppt/charts/chart2.xml" ContentType="application/vnd.openxmlformats-officedocument.drawingml.chart+xml"/>
  <Override PartName="/ppt/theme/theme19.xml" ContentType="application/vnd.openxmlformats-officedocument.theme+xml"/>
  <Override PartName="/ppt/theme/theme9.xml" ContentType="application/vnd.openxmlformats-officedocument.theme+xml"/>
  <Override PartName="/ppt/theme/theme20.xml" ContentType="application/vnd.openxmlformats-officedocument.theme+xml"/>
  <Override PartName="/ppt/theme/theme8.xml" ContentType="application/vnd.openxmlformats-officedocument.theme+xml"/>
  <Override PartName="/ppt/theme/theme21.xml" ContentType="application/vnd.openxmlformats-officedocument.theme+xml"/>
  <Override PartName="/ppt/theme/theme7.xml" ContentType="application/vnd.openxmlformats-officedocument.theme+xml"/>
  <Override PartName="/ppt/charts/chart3.xml" ContentType="application/vnd.openxmlformats-officedocument.drawingml.chart+xml"/>
  <Override PartName="/ppt/theme/theme10.xml" ContentType="application/vnd.openxmlformats-officedocument.theme+xml"/>
  <Override PartName="/ppt/theme/theme18.xml" ContentType="application/vnd.openxmlformats-officedocument.theme+xml"/>
  <Override PartName="/ppt/theme/theme11.xml" ContentType="application/vnd.openxmlformats-officedocument.theme+xml"/>
  <Override PartName="/ppt/theme/theme15.xml" ContentType="application/vnd.openxmlformats-officedocument.theme+xml"/>
  <Override PartName="/ppt/theme/theme13.xml" ContentType="application/vnd.openxmlformats-officedocument.theme+xml"/>
  <Override PartName="/ppt/theme/theme16.xml" ContentType="application/vnd.openxmlformats-officedocument.theme+xml"/>
  <Override PartName="/ppt/theme/theme12.xml" ContentType="application/vnd.openxmlformats-officedocument.theme+xml"/>
  <Override PartName="/ppt/theme/theme17.xml" ContentType="application/vnd.openxmlformats-officedocument.theme+xml"/>
  <Override PartName="/ppt/theme/theme6.xml" ContentType="application/vnd.openxmlformats-officedocument.theme+xml"/>
  <Override PartName="/ppt/theme/theme22.xml" ContentType="application/vnd.openxmlformats-officedocument.theme+xml"/>
  <Override PartName="/ppt/theme/theme23.xml" ContentType="application/vnd.openxmlformats-officedocument.theme+xml"/>
  <Override PartName="/ppt/charts/chart1.xml" ContentType="application/vnd.openxmlformats-officedocument.drawingml.chart+xml"/>
  <Override PartName="/ppt/theme/theme27.xml" ContentType="application/vnd.openxmlformats-officedocument.theme+xml"/>
  <Override PartName="/ppt/theme/theme28.xml" ContentType="application/vnd.openxmlformats-officedocument.theme+xml"/>
  <Override PartName="/ppt/theme/theme3.xml" ContentType="application/vnd.openxmlformats-officedocument.theme+xml"/>
  <Override PartName="/ppt/theme/theme26.xml" ContentType="application/vnd.openxmlformats-officedocument.theme+xml"/>
  <Override PartName="/ppt/theme/theme5.xml" ContentType="application/vnd.openxmlformats-officedocument.theme+xml"/>
  <Override PartName="/ppt/theme/theme24.xml" ContentType="application/vnd.openxmlformats-officedocument.theme+xml"/>
  <Override PartName="/ppt/theme/theme25.xml" ContentType="application/vnd.openxmlformats-officedocument.theme+xml"/>
  <Override PartName="/ppt/theme/theme4.xml" ContentType="application/vnd.openxmlformats-officedocument.theme+xml"/>
  <Override PartName="/ppt/theme/theme2.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34.xml" ContentType="application/vnd.openxmlformats-officedocument.presentationml.tags+xml"/>
  <Override PartName="/ppt/tags/tag33.xml" ContentType="application/vnd.openxmlformats-officedocument.presentationml.tags+xml"/>
  <Override PartName="/ppt/tags/tag2.xml" ContentType="application/vnd.openxmlformats-officedocument.presentationml.tags+xml"/>
  <Override PartName="/ppt/tags/tag163.xml" ContentType="application/vnd.openxmlformats-officedocument.presentationml.tags+xml"/>
  <Override PartName="/ppt/tags/tag162.xml" ContentType="application/vnd.openxmlformats-officedocument.presentationml.tags+xml"/>
  <Override PartName="/ppt/tags/tag161.xml" ContentType="application/vnd.openxmlformats-officedocument.presentationml.tags+xml"/>
  <Override PartName="/ppt/tags/tag160.xml" ContentType="application/vnd.openxmlformats-officedocument.presentationml.tags+xml"/>
  <Override PartName="/ppt/tags/tag159.xml" ContentType="application/vnd.openxmlformats-officedocument.presentationml.tags+xml"/>
  <Override PartName="/ppt/tags/tag158.xml" ContentType="application/vnd.openxmlformats-officedocument.presentationml.tags+xml"/>
  <Override PartName="/ppt/tags/tag157.xml" ContentType="application/vnd.openxmlformats-officedocument.presentationml.tags+xml"/>
  <Override PartName="/ppt/tags/tag156.xml" ContentType="application/vnd.openxmlformats-officedocument.presentationml.tags+xml"/>
  <Override PartName="/ppt/tags/tag155.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75.xml" ContentType="application/vnd.openxmlformats-officedocument.presentationml.tags+xml"/>
  <Override PartName="/ppt/tags/tag174.xml" ContentType="application/vnd.openxmlformats-officedocument.presentationml.tags+xml"/>
  <Override PartName="/ppt/tags/tag173.xml" ContentType="application/vnd.openxmlformats-officedocument.presentationml.tags+xml"/>
  <Override PartName="/ppt/tags/tag172.xml" ContentType="application/vnd.openxmlformats-officedocument.presentationml.tags+xml"/>
  <Override PartName="/ppt/tags/tag171.xml" ContentType="application/vnd.openxmlformats-officedocument.presentationml.tags+xml"/>
  <Override PartName="/ppt/tags/tag170.xml" ContentType="application/vnd.openxmlformats-officedocument.presentationml.tags+xml"/>
  <Override PartName="/ppt/tags/tag169.xml" ContentType="application/vnd.openxmlformats-officedocument.presentationml.tags+xml"/>
  <Override PartName="/ppt/tags/tag168.xml" ContentType="application/vnd.openxmlformats-officedocument.presentationml.tags+xml"/>
  <Override PartName="/ppt/tags/tag167.xml" ContentType="application/vnd.openxmlformats-officedocument.presentationml.tags+xml"/>
  <Override PartName="/ppt/tags/tag154.xml" ContentType="application/vnd.openxmlformats-officedocument.presentationml.tags+xml"/>
  <Override PartName="/ppt/tags/tag153.xml" ContentType="application/vnd.openxmlformats-officedocument.presentationml.tags+xml"/>
  <Override PartName="/ppt/tags/tag152.xml" ContentType="application/vnd.openxmlformats-officedocument.presentationml.tags+xml"/>
  <Override PartName="/ppt/tags/tag139.xml" ContentType="application/vnd.openxmlformats-officedocument.presentationml.tags+xml"/>
  <Override PartName="/ppt/tags/tag138.xml" ContentType="application/vnd.openxmlformats-officedocument.presentationml.tags+xml"/>
  <Override PartName="/ppt/tags/tag137.xml" ContentType="application/vnd.openxmlformats-officedocument.presentationml.tags+xml"/>
  <Override PartName="/ppt/tags/tag136.xml" ContentType="application/vnd.openxmlformats-officedocument.presentationml.tags+xml"/>
  <Override PartName="/ppt/tags/tag135.xml" ContentType="application/vnd.openxmlformats-officedocument.presentationml.tags+xml"/>
  <Override PartName="/ppt/tags/tag134.xml" ContentType="application/vnd.openxmlformats-officedocument.presentationml.tags+xml"/>
  <Override PartName="/ppt/tags/tag133.xml" ContentType="application/vnd.openxmlformats-officedocument.presentationml.tags+xml"/>
  <Override PartName="/ppt/tags/tag132.xml" ContentType="application/vnd.openxmlformats-officedocument.presentationml.tags+xml"/>
  <Override PartName="/ppt/tags/tag131.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51.xml" ContentType="application/vnd.openxmlformats-officedocument.presentationml.tags+xml"/>
  <Override PartName="/ppt/tags/tag150.xml" ContentType="application/vnd.openxmlformats-officedocument.presentationml.tags+xml"/>
  <Override PartName="/ppt/tags/tag149.xml" ContentType="application/vnd.openxmlformats-officedocument.presentationml.tags+xml"/>
  <Override PartName="/ppt/tags/tag148.xml" ContentType="application/vnd.openxmlformats-officedocument.presentationml.tags+xml"/>
  <Override PartName="/ppt/tags/tag147.xml" ContentType="application/vnd.openxmlformats-officedocument.presentationml.tags+xml"/>
  <Override PartName="/ppt/tags/tag146.xml" ContentType="application/vnd.openxmlformats-officedocument.presentationml.tags+xml"/>
  <Override PartName="/ppt/tags/tag145.xml" ContentType="application/vnd.openxmlformats-officedocument.presentationml.tags+xml"/>
  <Override PartName="/ppt/tags/tag144.xml" ContentType="application/vnd.openxmlformats-officedocument.presentationml.tags+xml"/>
  <Override PartName="/ppt/tags/tag143.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211.xml" ContentType="application/vnd.openxmlformats-officedocument.presentationml.tags+xml"/>
  <Override PartName="/ppt/tags/tag210.xml" ContentType="application/vnd.openxmlformats-officedocument.presentationml.tags+xml"/>
  <Override PartName="/ppt/tags/tag209.xml" ContentType="application/vnd.openxmlformats-officedocument.presentationml.tags+xml"/>
  <Override PartName="/ppt/tags/tag208.xml" ContentType="application/vnd.openxmlformats-officedocument.presentationml.tags+xml"/>
  <Override PartName="/ppt/tags/tag207.xml" ContentType="application/vnd.openxmlformats-officedocument.presentationml.tags+xml"/>
  <Override PartName="/ppt/tags/tag206.xml" ContentType="application/vnd.openxmlformats-officedocument.presentationml.tags+xml"/>
  <Override PartName="/ppt/tags/tag205.xml" ContentType="application/vnd.openxmlformats-officedocument.presentationml.tags+xml"/>
  <Override PartName="/ppt/tags/tag204.xml" ContentType="application/vnd.openxmlformats-officedocument.presentationml.tags+xml"/>
  <Override PartName="/ppt/tags/tag203.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23.xml" ContentType="application/vnd.openxmlformats-officedocument.presentationml.tags+xml"/>
  <Override PartName="/ppt/tags/tag222.xml" ContentType="application/vnd.openxmlformats-officedocument.presentationml.tags+xml"/>
  <Override PartName="/ppt/tags/tag221.xml" ContentType="application/vnd.openxmlformats-officedocument.presentationml.tags+xml"/>
  <Override PartName="/ppt/tags/tag220.xml" ContentType="application/vnd.openxmlformats-officedocument.presentationml.tags+xml"/>
  <Override PartName="/ppt/tags/tag219.xml" ContentType="application/vnd.openxmlformats-officedocument.presentationml.tags+xml"/>
  <Override PartName="/ppt/tags/tag218.xml" ContentType="application/vnd.openxmlformats-officedocument.presentationml.tags+xml"/>
  <Override PartName="/ppt/tags/tag217.xml" ContentType="application/vnd.openxmlformats-officedocument.presentationml.tags+xml"/>
  <Override PartName="/ppt/tags/tag216.xml" ContentType="application/vnd.openxmlformats-officedocument.presentationml.tags+xml"/>
  <Override PartName="/ppt/tags/tag215.xml" ContentType="application/vnd.openxmlformats-officedocument.presentationml.tags+xml"/>
  <Override PartName="/ppt/tags/tag202.xml" ContentType="application/vnd.openxmlformats-officedocument.presentationml.tags+xml"/>
  <Override PartName="/ppt/tags/tag201.xml" ContentType="application/vnd.openxmlformats-officedocument.presentationml.tags+xml"/>
  <Override PartName="/ppt/tags/tag200.xml" ContentType="application/vnd.openxmlformats-officedocument.presentationml.tags+xml"/>
  <Override PartName="/ppt/tags/tag187.xml" ContentType="application/vnd.openxmlformats-officedocument.presentationml.tags+xml"/>
  <Override PartName="/ppt/tags/tag186.xml" ContentType="application/vnd.openxmlformats-officedocument.presentationml.tags+xml"/>
  <Override PartName="/ppt/tags/tag185.xml" ContentType="application/vnd.openxmlformats-officedocument.presentationml.tags+xml"/>
  <Override PartName="/ppt/tags/tag184.xml" ContentType="application/vnd.openxmlformats-officedocument.presentationml.tags+xml"/>
  <Override PartName="/ppt/tags/tag183.xml" ContentType="application/vnd.openxmlformats-officedocument.presentationml.tags+xml"/>
  <Override PartName="/ppt/tags/tag182.xml" ContentType="application/vnd.openxmlformats-officedocument.presentationml.tags+xml"/>
  <Override PartName="/ppt/tags/tag181.xml" ContentType="application/vnd.openxmlformats-officedocument.presentationml.tags+xml"/>
  <Override PartName="/ppt/tags/tag180.xml" ContentType="application/vnd.openxmlformats-officedocument.presentationml.tags+xml"/>
  <Override PartName="/ppt/tags/tag179.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9.xml" ContentType="application/vnd.openxmlformats-officedocument.presentationml.tags+xml"/>
  <Override PartName="/ppt/tags/tag198.xml" ContentType="application/vnd.openxmlformats-officedocument.presentationml.tags+xml"/>
  <Override PartName="/ppt/tags/tag197.xml" ContentType="application/vnd.openxmlformats-officedocument.presentationml.tags+xml"/>
  <Override PartName="/ppt/tags/tag196.xml" ContentType="application/vnd.openxmlformats-officedocument.presentationml.tags+xml"/>
  <Override PartName="/ppt/tags/tag195.xml" ContentType="application/vnd.openxmlformats-officedocument.presentationml.tags+xml"/>
  <Override PartName="/ppt/tags/tag194.xml" ContentType="application/vnd.openxmlformats-officedocument.presentationml.tags+xml"/>
  <Override PartName="/ppt/tags/tag193.xml" ContentType="application/vnd.openxmlformats-officedocument.presentationml.tags+xml"/>
  <Override PartName="/ppt/tags/tag192.xml" ContentType="application/vnd.openxmlformats-officedocument.presentationml.tags+xml"/>
  <Override PartName="/ppt/tags/tag191.xml" ContentType="application/vnd.openxmlformats-officedocument.presentationml.tags+xml"/>
  <Override PartName="/ppt/tags/tag130.xml" ContentType="application/vnd.openxmlformats-officedocument.presentationml.tags+xml"/>
  <Override PartName="/ppt/tags/tag129.xml" ContentType="application/vnd.openxmlformats-officedocument.presentationml.tags+xml"/>
  <Override PartName="/ppt/tags/tag128.xml" ContentType="application/vnd.openxmlformats-officedocument.presentationml.tags+xml"/>
  <Override PartName="/ppt/tags/tag67.xml" ContentType="application/vnd.openxmlformats-officedocument.presentationml.tags+xml"/>
  <Override PartName="/ppt/tags/tag66.xml" ContentType="application/vnd.openxmlformats-officedocument.presentationml.tags+xml"/>
  <Override PartName="/ppt/tags/tag65.xml" ContentType="application/vnd.openxmlformats-officedocument.presentationml.tags+xml"/>
  <Override PartName="/ppt/tags/tag64.xml" ContentType="application/vnd.openxmlformats-officedocument.presentationml.tags+xml"/>
  <Override PartName="/ppt/tags/tag63.xml" ContentType="application/vnd.openxmlformats-officedocument.presentationml.tags+xml"/>
  <Override PartName="/ppt/tags/tag62.xml" ContentType="application/vnd.openxmlformats-officedocument.presentationml.tags+xml"/>
  <Override PartName="/ppt/tags/tag61.xml" ContentType="application/vnd.openxmlformats-officedocument.presentationml.tags+xml"/>
  <Override PartName="/ppt/tags/tag60.xml" ContentType="application/vnd.openxmlformats-officedocument.presentationml.tags+xml"/>
  <Override PartName="/ppt/tags/tag59.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9.xml" ContentType="application/vnd.openxmlformats-officedocument.presentationml.tags+xml"/>
  <Override PartName="/ppt/tags/tag78.xml" ContentType="application/vnd.openxmlformats-officedocument.presentationml.tags+xml"/>
  <Override PartName="/ppt/tags/tag77.xml" ContentType="application/vnd.openxmlformats-officedocument.presentationml.tags+xml"/>
  <Override PartName="/ppt/tags/tag76.xml" ContentType="application/vnd.openxmlformats-officedocument.presentationml.tags+xml"/>
  <Override PartName="/ppt/tags/tag75.xml" ContentType="application/vnd.openxmlformats-officedocument.presentationml.tags+xml"/>
  <Override PartName="/ppt/tags/tag74.xml" ContentType="application/vnd.openxmlformats-officedocument.presentationml.tags+xml"/>
  <Override PartName="/ppt/tags/tag73.xml" ContentType="application/vnd.openxmlformats-officedocument.presentationml.tags+xml"/>
  <Override PartName="/ppt/tags/tag72.xml" ContentType="application/vnd.openxmlformats-officedocument.presentationml.tags+xml"/>
  <Override PartName="/ppt/tags/tag71.xml" ContentType="application/vnd.openxmlformats-officedocument.presentationml.tags+xml"/>
  <Override PartName="/ppt/tags/tag58.xml" ContentType="application/vnd.openxmlformats-officedocument.presentationml.tags+xml"/>
  <Override PartName="/ppt/tags/tag57.xml" ContentType="application/vnd.openxmlformats-officedocument.presentationml.tags+xml"/>
  <Override PartName="/ppt/tags/tag56.xml" ContentType="application/vnd.openxmlformats-officedocument.presentationml.tags+xml"/>
  <Override PartName="/ppt/tags/tag43.xml" ContentType="application/vnd.openxmlformats-officedocument.presentationml.tags+xml"/>
  <Override PartName="/ppt/tags/tag42.xml" ContentType="application/vnd.openxmlformats-officedocument.presentationml.tags+xml"/>
  <Override PartName="/ppt/tags/tag41.xml" ContentType="application/vnd.openxmlformats-officedocument.presentationml.tags+xml"/>
  <Override PartName="/ppt/tags/tag40.xml" ContentType="application/vnd.openxmlformats-officedocument.presentationml.tags+xml"/>
  <Override PartName="/ppt/tags/tag39.xml" ContentType="application/vnd.openxmlformats-officedocument.presentationml.tags+xml"/>
  <Override PartName="/ppt/tags/tag38.xml" ContentType="application/vnd.openxmlformats-officedocument.presentationml.tags+xml"/>
  <Override PartName="/ppt/tags/tag37.xml" ContentType="application/vnd.openxmlformats-officedocument.presentationml.tags+xml"/>
  <Override PartName="/ppt/tags/tag36.xml" ContentType="application/vnd.openxmlformats-officedocument.presentationml.tags+xml"/>
  <Override PartName="/ppt/tags/tag35.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55.xml" ContentType="application/vnd.openxmlformats-officedocument.presentationml.tags+xml"/>
  <Override PartName="/ppt/tags/tag54.xml" ContentType="application/vnd.openxmlformats-officedocument.presentationml.tags+xml"/>
  <Override PartName="/ppt/tags/tag53.xml" ContentType="application/vnd.openxmlformats-officedocument.presentationml.tags+xml"/>
  <Override PartName="/ppt/tags/tag52.xml" ContentType="application/vnd.openxmlformats-officedocument.presentationml.tags+xml"/>
  <Override PartName="/ppt/tags/tag51.xml" ContentType="application/vnd.openxmlformats-officedocument.presentationml.tags+xml"/>
  <Override PartName="/ppt/tags/tag50.xml" ContentType="application/vnd.openxmlformats-officedocument.presentationml.tags+xml"/>
  <Override PartName="/ppt/tags/tag49.xml" ContentType="application/vnd.openxmlformats-officedocument.presentationml.tags+xml"/>
  <Override PartName="/ppt/tags/tag48.xml" ContentType="application/vnd.openxmlformats-officedocument.presentationml.tags+xml"/>
  <Override PartName="/ppt/tags/tag47.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115.xml" ContentType="application/vnd.openxmlformats-officedocument.presentationml.tags+xml"/>
  <Override PartName="/ppt/tags/tag114.xml" ContentType="application/vnd.openxmlformats-officedocument.presentationml.tags+xml"/>
  <Override PartName="/ppt/tags/tag113.xml" ContentType="application/vnd.openxmlformats-officedocument.presentationml.tags+xml"/>
  <Override PartName="/ppt/tags/tag112.xml" ContentType="application/vnd.openxmlformats-officedocument.presentationml.tags+xml"/>
  <Override PartName="/ppt/tags/tag111.xml" ContentType="application/vnd.openxmlformats-officedocument.presentationml.tags+xml"/>
  <Override PartName="/ppt/tags/tag110.xml" ContentType="application/vnd.openxmlformats-officedocument.presentationml.tags+xml"/>
  <Override PartName="/ppt/tags/tag109.xml" ContentType="application/vnd.openxmlformats-officedocument.presentationml.tags+xml"/>
  <Override PartName="/ppt/tags/tag108.xml" ContentType="application/vnd.openxmlformats-officedocument.presentationml.tags+xml"/>
  <Override PartName="/ppt/tags/tag107.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27.xml" ContentType="application/vnd.openxmlformats-officedocument.presentationml.tags+xml"/>
  <Override PartName="/ppt/tags/tag126.xml" ContentType="application/vnd.openxmlformats-officedocument.presentationml.tags+xml"/>
  <Override PartName="/ppt/tags/tag125.xml" ContentType="application/vnd.openxmlformats-officedocument.presentationml.tags+xml"/>
  <Override PartName="/ppt/tags/tag124.xml" ContentType="application/vnd.openxmlformats-officedocument.presentationml.tags+xml"/>
  <Override PartName="/ppt/tags/tag123.xml" ContentType="application/vnd.openxmlformats-officedocument.presentationml.tags+xml"/>
  <Override PartName="/ppt/tags/tag122.xml" ContentType="application/vnd.openxmlformats-officedocument.presentationml.tags+xml"/>
  <Override PartName="/ppt/tags/tag121.xml" ContentType="application/vnd.openxmlformats-officedocument.presentationml.tags+xml"/>
  <Override PartName="/ppt/tags/tag120.xml" ContentType="application/vnd.openxmlformats-officedocument.presentationml.tags+xml"/>
  <Override PartName="/ppt/tags/tag119.xml" ContentType="application/vnd.openxmlformats-officedocument.presentationml.tags+xml"/>
  <Override PartName="/ppt/tags/tag106.xml" ContentType="application/vnd.openxmlformats-officedocument.presentationml.tags+xml"/>
  <Override PartName="/ppt/tags/tag105.xml" ContentType="application/vnd.openxmlformats-officedocument.presentationml.tags+xml"/>
  <Override PartName="/ppt/tags/tag104.xml" ContentType="application/vnd.openxmlformats-officedocument.presentationml.tags+xml"/>
  <Override PartName="/ppt/tags/tag91.xml" ContentType="application/vnd.openxmlformats-officedocument.presentationml.tags+xml"/>
  <Override PartName="/ppt/tags/tag90.xml" ContentType="application/vnd.openxmlformats-officedocument.presentationml.tags+xml"/>
  <Override PartName="/ppt/tags/tag89.xml" ContentType="application/vnd.openxmlformats-officedocument.presentationml.tags+xml"/>
  <Override PartName="/ppt/tags/tag88.xml" ContentType="application/vnd.openxmlformats-officedocument.presentationml.tags+xml"/>
  <Override PartName="/ppt/tags/tag87.xml" ContentType="application/vnd.openxmlformats-officedocument.presentationml.tags+xml"/>
  <Override PartName="/ppt/tags/tag86.xml" ContentType="application/vnd.openxmlformats-officedocument.presentationml.tags+xml"/>
  <Override PartName="/ppt/tags/tag85.xml" ContentType="application/vnd.openxmlformats-officedocument.presentationml.tags+xml"/>
  <Override PartName="/ppt/tags/tag84.xml" ContentType="application/vnd.openxmlformats-officedocument.presentationml.tags+xml"/>
  <Override PartName="/ppt/tags/tag83.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103.xml" ContentType="application/vnd.openxmlformats-officedocument.presentationml.tags+xml"/>
  <Override PartName="/ppt/tags/tag102.xml" ContentType="application/vnd.openxmlformats-officedocument.presentationml.tags+xml"/>
  <Override PartName="/ppt/tags/tag101.xml" ContentType="application/vnd.openxmlformats-officedocument.presentationml.tags+xml"/>
  <Override PartName="/ppt/tags/tag100.xml" ContentType="application/vnd.openxmlformats-officedocument.presentationml.tags+xml"/>
  <Override PartName="/ppt/tags/tag99.xml" ContentType="application/vnd.openxmlformats-officedocument.presentationml.tags+xml"/>
  <Override PartName="/ppt/tags/tag98.xml" ContentType="application/vnd.openxmlformats-officedocument.presentationml.tags+xml"/>
  <Override PartName="/ppt/tags/tag97.xml" ContentType="application/vnd.openxmlformats-officedocument.presentationml.tags+xml"/>
  <Override PartName="/ppt/tags/tag96.xml" ContentType="application/vnd.openxmlformats-officedocument.presentationml.tags+xml"/>
  <Override PartName="/ppt/tags/tag95.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354.xml" ContentType="application/vnd.openxmlformats-officedocument.presentationml.tags+xml"/>
  <Override PartName="/ppt/tags/tag353.xml" ContentType="application/vnd.openxmlformats-officedocument.presentationml.tags+xml"/>
  <Override PartName="/ppt/tags/tag352.xml" ContentType="application/vnd.openxmlformats-officedocument.presentationml.tags+xml"/>
  <Override PartName="/ppt/tags/tag351.xml" ContentType="application/vnd.openxmlformats-officedocument.presentationml.tags+xml"/>
  <Override PartName="/ppt/tags/tag350.xml" ContentType="application/vnd.openxmlformats-officedocument.presentationml.tags+xml"/>
  <Override PartName="/ppt/tags/tag349.xml" ContentType="application/vnd.openxmlformats-officedocument.presentationml.tags+xml"/>
  <Override PartName="/ppt/tags/tag348.xml" ContentType="application/vnd.openxmlformats-officedocument.presentationml.tags+xml"/>
  <Override PartName="/ppt/tags/tag347.xml" ContentType="application/vnd.openxmlformats-officedocument.presentationml.tags+xml"/>
  <Override PartName="/ppt/tags/tag346.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66.xml" ContentType="application/vnd.openxmlformats-officedocument.presentationml.tags+xml"/>
  <Override PartName="/ppt/tags/tag365.xml" ContentType="application/vnd.openxmlformats-officedocument.presentationml.tags+xml"/>
  <Override PartName="/ppt/tags/tag364.xml" ContentType="application/vnd.openxmlformats-officedocument.presentationml.tags+xml"/>
  <Override PartName="/ppt/tags/tag363.xml" ContentType="application/vnd.openxmlformats-officedocument.presentationml.tags+xml"/>
  <Override PartName="/ppt/tags/tag362.xml" ContentType="application/vnd.openxmlformats-officedocument.presentationml.tags+xml"/>
  <Override PartName="/ppt/tags/tag361.xml" ContentType="application/vnd.openxmlformats-officedocument.presentationml.tags+xml"/>
  <Override PartName="/ppt/tags/tag360.xml" ContentType="application/vnd.openxmlformats-officedocument.presentationml.tags+xml"/>
  <Override PartName="/ppt/tags/tag359.xml" ContentType="application/vnd.openxmlformats-officedocument.presentationml.tags+xml"/>
  <Override PartName="/ppt/tags/tag358.xml" ContentType="application/vnd.openxmlformats-officedocument.presentationml.tags+xml"/>
  <Override PartName="/ppt/tags/tag345.xml" ContentType="application/vnd.openxmlformats-officedocument.presentationml.tags+xml"/>
  <Override PartName="/ppt/tags/tag344.xml" ContentType="application/vnd.openxmlformats-officedocument.presentationml.tags+xml"/>
  <Override PartName="/ppt/tags/tag343.xml" ContentType="application/vnd.openxmlformats-officedocument.presentationml.tags+xml"/>
  <Override PartName="/ppt/tags/tag330.xml" ContentType="application/vnd.openxmlformats-officedocument.presentationml.tags+xml"/>
  <Override PartName="/ppt/tags/tag329.xml" ContentType="application/vnd.openxmlformats-officedocument.presentationml.tags+xml"/>
  <Override PartName="/ppt/tags/tag328.xml" ContentType="application/vnd.openxmlformats-officedocument.presentationml.tags+xml"/>
  <Override PartName="/ppt/tags/tag327.xml" ContentType="application/vnd.openxmlformats-officedocument.presentationml.tags+xml"/>
  <Override PartName="/ppt/tags/tag326.xml" ContentType="application/vnd.openxmlformats-officedocument.presentationml.tags+xml"/>
  <Override PartName="/ppt/tags/tag325.xml" ContentType="application/vnd.openxmlformats-officedocument.presentationml.tags+xml"/>
  <Override PartName="/ppt/tags/tag324.xml" ContentType="application/vnd.openxmlformats-officedocument.presentationml.tags+xml"/>
  <Override PartName="/ppt/tags/tag323.xml" ContentType="application/vnd.openxmlformats-officedocument.presentationml.tags+xml"/>
  <Override PartName="/ppt/tags/tag322.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42.xml" ContentType="application/vnd.openxmlformats-officedocument.presentationml.tags+xml"/>
  <Override PartName="/ppt/tags/tag341.xml" ContentType="application/vnd.openxmlformats-officedocument.presentationml.tags+xml"/>
  <Override PartName="/ppt/tags/tag340.xml" ContentType="application/vnd.openxmlformats-officedocument.presentationml.tags+xml"/>
  <Override PartName="/ppt/tags/tag339.xml" ContentType="application/vnd.openxmlformats-officedocument.presentationml.tags+xml"/>
  <Override PartName="/ppt/tags/tag338.xml" ContentType="application/vnd.openxmlformats-officedocument.presentationml.tags+xml"/>
  <Override PartName="/ppt/tags/tag337.xml" ContentType="application/vnd.openxmlformats-officedocument.presentationml.tags+xml"/>
  <Override PartName="/ppt/tags/tag336.xml" ContentType="application/vnd.openxmlformats-officedocument.presentationml.tags+xml"/>
  <Override PartName="/ppt/tags/tag335.xml" ContentType="application/vnd.openxmlformats-officedocument.presentationml.tags+xml"/>
  <Override PartName="/ppt/tags/tag334.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15.xml" ContentType="application/vnd.openxmlformats-officedocument.presentationml.tags+xml"/>
  <Override PartName="/docProps/custom.xml" ContentType="application/vnd.openxmlformats-officedocument.custom-properties+xml"/>
  <Override PartName="/docProps/app.xml" ContentType="application/vnd.openxmlformats-officedocument.extended-properties+xml"/>
  <Override PartName="/docProps/core.xml" ContentType="application/vnd.openxmlformats-package.core-propertie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1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378.xml" ContentType="application/vnd.openxmlformats-officedocument.presentationml.tags+xml"/>
  <Override PartName="/ppt/tags/tag377.xml" ContentType="application/vnd.openxmlformats-officedocument.presentationml.tags+xml"/>
  <Override PartName="/ppt/tags/tag376.xml" ContentType="application/vnd.openxmlformats-officedocument.presentationml.tags+xml"/>
  <Override PartName="/ppt/tags/tag375.xml" ContentType="application/vnd.openxmlformats-officedocument.presentationml.tags+xml"/>
  <Override PartName="/ppt/tags/tag374.xml" ContentType="application/vnd.openxmlformats-officedocument.presentationml.tags+xml"/>
  <Override PartName="/ppt/tags/tag373.xml" ContentType="application/vnd.openxmlformats-officedocument.presentationml.tags+xml"/>
  <Override PartName="/ppt/tags/tag372.xml" ContentType="application/vnd.openxmlformats-officedocument.presentationml.tags+xml"/>
  <Override PartName="/ppt/tags/tag371.xml" ContentType="application/vnd.openxmlformats-officedocument.presentationml.tags+xml"/>
  <Override PartName="/ppt/tags/tag370.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21.xml" ContentType="application/vnd.openxmlformats-officedocument.presentationml.tags+xml"/>
  <Override PartName="/ppt/tags/tag320.xml" ContentType="application/vnd.openxmlformats-officedocument.presentationml.tags+xml"/>
  <Override PartName="/ppt/tags/tag319.xml" ContentType="application/vnd.openxmlformats-officedocument.presentationml.tags+xml"/>
  <Override PartName="/ppt/tags/tag259.xml" ContentType="application/vnd.openxmlformats-officedocument.presentationml.tags+xml"/>
  <Override PartName="/ppt/tags/tag258.xml" ContentType="application/vnd.openxmlformats-officedocument.presentationml.tags+xml"/>
  <Override PartName="/ppt/tags/tag257.xml" ContentType="application/vnd.openxmlformats-officedocument.presentationml.tags+xml"/>
  <Override PartName="/ppt/tags/tag256.xml" ContentType="application/vnd.openxmlformats-officedocument.presentationml.tags+xml"/>
  <Override PartName="/ppt/tags/tag255.xml" ContentType="application/vnd.openxmlformats-officedocument.presentationml.tags+xml"/>
  <Override PartName="/ppt/tags/tag254.xml" ContentType="application/vnd.openxmlformats-officedocument.presentationml.tags+xml"/>
  <Override PartName="/ppt/tags/tag253.xml" ContentType="application/vnd.openxmlformats-officedocument.presentationml.tags+xml"/>
  <Override PartName="/ppt/tags/tag252.xml" ContentType="application/vnd.openxmlformats-officedocument.presentationml.tags+xml"/>
  <Override PartName="/ppt/tags/tag251.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71.xml" ContentType="application/vnd.openxmlformats-officedocument.presentationml.tags+xml"/>
  <Override PartName="/ppt/tags/tag270.xml" ContentType="application/vnd.openxmlformats-officedocument.presentationml.tags+xml"/>
  <Override PartName="/ppt/tags/tag269.xml" ContentType="application/vnd.openxmlformats-officedocument.presentationml.tags+xml"/>
  <Override PartName="/ppt/tags/tag268.xml" ContentType="application/vnd.openxmlformats-officedocument.presentationml.tags+xml"/>
  <Override PartName="/ppt/tags/tag267.xml" ContentType="application/vnd.openxmlformats-officedocument.presentationml.tags+xml"/>
  <Override PartName="/ppt/tags/tag266.xml" ContentType="application/vnd.openxmlformats-officedocument.presentationml.tags+xml"/>
  <Override PartName="/ppt/tags/tag265.xml" ContentType="application/vnd.openxmlformats-officedocument.presentationml.tags+xml"/>
  <Override PartName="/ppt/tags/tag264.xml" ContentType="application/vnd.openxmlformats-officedocument.presentationml.tags+xml"/>
  <Override PartName="/ppt/tags/tag263.xml" ContentType="application/vnd.openxmlformats-officedocument.presentationml.tags+xml"/>
  <Override PartName="/ppt/tags/tag250.xml" ContentType="application/vnd.openxmlformats-officedocument.presentationml.tags+xml"/>
  <Override PartName="/ppt/tags/tag249.xml" ContentType="application/vnd.openxmlformats-officedocument.presentationml.tags+xml"/>
  <Override PartName="/ppt/tags/tag248.xml" ContentType="application/vnd.openxmlformats-officedocument.presentationml.tags+xml"/>
  <Override PartName="/ppt/tags/tag235.xml" ContentType="application/vnd.openxmlformats-officedocument.presentationml.tags+xml"/>
  <Override PartName="/ppt/tags/tag234.xml" ContentType="application/vnd.openxmlformats-officedocument.presentationml.tags+xml"/>
  <Override PartName="/ppt/tags/tag233.xml" ContentType="application/vnd.openxmlformats-officedocument.presentationml.tags+xml"/>
  <Override PartName="/ppt/tags/tag232.xml" ContentType="application/vnd.openxmlformats-officedocument.presentationml.tags+xml"/>
  <Override PartName="/ppt/tags/tag231.xml" ContentType="application/vnd.openxmlformats-officedocument.presentationml.tags+xml"/>
  <Override PartName="/ppt/tags/tag230.xml" ContentType="application/vnd.openxmlformats-officedocument.presentationml.tags+xml"/>
  <Override PartName="/ppt/tags/tag229.xml" ContentType="application/vnd.openxmlformats-officedocument.presentationml.tags+xml"/>
  <Override PartName="/ppt/tags/tag228.xml" ContentType="application/vnd.openxmlformats-officedocument.presentationml.tags+xml"/>
  <Override PartName="/ppt/tags/tag227.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47.xml" ContentType="application/vnd.openxmlformats-officedocument.presentationml.tags+xml"/>
  <Override PartName="/ppt/tags/tag246.xml" ContentType="application/vnd.openxmlformats-officedocument.presentationml.tags+xml"/>
  <Override PartName="/ppt/tags/tag245.xml" ContentType="application/vnd.openxmlformats-officedocument.presentationml.tags+xml"/>
  <Override PartName="/ppt/tags/tag244.xml" ContentType="application/vnd.openxmlformats-officedocument.presentationml.tags+xml"/>
  <Override PartName="/ppt/tags/tag243.xml" ContentType="application/vnd.openxmlformats-officedocument.presentationml.tags+xml"/>
  <Override PartName="/ppt/tags/tag242.xml" ContentType="application/vnd.openxmlformats-officedocument.presentationml.tags+xml"/>
  <Override PartName="/ppt/tags/tag241.xml" ContentType="application/vnd.openxmlformats-officedocument.presentationml.tags+xml"/>
  <Override PartName="/ppt/tags/tag240.xml" ContentType="application/vnd.openxmlformats-officedocument.presentationml.tags+xml"/>
  <Override PartName="/ppt/tags/tag239.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306.xml" ContentType="application/vnd.openxmlformats-officedocument.presentationml.tags+xml"/>
  <Override PartName="/ppt/tags/tag305.xml" ContentType="application/vnd.openxmlformats-officedocument.presentationml.tags+xml"/>
  <Override PartName="/ppt/tags/tag304.xml" ContentType="application/vnd.openxmlformats-officedocument.presentationml.tags+xml"/>
  <Override PartName="/ppt/tags/tag303.xml" ContentType="application/vnd.openxmlformats-officedocument.presentationml.tags+xml"/>
  <Override PartName="/ppt/tags/tag302.xml" ContentType="application/vnd.openxmlformats-officedocument.presentationml.tags+xml"/>
  <Override PartName="/ppt/tags/tag301.xml" ContentType="application/vnd.openxmlformats-officedocument.presentationml.tags+xml"/>
  <Override PartName="/ppt/tags/tag300.xml" ContentType="application/vnd.openxmlformats-officedocument.presentationml.tags+xml"/>
  <Override PartName="/ppt/tags/tag299.xml" ContentType="application/vnd.openxmlformats-officedocument.presentationml.tags+xml"/>
  <Override PartName="/ppt/tags/tag298.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8.xml" ContentType="application/vnd.openxmlformats-officedocument.presentationml.tags+xml"/>
  <Override PartName="/ppt/tags/tag317.xml" ContentType="application/vnd.openxmlformats-officedocument.presentationml.tags+xml"/>
  <Override PartName="/ppt/tags/tag316.xml" ContentType="application/vnd.openxmlformats-officedocument.presentationml.tags+xml"/>
  <Override PartName="/ppt/tags/tag315.xml" ContentType="application/vnd.openxmlformats-officedocument.presentationml.tags+xml"/>
  <Override PartName="/ppt/tags/tag314.xml" ContentType="application/vnd.openxmlformats-officedocument.presentationml.tags+xml"/>
  <Override PartName="/ppt/tags/tag313.xml" ContentType="application/vnd.openxmlformats-officedocument.presentationml.tags+xml"/>
  <Override PartName="/ppt/tags/tag312.xml" ContentType="application/vnd.openxmlformats-officedocument.presentationml.tags+xml"/>
  <Override PartName="/ppt/tags/tag311.xml" ContentType="application/vnd.openxmlformats-officedocument.presentationml.tags+xml"/>
  <Override PartName="/ppt/tags/tag310.xml" ContentType="application/vnd.openxmlformats-officedocument.presentationml.tags+xml"/>
  <Override PartName="/ppt/tags/tag297.xml" ContentType="application/vnd.openxmlformats-officedocument.presentationml.tags+xml"/>
  <Override PartName="/ppt/tags/tag296.xml" ContentType="application/vnd.openxmlformats-officedocument.presentationml.tags+xml"/>
  <Override PartName="/ppt/tags/tag295.xml" ContentType="application/vnd.openxmlformats-officedocument.presentationml.tags+xml"/>
  <Override PartName="/ppt/tags/tag283.xml" ContentType="application/vnd.openxmlformats-officedocument.presentationml.tags+xml"/>
  <Override PartName="/ppt/tags/tag282.xml" ContentType="application/vnd.openxmlformats-officedocument.presentationml.tags+xml"/>
  <Override PartName="/ppt/tags/tag281.xml" ContentType="application/vnd.openxmlformats-officedocument.presentationml.tags+xml"/>
  <Override PartName="/ppt/tags/tag280.xml" ContentType="application/vnd.openxmlformats-officedocument.presentationml.tags+xml"/>
  <Override PartName="/ppt/tags/tag279.xml" ContentType="application/vnd.openxmlformats-officedocument.presentationml.tags+xml"/>
  <Override PartName="/ppt/tags/tag278.xml" ContentType="application/vnd.openxmlformats-officedocument.presentationml.tags+xml"/>
  <Override PartName="/ppt/tags/tag277.xml" ContentType="application/vnd.openxmlformats-officedocument.presentationml.tags+xml"/>
  <Override PartName="/ppt/tags/tag276.xml" ContentType="application/vnd.openxmlformats-officedocument.presentationml.tags+xml"/>
  <Override PartName="/ppt/tags/tag275.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94.xml" ContentType="application/vnd.openxmlformats-officedocument.presentationml.tags+xml"/>
  <Override PartName="/ppt/tags/tag293.xml" ContentType="application/vnd.openxmlformats-officedocument.presentationml.tags+xml"/>
  <Override PartName="/ppt/tags/tag292.xml" ContentType="application/vnd.openxmlformats-officedocument.presentationml.tags+xml"/>
  <Override PartName="/ppt/tags/tag291.xml" ContentType="application/vnd.openxmlformats-officedocument.presentationml.tags+xml"/>
  <Override PartName="/ppt/tags/tag290.xml" ContentType="application/vnd.openxmlformats-officedocument.presentationml.tags+xml"/>
  <Override PartName="/ppt/tags/tag289.xml" ContentType="application/vnd.openxmlformats-officedocument.presentationml.tags+xml"/>
  <Override PartName="/ppt/tags/tag288.xml" ContentType="application/vnd.openxmlformats-officedocument.presentationml.tags+xml"/>
  <Override PartName="/ppt/tags/tag287.xml" ContentType="application/vnd.openxmlformats-officedocument.presentationml.tags+xml"/>
  <Override PartName="/ppt/tags/tag1.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51" r:id="rId1"/>
    <p:sldMasterId id="2147483652" r:id="rId2"/>
    <p:sldMasterId id="2147483653" r:id="rId3"/>
    <p:sldMasterId id="2147483654" r:id="rId4"/>
    <p:sldMasterId id="2147483655" r:id="rId5"/>
    <p:sldMasterId id="2147483656" r:id="rId6"/>
    <p:sldMasterId id="2147483657" r:id="rId7"/>
    <p:sldMasterId id="2147483658" r:id="rId8"/>
    <p:sldMasterId id="2147483659" r:id="rId9"/>
    <p:sldMasterId id="2147483660" r:id="rId10"/>
    <p:sldMasterId id="2147483661" r:id="rId11"/>
    <p:sldMasterId id="2147483662" r:id="rId12"/>
    <p:sldMasterId id="2147483663" r:id="rId13"/>
    <p:sldMasterId id="2147483664" r:id="rId14"/>
    <p:sldMasterId id="2147483665" r:id="rId15"/>
    <p:sldMasterId id="2147483666" r:id="rId16"/>
    <p:sldMasterId id="2147483667" r:id="rId17"/>
    <p:sldMasterId id="2147483668" r:id="rId18"/>
    <p:sldMasterId id="2147483669" r:id="rId19"/>
    <p:sldMasterId id="2147483670" r:id="rId20"/>
    <p:sldMasterId id="2147483671" r:id="rId21"/>
    <p:sldMasterId id="2147483672" r:id="rId22"/>
    <p:sldMasterId id="2147483673" r:id="rId23"/>
    <p:sldMasterId id="2147483674" r:id="rId24"/>
    <p:sldMasterId id="2147483675" r:id="rId25"/>
    <p:sldMasterId id="2147483676" r:id="rId26"/>
    <p:sldMasterId id="2147483677" r:id="rId27"/>
    <p:sldMasterId id="2147483678" r:id="rId28"/>
    <p:sldMasterId id="2147483679" r:id="rId29"/>
    <p:sldMasterId id="2147483680" r:id="rId30"/>
    <p:sldMasterId id="2147484047" r:id="rId31"/>
  </p:sldMasterIdLst>
  <p:notesMasterIdLst>
    <p:notesMasterId r:id="rId52"/>
  </p:notesMasterIdLst>
  <p:handoutMasterIdLst>
    <p:handoutMasterId r:id="rId53"/>
  </p:handoutMasterIdLst>
  <p:sldIdLst>
    <p:sldId id="284" r:id="rId32"/>
    <p:sldId id="285" r:id="rId33"/>
    <p:sldId id="310" r:id="rId34"/>
    <p:sldId id="330" r:id="rId35"/>
    <p:sldId id="286" r:id="rId36"/>
    <p:sldId id="290" r:id="rId37"/>
    <p:sldId id="268" r:id="rId38"/>
    <p:sldId id="264" r:id="rId39"/>
    <p:sldId id="318" r:id="rId40"/>
    <p:sldId id="322" r:id="rId41"/>
    <p:sldId id="331" r:id="rId42"/>
    <p:sldId id="332" r:id="rId43"/>
    <p:sldId id="333" r:id="rId44"/>
    <p:sldId id="323" r:id="rId45"/>
    <p:sldId id="326" r:id="rId46"/>
    <p:sldId id="328" r:id="rId47"/>
    <p:sldId id="327" r:id="rId48"/>
    <p:sldId id="335" r:id="rId49"/>
    <p:sldId id="329" r:id="rId50"/>
    <p:sldId id="302" r:id="rId51"/>
  </p:sldIdLst>
  <p:sldSz cx="9144000" cy="6858000" type="screen4x3"/>
  <p:notesSz cx="6735763" cy="9866313"/>
  <p:defaultTextStyle>
    <a:defPPr>
      <a:defRPr lang="en-US"/>
    </a:defPPr>
    <a:lvl1pPr algn="l" rtl="0" fontAlgn="base">
      <a:spcBef>
        <a:spcPct val="0"/>
      </a:spcBef>
      <a:spcAft>
        <a:spcPct val="0"/>
      </a:spcAft>
      <a:defRPr kumimoji="1" kern="1200">
        <a:solidFill>
          <a:srgbClr val="000000"/>
        </a:solidFill>
        <a:latin typeface="Lucida Grande"/>
        <a:ea typeface="ヒラギノ角ゴ ProN W3"/>
        <a:cs typeface="ヒラギノ角ゴ ProN W3"/>
        <a:sym typeface="Lucida Grande"/>
      </a:defRPr>
    </a:lvl1pPr>
    <a:lvl2pPr marL="457200" algn="l" rtl="0" fontAlgn="base">
      <a:spcBef>
        <a:spcPct val="0"/>
      </a:spcBef>
      <a:spcAft>
        <a:spcPct val="0"/>
      </a:spcAft>
      <a:defRPr kumimoji="1" kern="1200">
        <a:solidFill>
          <a:srgbClr val="000000"/>
        </a:solidFill>
        <a:latin typeface="Lucida Grande"/>
        <a:ea typeface="ヒラギノ角ゴ ProN W3"/>
        <a:cs typeface="ヒラギノ角ゴ ProN W3"/>
        <a:sym typeface="Lucida Grande"/>
      </a:defRPr>
    </a:lvl2pPr>
    <a:lvl3pPr marL="914400" algn="l" rtl="0" fontAlgn="base">
      <a:spcBef>
        <a:spcPct val="0"/>
      </a:spcBef>
      <a:spcAft>
        <a:spcPct val="0"/>
      </a:spcAft>
      <a:defRPr kumimoji="1" kern="1200">
        <a:solidFill>
          <a:srgbClr val="000000"/>
        </a:solidFill>
        <a:latin typeface="Lucida Grande"/>
        <a:ea typeface="ヒラギノ角ゴ ProN W3"/>
        <a:cs typeface="ヒラギノ角ゴ ProN W3"/>
        <a:sym typeface="Lucida Grande"/>
      </a:defRPr>
    </a:lvl3pPr>
    <a:lvl4pPr marL="1371600" algn="l" rtl="0" fontAlgn="base">
      <a:spcBef>
        <a:spcPct val="0"/>
      </a:spcBef>
      <a:spcAft>
        <a:spcPct val="0"/>
      </a:spcAft>
      <a:defRPr kumimoji="1" kern="1200">
        <a:solidFill>
          <a:srgbClr val="000000"/>
        </a:solidFill>
        <a:latin typeface="Lucida Grande"/>
        <a:ea typeface="ヒラギノ角ゴ ProN W3"/>
        <a:cs typeface="ヒラギノ角ゴ ProN W3"/>
        <a:sym typeface="Lucida Grande"/>
      </a:defRPr>
    </a:lvl4pPr>
    <a:lvl5pPr marL="1828800" algn="l" rtl="0" fontAlgn="base">
      <a:spcBef>
        <a:spcPct val="0"/>
      </a:spcBef>
      <a:spcAft>
        <a:spcPct val="0"/>
      </a:spcAft>
      <a:defRPr kumimoji="1" kern="1200">
        <a:solidFill>
          <a:srgbClr val="000000"/>
        </a:solidFill>
        <a:latin typeface="Lucida Grande"/>
        <a:ea typeface="ヒラギノ角ゴ ProN W3"/>
        <a:cs typeface="ヒラギノ角ゴ ProN W3"/>
        <a:sym typeface="Lucida Grande"/>
      </a:defRPr>
    </a:lvl5pPr>
    <a:lvl6pPr marL="2286000" algn="l" defTabSz="914400" rtl="0" eaLnBrk="1" latinLnBrk="0" hangingPunct="1">
      <a:defRPr kumimoji="1" kern="1200">
        <a:solidFill>
          <a:srgbClr val="000000"/>
        </a:solidFill>
        <a:latin typeface="Lucida Grande"/>
        <a:ea typeface="ヒラギノ角ゴ ProN W3"/>
        <a:cs typeface="ヒラギノ角ゴ ProN W3"/>
        <a:sym typeface="Lucida Grande"/>
      </a:defRPr>
    </a:lvl6pPr>
    <a:lvl7pPr marL="2743200" algn="l" defTabSz="914400" rtl="0" eaLnBrk="1" latinLnBrk="0" hangingPunct="1">
      <a:defRPr kumimoji="1" kern="1200">
        <a:solidFill>
          <a:srgbClr val="000000"/>
        </a:solidFill>
        <a:latin typeface="Lucida Grande"/>
        <a:ea typeface="ヒラギノ角ゴ ProN W3"/>
        <a:cs typeface="ヒラギノ角ゴ ProN W3"/>
        <a:sym typeface="Lucida Grande"/>
      </a:defRPr>
    </a:lvl7pPr>
    <a:lvl8pPr marL="3200400" algn="l" defTabSz="914400" rtl="0" eaLnBrk="1" latinLnBrk="0" hangingPunct="1">
      <a:defRPr kumimoji="1" kern="1200">
        <a:solidFill>
          <a:srgbClr val="000000"/>
        </a:solidFill>
        <a:latin typeface="Lucida Grande"/>
        <a:ea typeface="ヒラギノ角ゴ ProN W3"/>
        <a:cs typeface="ヒラギノ角ゴ ProN W3"/>
        <a:sym typeface="Lucida Grande"/>
      </a:defRPr>
    </a:lvl8pPr>
    <a:lvl9pPr marL="3657600" algn="l" defTabSz="914400" rtl="0" eaLnBrk="1" latinLnBrk="0" hangingPunct="1">
      <a:defRPr kumimoji="1" kern="1200">
        <a:solidFill>
          <a:srgbClr val="000000"/>
        </a:solidFill>
        <a:latin typeface="Lucida Grande"/>
        <a:ea typeface="ヒラギノ角ゴ ProN W3"/>
        <a:cs typeface="ヒラギノ角ゴ ProN W3"/>
        <a:sym typeface="Lucida Grande"/>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Belinda" initials="B" lastIdx="4" clrIdx="0"/>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ED2A09"/>
    <a:srgbClr val="0000FF"/>
    <a:srgbClr val="020202"/>
    <a:srgbClr val="0A0A0A"/>
    <a:srgbClr val="00000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howOutlineIcons="0" horzBarState="maximized">
    <p:restoredLeft sz="20099" autoAdjust="0"/>
    <p:restoredTop sz="74691" autoAdjust="0"/>
  </p:normalViewPr>
  <p:slideViewPr>
    <p:cSldViewPr>
      <p:cViewPr>
        <p:scale>
          <a:sx n="51" d="100"/>
          <a:sy n="51" d="100"/>
        </p:scale>
        <p:origin x="-1020" y="-200"/>
      </p:cViewPr>
      <p:guideLst>
        <p:guide orient="horz" pos="2160"/>
        <p:guide pos="2880"/>
      </p:guideLst>
    </p:cSldViewPr>
  </p:slideViewPr>
  <p:outlineViewPr>
    <p:cViewPr>
      <p:scale>
        <a:sx n="33" d="100"/>
        <a:sy n="33" d="100"/>
      </p:scale>
      <p:origin x="0" y="1530"/>
    </p:cViewPr>
  </p:outlineViewPr>
  <p:notesTextViewPr>
    <p:cViewPr>
      <p:scale>
        <a:sx n="100" d="100"/>
        <a:sy n="100" d="100"/>
      </p:scale>
      <p:origin x="0" y="0"/>
    </p:cViewPr>
  </p:notesTextViewPr>
  <p:sorterViewPr>
    <p:cViewPr>
      <p:scale>
        <a:sx n="100" d="100"/>
        <a:sy n="100" d="100"/>
      </p:scale>
      <p:origin x="0" y="3892"/>
    </p:cViewPr>
  </p:sorterViewPr>
  <p:notesViewPr>
    <p:cSldViewPr>
      <p:cViewPr varScale="1">
        <p:scale>
          <a:sx n="49" d="100"/>
          <a:sy n="49" d="100"/>
        </p:scale>
        <p:origin x="-2916" y="-102"/>
      </p:cViewPr>
      <p:guideLst>
        <p:guide orient="horz" pos="3107"/>
        <p:guide pos="2121"/>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 Target="slides/slide8.xml"/><Relationship Id="rId21" Type="http://schemas.openxmlformats.org/officeDocument/2006/relationships/slideMaster" Target="slideMasters/slideMaster21.xml"/><Relationship Id="rId34" Type="http://schemas.openxmlformats.org/officeDocument/2006/relationships/slide" Target="slides/slide3.xml"/><Relationship Id="rId42" Type="http://schemas.openxmlformats.org/officeDocument/2006/relationships/slide" Target="slides/slide11.xml"/><Relationship Id="rId47" Type="http://schemas.openxmlformats.org/officeDocument/2006/relationships/slide" Target="slides/slide16.xml"/><Relationship Id="rId50" Type="http://schemas.openxmlformats.org/officeDocument/2006/relationships/slide" Target="slides/slide19.xml"/><Relationship Id="rId55" Type="http://schemas.openxmlformats.org/officeDocument/2006/relationships/presProps" Target="pres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 Target="slides/slide1.xml"/><Relationship Id="rId37" Type="http://schemas.openxmlformats.org/officeDocument/2006/relationships/slide" Target="slides/slide6.xml"/><Relationship Id="rId40" Type="http://schemas.openxmlformats.org/officeDocument/2006/relationships/slide" Target="slides/slide9.xml"/><Relationship Id="rId45" Type="http://schemas.openxmlformats.org/officeDocument/2006/relationships/slide" Target="slides/slide14.xml"/><Relationship Id="rId53" Type="http://schemas.openxmlformats.org/officeDocument/2006/relationships/handoutMaster" Target="handoutMasters/handoutMaster1.xml"/><Relationship Id="rId58" Type="http://schemas.openxmlformats.org/officeDocument/2006/relationships/tableStyles" Target="tableStyles.xml"/><Relationship Id="rId5" Type="http://schemas.openxmlformats.org/officeDocument/2006/relationships/slideMaster" Target="slideMasters/slideMaster5.xml"/><Relationship Id="rId61" Type="http://schemas.openxmlformats.org/officeDocument/2006/relationships/customXml" Target="../customXml/item3.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4.xml"/><Relationship Id="rId43" Type="http://schemas.openxmlformats.org/officeDocument/2006/relationships/slide" Target="slides/slide12.xml"/><Relationship Id="rId48" Type="http://schemas.openxmlformats.org/officeDocument/2006/relationships/slide" Target="slides/slide17.xml"/><Relationship Id="rId56" Type="http://schemas.openxmlformats.org/officeDocument/2006/relationships/viewProps" Target="viewProps.xml"/><Relationship Id="rId8" Type="http://schemas.openxmlformats.org/officeDocument/2006/relationships/slideMaster" Target="slideMasters/slideMaster8.xml"/><Relationship Id="rId51" Type="http://schemas.openxmlformats.org/officeDocument/2006/relationships/slide" Target="slides/slide20.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 Target="slides/slide2.xml"/><Relationship Id="rId38" Type="http://schemas.openxmlformats.org/officeDocument/2006/relationships/slide" Target="slides/slide7.xml"/><Relationship Id="rId46" Type="http://schemas.openxmlformats.org/officeDocument/2006/relationships/slide" Target="slides/slide15.xml"/><Relationship Id="rId59" Type="http://schemas.openxmlformats.org/officeDocument/2006/relationships/customXml" Target="../customXml/item1.xml"/><Relationship Id="rId20" Type="http://schemas.openxmlformats.org/officeDocument/2006/relationships/slideMaster" Target="slideMasters/slideMaster20.xml"/><Relationship Id="rId41" Type="http://schemas.openxmlformats.org/officeDocument/2006/relationships/slide" Target="slides/slide10.xml"/><Relationship Id="rId54"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5.xml"/><Relationship Id="rId49" Type="http://schemas.openxmlformats.org/officeDocument/2006/relationships/slide" Target="slides/slide18.xml"/><Relationship Id="rId57" Type="http://schemas.openxmlformats.org/officeDocument/2006/relationships/theme" Target="theme/theme1.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 Target="slides/slide13.xml"/><Relationship Id="rId52" Type="http://schemas.openxmlformats.org/officeDocument/2006/relationships/notesMaster" Target="notesMasters/notesMaster1.xml"/><Relationship Id="rId60" Type="http://schemas.openxmlformats.org/officeDocument/2006/relationships/customXml" Target="../customXml/item2.xml"/><Relationship Id="rId4" Type="http://schemas.openxmlformats.org/officeDocument/2006/relationships/slideMaster" Target="slideMasters/slideMaster4.xml"/><Relationship Id="rId9" Type="http://schemas.openxmlformats.org/officeDocument/2006/relationships/slideMaster" Target="slideMasters/slideMaster9.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12502;&#12483;&#12463;1" TargetMode="External"/></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oleObject" Target="Macintosh%20HD:Users:Shinichi:Desktop:ISO%20Survey%202011:ISO%20Survey%202012&#20998;&#26512;.xlsx" TargetMode="External"/></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oleObject" Target="Macintosh%20HD:Users:Shinichi:Desktop:ISO%20Survey%202011:ISO%20Survey%202012&#20998;&#26512;.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lang val="en-US"/>
  <c:chart>
    <c:plotArea>
      <c:layout/>
      <c:barChart>
        <c:barDir val="col"/>
        <c:grouping val="percentStacked"/>
        <c:ser>
          <c:idx val="0"/>
          <c:order val="0"/>
          <c:tx>
            <c:strRef>
              <c:f>Sheet1!$B$5</c:f>
              <c:strCache>
                <c:ptCount val="1"/>
                <c:pt idx="0">
                  <c:v>Africa</c:v>
                </c:pt>
              </c:strCache>
            </c:strRef>
          </c:tx>
          <c:cat>
            <c:strRef>
              <c:f>Sheet1!$C$4:$H$4</c:f>
              <c:strCache>
                <c:ptCount val="6"/>
                <c:pt idx="0">
                  <c:v>ISO 9001(QMS)</c:v>
                </c:pt>
                <c:pt idx="1">
                  <c:v>ISO 14001(EMS)</c:v>
                </c:pt>
                <c:pt idx="2">
                  <c:v>ISO 22000(FSMS)</c:v>
                </c:pt>
                <c:pt idx="3">
                  <c:v>ISO/IEC 27001(ISMS)</c:v>
                </c:pt>
                <c:pt idx="4">
                  <c:v>ISO 13485(MDMS)</c:v>
                </c:pt>
                <c:pt idx="5">
                  <c:v>ISO 50001(EnergyMS)</c:v>
                </c:pt>
              </c:strCache>
            </c:strRef>
          </c:cat>
          <c:val>
            <c:numRef>
              <c:f>Sheet1!$C$5:$H$5</c:f>
              <c:numCache>
                <c:formatCode>General</c:formatCode>
                <c:ptCount val="6"/>
                <c:pt idx="0">
                  <c:v>1</c:v>
                </c:pt>
                <c:pt idx="1">
                  <c:v>0.70000000000000007</c:v>
                </c:pt>
                <c:pt idx="2">
                  <c:v>3.2</c:v>
                </c:pt>
                <c:pt idx="3">
                  <c:v>0.2</c:v>
                </c:pt>
                <c:pt idx="4">
                  <c:v>0.8</c:v>
                </c:pt>
                <c:pt idx="5">
                  <c:v>0</c:v>
                </c:pt>
              </c:numCache>
            </c:numRef>
          </c:val>
        </c:ser>
        <c:ser>
          <c:idx val="1"/>
          <c:order val="1"/>
          <c:tx>
            <c:strRef>
              <c:f>Sheet1!$B$6</c:f>
              <c:strCache>
                <c:ptCount val="1"/>
                <c:pt idx="0">
                  <c:v>Central/South America</c:v>
                </c:pt>
              </c:strCache>
            </c:strRef>
          </c:tx>
          <c:cat>
            <c:strRef>
              <c:f>Sheet1!$C$4:$H$4</c:f>
              <c:strCache>
                <c:ptCount val="6"/>
                <c:pt idx="0">
                  <c:v>ISO 9001(QMS)</c:v>
                </c:pt>
                <c:pt idx="1">
                  <c:v>ISO 14001(EMS)</c:v>
                </c:pt>
                <c:pt idx="2">
                  <c:v>ISO 22000(FSMS)</c:v>
                </c:pt>
                <c:pt idx="3">
                  <c:v>ISO/IEC 27001(ISMS)</c:v>
                </c:pt>
                <c:pt idx="4">
                  <c:v>ISO 13485(MDMS)</c:v>
                </c:pt>
                <c:pt idx="5">
                  <c:v>ISO 50001(EnergyMS)</c:v>
                </c:pt>
              </c:strCache>
            </c:strRef>
          </c:cat>
          <c:val>
            <c:numRef>
              <c:f>Sheet1!$C$6:$H$6</c:f>
              <c:numCache>
                <c:formatCode>General</c:formatCode>
                <c:ptCount val="6"/>
                <c:pt idx="0">
                  <c:v>4.5999999999999996</c:v>
                </c:pt>
                <c:pt idx="1">
                  <c:v>2.6</c:v>
                </c:pt>
                <c:pt idx="2">
                  <c:v>2.2999999999999998</c:v>
                </c:pt>
                <c:pt idx="3">
                  <c:v>0.9</c:v>
                </c:pt>
                <c:pt idx="4">
                  <c:v>1.3</c:v>
                </c:pt>
                <c:pt idx="5">
                  <c:v>2.4</c:v>
                </c:pt>
              </c:numCache>
            </c:numRef>
          </c:val>
        </c:ser>
        <c:ser>
          <c:idx val="2"/>
          <c:order val="2"/>
          <c:tx>
            <c:strRef>
              <c:f>Sheet1!$B$7</c:f>
              <c:strCache>
                <c:ptCount val="1"/>
                <c:pt idx="0">
                  <c:v>North America</c:v>
                </c:pt>
              </c:strCache>
            </c:strRef>
          </c:tx>
          <c:cat>
            <c:strRef>
              <c:f>Sheet1!$C$4:$H$4</c:f>
              <c:strCache>
                <c:ptCount val="6"/>
                <c:pt idx="0">
                  <c:v>ISO 9001(QMS)</c:v>
                </c:pt>
                <c:pt idx="1">
                  <c:v>ISO 14001(EMS)</c:v>
                </c:pt>
                <c:pt idx="2">
                  <c:v>ISO 22000(FSMS)</c:v>
                </c:pt>
                <c:pt idx="3">
                  <c:v>ISO/IEC 27001(ISMS)</c:v>
                </c:pt>
                <c:pt idx="4">
                  <c:v>ISO 13485(MDMS)</c:v>
                </c:pt>
                <c:pt idx="5">
                  <c:v>ISO 50001(EnergyMS)</c:v>
                </c:pt>
              </c:strCache>
            </c:strRef>
          </c:cat>
          <c:val>
            <c:numRef>
              <c:f>Sheet1!$C$7:$H$7</c:f>
              <c:numCache>
                <c:formatCode>General</c:formatCode>
                <c:ptCount val="6"/>
                <c:pt idx="0">
                  <c:v>3.4</c:v>
                </c:pt>
                <c:pt idx="1">
                  <c:v>2.8</c:v>
                </c:pt>
                <c:pt idx="2">
                  <c:v>1.2</c:v>
                </c:pt>
                <c:pt idx="3">
                  <c:v>2.5</c:v>
                </c:pt>
                <c:pt idx="4">
                  <c:v>22.5</c:v>
                </c:pt>
                <c:pt idx="5">
                  <c:v>0.2</c:v>
                </c:pt>
              </c:numCache>
            </c:numRef>
          </c:val>
        </c:ser>
        <c:ser>
          <c:idx val="3"/>
          <c:order val="3"/>
          <c:tx>
            <c:strRef>
              <c:f>Sheet1!$B$8</c:f>
              <c:strCache>
                <c:ptCount val="1"/>
                <c:pt idx="0">
                  <c:v>Europe</c:v>
                </c:pt>
              </c:strCache>
            </c:strRef>
          </c:tx>
          <c:cat>
            <c:strRef>
              <c:f>Sheet1!$C$4:$H$4</c:f>
              <c:strCache>
                <c:ptCount val="6"/>
                <c:pt idx="0">
                  <c:v>ISO 9001(QMS)</c:v>
                </c:pt>
                <c:pt idx="1">
                  <c:v>ISO 14001(EMS)</c:v>
                </c:pt>
                <c:pt idx="2">
                  <c:v>ISO 22000(FSMS)</c:v>
                </c:pt>
                <c:pt idx="3">
                  <c:v>ISO/IEC 27001(ISMS)</c:v>
                </c:pt>
                <c:pt idx="4">
                  <c:v>ISO 13485(MDMS)</c:v>
                </c:pt>
                <c:pt idx="5">
                  <c:v>ISO 50001(EnergyMS)</c:v>
                </c:pt>
              </c:strCache>
            </c:strRef>
          </c:cat>
          <c:val>
            <c:numRef>
              <c:f>Sheet1!$C$8:$H$8</c:f>
              <c:numCache>
                <c:formatCode>General</c:formatCode>
                <c:ptCount val="6"/>
                <c:pt idx="0">
                  <c:v>44.3</c:v>
                </c:pt>
                <c:pt idx="1">
                  <c:v>39.9</c:v>
                </c:pt>
                <c:pt idx="2">
                  <c:v>40.1</c:v>
                </c:pt>
                <c:pt idx="3">
                  <c:v>31.1</c:v>
                </c:pt>
                <c:pt idx="4">
                  <c:v>53.5</c:v>
                </c:pt>
                <c:pt idx="5">
                  <c:v>78.7</c:v>
                </c:pt>
              </c:numCache>
            </c:numRef>
          </c:val>
        </c:ser>
        <c:ser>
          <c:idx val="4"/>
          <c:order val="4"/>
          <c:tx>
            <c:strRef>
              <c:f>Sheet1!$B$9</c:f>
              <c:strCache>
                <c:ptCount val="1"/>
                <c:pt idx="0">
                  <c:v>East Asia/Pacific</c:v>
                </c:pt>
              </c:strCache>
            </c:strRef>
          </c:tx>
          <c:cat>
            <c:strRef>
              <c:f>Sheet1!$C$4:$H$4</c:f>
              <c:strCache>
                <c:ptCount val="6"/>
                <c:pt idx="0">
                  <c:v>ISO 9001(QMS)</c:v>
                </c:pt>
                <c:pt idx="1">
                  <c:v>ISO 14001(EMS)</c:v>
                </c:pt>
                <c:pt idx="2">
                  <c:v>ISO 22000(FSMS)</c:v>
                </c:pt>
                <c:pt idx="3">
                  <c:v>ISO/IEC 27001(ISMS)</c:v>
                </c:pt>
                <c:pt idx="4">
                  <c:v>ISO 13485(MDMS)</c:v>
                </c:pt>
                <c:pt idx="5">
                  <c:v>ISO 50001(EnergyMS)</c:v>
                </c:pt>
              </c:strCache>
            </c:strRef>
          </c:cat>
          <c:val>
            <c:numRef>
              <c:f>Sheet1!$C$9:$H$9</c:f>
              <c:numCache>
                <c:formatCode>General</c:formatCode>
                <c:ptCount val="6"/>
                <c:pt idx="0">
                  <c:v>42.4</c:v>
                </c:pt>
                <c:pt idx="1">
                  <c:v>51.3</c:v>
                </c:pt>
                <c:pt idx="2">
                  <c:v>44.5</c:v>
                </c:pt>
                <c:pt idx="3">
                  <c:v>55.2</c:v>
                </c:pt>
                <c:pt idx="4">
                  <c:v>14.9</c:v>
                </c:pt>
                <c:pt idx="5">
                  <c:v>10.6</c:v>
                </c:pt>
              </c:numCache>
            </c:numRef>
          </c:val>
        </c:ser>
        <c:ser>
          <c:idx val="5"/>
          <c:order val="5"/>
          <c:tx>
            <c:strRef>
              <c:f>Sheet1!$B$10</c:f>
              <c:strCache>
                <c:ptCount val="1"/>
                <c:pt idx="0">
                  <c:v>Central/South Asia</c:v>
                </c:pt>
              </c:strCache>
            </c:strRef>
          </c:tx>
          <c:cat>
            <c:strRef>
              <c:f>Sheet1!$C$4:$H$4</c:f>
              <c:strCache>
                <c:ptCount val="6"/>
                <c:pt idx="0">
                  <c:v>ISO 9001(QMS)</c:v>
                </c:pt>
                <c:pt idx="1">
                  <c:v>ISO 14001(EMS)</c:v>
                </c:pt>
                <c:pt idx="2">
                  <c:v>ISO 22000(FSMS)</c:v>
                </c:pt>
                <c:pt idx="3">
                  <c:v>ISO/IEC 27001(ISMS)</c:v>
                </c:pt>
                <c:pt idx="4">
                  <c:v>ISO 13485(MDMS)</c:v>
                </c:pt>
                <c:pt idx="5">
                  <c:v>ISO 50001(EnergyMS)</c:v>
                </c:pt>
              </c:strCache>
            </c:strRef>
          </c:cat>
          <c:val>
            <c:numRef>
              <c:f>Sheet1!$C$10:$H$10</c:f>
              <c:numCache>
                <c:formatCode>General</c:formatCode>
                <c:ptCount val="6"/>
                <c:pt idx="0">
                  <c:v>3</c:v>
                </c:pt>
                <c:pt idx="1">
                  <c:v>1.8</c:v>
                </c:pt>
                <c:pt idx="2">
                  <c:v>6.7</c:v>
                </c:pt>
                <c:pt idx="3">
                  <c:v>8.5</c:v>
                </c:pt>
                <c:pt idx="4">
                  <c:v>3.5</c:v>
                </c:pt>
                <c:pt idx="5">
                  <c:v>5.6</c:v>
                </c:pt>
              </c:numCache>
            </c:numRef>
          </c:val>
        </c:ser>
        <c:ser>
          <c:idx val="6"/>
          <c:order val="6"/>
          <c:tx>
            <c:strRef>
              <c:f>Sheet1!$B$11</c:f>
              <c:strCache>
                <c:ptCount val="1"/>
                <c:pt idx="0">
                  <c:v>Middle east</c:v>
                </c:pt>
              </c:strCache>
            </c:strRef>
          </c:tx>
          <c:cat>
            <c:strRef>
              <c:f>Sheet1!$C$4:$H$4</c:f>
              <c:strCache>
                <c:ptCount val="6"/>
                <c:pt idx="0">
                  <c:v>ISO 9001(QMS)</c:v>
                </c:pt>
                <c:pt idx="1">
                  <c:v>ISO 14001(EMS)</c:v>
                </c:pt>
                <c:pt idx="2">
                  <c:v>ISO 22000(FSMS)</c:v>
                </c:pt>
                <c:pt idx="3">
                  <c:v>ISO/IEC 27001(ISMS)</c:v>
                </c:pt>
                <c:pt idx="4">
                  <c:v>ISO 13485(MDMS)</c:v>
                </c:pt>
                <c:pt idx="5">
                  <c:v>ISO 50001(EnergyMS)</c:v>
                </c:pt>
              </c:strCache>
            </c:strRef>
          </c:cat>
          <c:val>
            <c:numRef>
              <c:f>Sheet1!$C$11:$H$11</c:f>
              <c:numCache>
                <c:formatCode>General</c:formatCode>
                <c:ptCount val="6"/>
                <c:pt idx="0">
                  <c:v>1.5</c:v>
                </c:pt>
                <c:pt idx="1">
                  <c:v>0.9</c:v>
                </c:pt>
                <c:pt idx="2">
                  <c:v>2.2000000000000002</c:v>
                </c:pt>
                <c:pt idx="3">
                  <c:v>1.6</c:v>
                </c:pt>
                <c:pt idx="4">
                  <c:v>3.6</c:v>
                </c:pt>
                <c:pt idx="5">
                  <c:v>2.4</c:v>
                </c:pt>
              </c:numCache>
            </c:numRef>
          </c:val>
        </c:ser>
        <c:dLbls/>
        <c:overlap val="100"/>
        <c:axId val="94362240"/>
        <c:axId val="110379392"/>
      </c:barChart>
      <c:catAx>
        <c:axId val="94362240"/>
        <c:scaling>
          <c:orientation val="minMax"/>
        </c:scaling>
        <c:axPos val="b"/>
        <c:tickLblPos val="nextTo"/>
        <c:txPr>
          <a:bodyPr/>
          <a:lstStyle/>
          <a:p>
            <a:pPr>
              <a:defRPr lang="ja-JP"/>
            </a:pPr>
            <a:endParaRPr lang="en-US"/>
          </a:p>
        </c:txPr>
        <c:crossAx val="110379392"/>
        <c:crosses val="autoZero"/>
        <c:auto val="1"/>
        <c:lblAlgn val="ctr"/>
        <c:lblOffset val="100"/>
      </c:catAx>
      <c:valAx>
        <c:axId val="110379392"/>
        <c:scaling>
          <c:orientation val="minMax"/>
        </c:scaling>
        <c:axPos val="l"/>
        <c:majorGridlines/>
        <c:numFmt formatCode="0%" sourceLinked="1"/>
        <c:tickLblPos val="nextTo"/>
        <c:txPr>
          <a:bodyPr/>
          <a:lstStyle/>
          <a:p>
            <a:pPr>
              <a:defRPr lang="ja-JP"/>
            </a:pPr>
            <a:endParaRPr lang="en-US"/>
          </a:p>
        </c:txPr>
        <c:crossAx val="94362240"/>
        <c:crosses val="autoZero"/>
        <c:crossBetween val="between"/>
      </c:valAx>
    </c:plotArea>
    <c:legend>
      <c:legendPos val="r"/>
      <c:layout>
        <c:manualLayout>
          <c:xMode val="edge"/>
          <c:yMode val="edge"/>
          <c:x val="0.80076525210399219"/>
          <c:y val="6.7535314810035232E-2"/>
          <c:w val="0.19320502850110702"/>
          <c:h val="0.32168576561580109"/>
        </c:manualLayout>
      </c:layout>
      <c:txPr>
        <a:bodyPr/>
        <a:lstStyle/>
        <a:p>
          <a:pPr>
            <a:defRPr lang="ja-JP"/>
          </a:pPr>
          <a:endParaRPr lang="en-US"/>
        </a:p>
      </c:txPr>
    </c:legend>
    <c:plotVisOnly val="1"/>
    <c:dispBlanksAs val="gap"/>
  </c:chart>
  <c:externalData r:id="rId1"/>
  <c:userShapes r:id="rId2"/>
</c:chartSpace>
</file>

<file path=ppt/charts/chart2.xml><?xml version="1.0" encoding="utf-8"?>
<c:chartSpace xmlns:c="http://schemas.openxmlformats.org/drawingml/2006/chart" xmlns:a="http://schemas.openxmlformats.org/drawingml/2006/main" xmlns:r="http://schemas.openxmlformats.org/officeDocument/2006/relationships">
  <c:lang val="en-US"/>
  <c:style val="18"/>
  <c:chart>
    <c:plotArea>
      <c:layout>
        <c:manualLayout>
          <c:layoutTarget val="inner"/>
          <c:xMode val="edge"/>
          <c:yMode val="edge"/>
          <c:x val="0.14788347271759103"/>
          <c:y val="2.8145470114490496E-2"/>
          <c:w val="0.62853865576929502"/>
          <c:h val="0.85194357462074011"/>
        </c:manualLayout>
      </c:layout>
      <c:lineChart>
        <c:grouping val="standard"/>
        <c:ser>
          <c:idx val="0"/>
          <c:order val="0"/>
          <c:tx>
            <c:strRef>
              <c:f>'Q&amp;FSMS Trend'!$C$11</c:f>
              <c:strCache>
                <c:ptCount val="1"/>
                <c:pt idx="0">
                  <c:v>Europe</c:v>
                </c:pt>
              </c:strCache>
            </c:strRef>
          </c:tx>
          <c:cat>
            <c:numRef>
              <c:f>'Q&amp;FSMS Trend'!$D$10:$O$10</c:f>
              <c:numCache>
                <c:formatCode>General</c:formatCode>
                <c:ptCount val="12"/>
                <c:pt idx="0">
                  <c:v>2000</c:v>
                </c:pt>
                <c:pt idx="1">
                  <c:v>2001</c:v>
                </c:pt>
                <c:pt idx="2">
                  <c:v>2002</c:v>
                </c:pt>
                <c:pt idx="3">
                  <c:v>2003</c:v>
                </c:pt>
                <c:pt idx="4">
                  <c:v>2004</c:v>
                </c:pt>
                <c:pt idx="5">
                  <c:v>2005</c:v>
                </c:pt>
                <c:pt idx="6">
                  <c:v>2006</c:v>
                </c:pt>
                <c:pt idx="7">
                  <c:v>2007</c:v>
                </c:pt>
                <c:pt idx="8">
                  <c:v>2008</c:v>
                </c:pt>
                <c:pt idx="9">
                  <c:v>2009</c:v>
                </c:pt>
                <c:pt idx="10">
                  <c:v>2010</c:v>
                </c:pt>
                <c:pt idx="11">
                  <c:v>2011</c:v>
                </c:pt>
              </c:numCache>
            </c:numRef>
          </c:cat>
          <c:val>
            <c:numRef>
              <c:f>'Q&amp;FSMS Trend'!$D$11:$O$11</c:f>
              <c:numCache>
                <c:formatCode>0.0%</c:formatCode>
                <c:ptCount val="12"/>
                <c:pt idx="0">
                  <c:v>0.58827563762332613</c:v>
                </c:pt>
                <c:pt idx="1">
                  <c:v>0.52836000462428701</c:v>
                </c:pt>
                <c:pt idx="2">
                  <c:v>0.52135230683238187</c:v>
                </c:pt>
                <c:pt idx="3">
                  <c:v>0.48693663025512202</c:v>
                </c:pt>
                <c:pt idx="4">
                  <c:v>0.48588464125356712</c:v>
                </c:pt>
                <c:pt idx="5">
                  <c:v>0.48740119119769804</c:v>
                </c:pt>
                <c:pt idx="6">
                  <c:v>0.46181925622000097</c:v>
                </c:pt>
                <c:pt idx="7">
                  <c:v>0.45347908429551198</c:v>
                </c:pt>
                <c:pt idx="8">
                  <c:v>0.46444229549066507</c:v>
                </c:pt>
                <c:pt idx="9">
                  <c:v>0.47030367068985113</c:v>
                </c:pt>
                <c:pt idx="10">
                  <c:v>0.47387953616865314</c:v>
                </c:pt>
                <c:pt idx="11">
                  <c:v>0.44278931868187199</c:v>
                </c:pt>
              </c:numCache>
            </c:numRef>
          </c:val>
        </c:ser>
        <c:ser>
          <c:idx val="1"/>
          <c:order val="1"/>
          <c:tx>
            <c:strRef>
              <c:f>'Q&amp;FSMS Trend'!$C$12</c:f>
              <c:strCache>
                <c:ptCount val="1"/>
                <c:pt idx="0">
                  <c:v>East Asia and Pacific</c:v>
                </c:pt>
              </c:strCache>
            </c:strRef>
          </c:tx>
          <c:spPr>
            <a:ln>
              <a:solidFill>
                <a:srgbClr val="ED2A09"/>
              </a:solidFill>
            </a:ln>
          </c:spPr>
          <c:marker>
            <c:spPr>
              <a:solidFill>
                <a:srgbClr val="ED2A09"/>
              </a:solidFill>
              <a:ln>
                <a:solidFill>
                  <a:srgbClr val="ED2A09"/>
                </a:solidFill>
              </a:ln>
            </c:spPr>
          </c:marker>
          <c:dPt>
            <c:idx val="3"/>
            <c:marker>
              <c:symbol val="square"/>
              <c:size val="13"/>
            </c:marker>
          </c:dPt>
          <c:cat>
            <c:numRef>
              <c:f>'Q&amp;FSMS Trend'!$D$10:$O$10</c:f>
              <c:numCache>
                <c:formatCode>General</c:formatCode>
                <c:ptCount val="12"/>
                <c:pt idx="0">
                  <c:v>2000</c:v>
                </c:pt>
                <c:pt idx="1">
                  <c:v>2001</c:v>
                </c:pt>
                <c:pt idx="2">
                  <c:v>2002</c:v>
                </c:pt>
                <c:pt idx="3">
                  <c:v>2003</c:v>
                </c:pt>
                <c:pt idx="4">
                  <c:v>2004</c:v>
                </c:pt>
                <c:pt idx="5">
                  <c:v>2005</c:v>
                </c:pt>
                <c:pt idx="6">
                  <c:v>2006</c:v>
                </c:pt>
                <c:pt idx="7">
                  <c:v>2007</c:v>
                </c:pt>
                <c:pt idx="8">
                  <c:v>2008</c:v>
                </c:pt>
                <c:pt idx="9">
                  <c:v>2009</c:v>
                </c:pt>
                <c:pt idx="10">
                  <c:v>2010</c:v>
                </c:pt>
                <c:pt idx="11">
                  <c:v>2011</c:v>
                </c:pt>
              </c:numCache>
            </c:numRef>
          </c:cat>
          <c:val>
            <c:numRef>
              <c:f>'Q&amp;FSMS Trend'!$D$12:$O$12</c:f>
              <c:numCache>
                <c:formatCode>0.0%</c:formatCode>
                <c:ptCount val="12"/>
                <c:pt idx="0">
                  <c:v>0.23855204845434899</c:v>
                </c:pt>
                <c:pt idx="1">
                  <c:v>0.30488352088472803</c:v>
                </c:pt>
                <c:pt idx="2">
                  <c:v>0.31644314536657597</c:v>
                </c:pt>
                <c:pt idx="3">
                  <c:v>0.37324544755271399</c:v>
                </c:pt>
                <c:pt idx="4">
                  <c:v>0.36498457884180713</c:v>
                </c:pt>
                <c:pt idx="5">
                  <c:v>0.34386820065568907</c:v>
                </c:pt>
                <c:pt idx="6">
                  <c:v>0.35713927339015805</c:v>
                </c:pt>
                <c:pt idx="7">
                  <c:v>0.37210847032956912</c:v>
                </c:pt>
                <c:pt idx="8">
                  <c:v>0.37384757253229006</c:v>
                </c:pt>
                <c:pt idx="9">
                  <c:v>0.38401656026645309</c:v>
                </c:pt>
                <c:pt idx="10">
                  <c:v>0.39201884650114904</c:v>
                </c:pt>
                <c:pt idx="11">
                  <c:v>0.4244282170157721</c:v>
                </c:pt>
              </c:numCache>
            </c:numRef>
          </c:val>
          <c:smooth val="1"/>
        </c:ser>
        <c:dLbls/>
        <c:marker val="1"/>
        <c:axId val="110499712"/>
        <c:axId val="110501248"/>
      </c:lineChart>
      <c:catAx>
        <c:axId val="110499712"/>
        <c:scaling>
          <c:orientation val="minMax"/>
        </c:scaling>
        <c:axPos val="b"/>
        <c:numFmt formatCode="General" sourceLinked="1"/>
        <c:tickLblPos val="nextTo"/>
        <c:txPr>
          <a:bodyPr/>
          <a:lstStyle/>
          <a:p>
            <a:pPr>
              <a:defRPr lang="ja-JP"/>
            </a:pPr>
            <a:endParaRPr lang="en-US"/>
          </a:p>
        </c:txPr>
        <c:crossAx val="110501248"/>
        <c:crosses val="autoZero"/>
        <c:auto val="1"/>
        <c:lblAlgn val="ctr"/>
        <c:lblOffset val="100"/>
      </c:catAx>
      <c:valAx>
        <c:axId val="110501248"/>
        <c:scaling>
          <c:orientation val="minMax"/>
        </c:scaling>
        <c:axPos val="l"/>
        <c:majorGridlines/>
        <c:numFmt formatCode="0.0%" sourceLinked="1"/>
        <c:tickLblPos val="nextTo"/>
        <c:txPr>
          <a:bodyPr/>
          <a:lstStyle/>
          <a:p>
            <a:pPr>
              <a:defRPr lang="ja-JP"/>
            </a:pPr>
            <a:endParaRPr lang="en-US"/>
          </a:p>
        </c:txPr>
        <c:crossAx val="110499712"/>
        <c:crosses val="autoZero"/>
        <c:crossBetween val="between"/>
      </c:valAx>
      <c:spPr>
        <a:ln>
          <a:noFill/>
        </a:ln>
      </c:spPr>
    </c:plotArea>
    <c:plotVisOnly val="1"/>
    <c:dispBlanksAs val="gap"/>
  </c:chart>
  <c:externalData r:id="rId1"/>
  <c:userShapes r:id="rId2"/>
</c:chartSpace>
</file>

<file path=ppt/charts/chart3.xml><?xml version="1.0" encoding="utf-8"?>
<c:chartSpace xmlns:c="http://schemas.openxmlformats.org/drawingml/2006/chart" xmlns:a="http://schemas.openxmlformats.org/drawingml/2006/main" xmlns:r="http://schemas.openxmlformats.org/officeDocument/2006/relationships">
  <c:lang val="en-US"/>
  <c:style val="18"/>
  <c:chart>
    <c:plotArea>
      <c:layout>
        <c:manualLayout>
          <c:layoutTarget val="inner"/>
          <c:xMode val="edge"/>
          <c:yMode val="edge"/>
          <c:x val="0.114655074365704"/>
          <c:y val="6.0185185185185196E-2"/>
          <c:w val="0.78868700787401602"/>
          <c:h val="0.82246937882764681"/>
        </c:manualLayout>
      </c:layout>
      <c:lineChart>
        <c:grouping val="standard"/>
        <c:ser>
          <c:idx val="0"/>
          <c:order val="0"/>
          <c:tx>
            <c:strRef>
              <c:f>'Q&amp;FSMS Trend'!$C$23</c:f>
              <c:strCache>
                <c:ptCount val="1"/>
                <c:pt idx="0">
                  <c:v>Europe</c:v>
                </c:pt>
              </c:strCache>
            </c:strRef>
          </c:tx>
          <c:cat>
            <c:numRef>
              <c:f>'Q&amp;FSMS Trend'!$D$22:$H$22</c:f>
              <c:numCache>
                <c:formatCode>General</c:formatCode>
                <c:ptCount val="5"/>
                <c:pt idx="0">
                  <c:v>2007</c:v>
                </c:pt>
                <c:pt idx="1">
                  <c:v>2008</c:v>
                </c:pt>
                <c:pt idx="2">
                  <c:v>2009</c:v>
                </c:pt>
                <c:pt idx="3">
                  <c:v>2010</c:v>
                </c:pt>
                <c:pt idx="4">
                  <c:v>2011</c:v>
                </c:pt>
              </c:numCache>
            </c:numRef>
          </c:cat>
          <c:val>
            <c:numRef>
              <c:f>'Q&amp;FSMS Trend'!$D$23:$H$23</c:f>
              <c:numCache>
                <c:formatCode>0.0%</c:formatCode>
                <c:ptCount val="5"/>
                <c:pt idx="0">
                  <c:v>0.66690926734594813</c:v>
                </c:pt>
                <c:pt idx="1">
                  <c:v>0.59437996334758703</c:v>
                </c:pt>
                <c:pt idx="2">
                  <c:v>0.43720190779014306</c:v>
                </c:pt>
                <c:pt idx="3">
                  <c:v>0.38121636167922512</c:v>
                </c:pt>
                <c:pt idx="4">
                  <c:v>0.40090090090090108</c:v>
                </c:pt>
              </c:numCache>
            </c:numRef>
          </c:val>
        </c:ser>
        <c:ser>
          <c:idx val="1"/>
          <c:order val="1"/>
          <c:tx>
            <c:strRef>
              <c:f>'Q&amp;FSMS Trend'!$C$24</c:f>
              <c:strCache>
                <c:ptCount val="1"/>
                <c:pt idx="0">
                  <c:v>East Asia and Pacific</c:v>
                </c:pt>
              </c:strCache>
            </c:strRef>
          </c:tx>
          <c:spPr>
            <a:ln>
              <a:solidFill>
                <a:srgbClr val="ED2A09"/>
              </a:solidFill>
            </a:ln>
          </c:spPr>
          <c:marker>
            <c:spPr>
              <a:solidFill>
                <a:srgbClr val="ED2A09"/>
              </a:solidFill>
              <a:ln>
                <a:solidFill>
                  <a:srgbClr val="ED2A09"/>
                </a:solidFill>
              </a:ln>
            </c:spPr>
          </c:marker>
          <c:cat>
            <c:numRef>
              <c:f>'Q&amp;FSMS Trend'!$D$22:$H$22</c:f>
              <c:numCache>
                <c:formatCode>General</c:formatCode>
                <c:ptCount val="5"/>
                <c:pt idx="0">
                  <c:v>2007</c:v>
                </c:pt>
                <c:pt idx="1">
                  <c:v>2008</c:v>
                </c:pt>
                <c:pt idx="2">
                  <c:v>2009</c:v>
                </c:pt>
                <c:pt idx="3">
                  <c:v>2010</c:v>
                </c:pt>
                <c:pt idx="4">
                  <c:v>2011</c:v>
                </c:pt>
              </c:numCache>
            </c:numRef>
          </c:cat>
          <c:val>
            <c:numRef>
              <c:f>'Q&amp;FSMS Trend'!$D$24:$H$24</c:f>
              <c:numCache>
                <c:formatCode>0.0%</c:formatCode>
                <c:ptCount val="5"/>
                <c:pt idx="0">
                  <c:v>0.17079087821445899</c:v>
                </c:pt>
                <c:pt idx="1">
                  <c:v>0.18827122785583403</c:v>
                </c:pt>
                <c:pt idx="2">
                  <c:v>0.37917329093799707</c:v>
                </c:pt>
                <c:pt idx="3">
                  <c:v>0.445156081808396</c:v>
                </c:pt>
                <c:pt idx="4">
                  <c:v>0.44474474474474501</c:v>
                </c:pt>
              </c:numCache>
            </c:numRef>
          </c:val>
        </c:ser>
        <c:dLbls/>
        <c:marker val="1"/>
        <c:axId val="110592768"/>
        <c:axId val="110594304"/>
      </c:lineChart>
      <c:catAx>
        <c:axId val="110592768"/>
        <c:scaling>
          <c:orientation val="minMax"/>
        </c:scaling>
        <c:axPos val="b"/>
        <c:numFmt formatCode="General" sourceLinked="1"/>
        <c:tickLblPos val="nextTo"/>
        <c:txPr>
          <a:bodyPr/>
          <a:lstStyle/>
          <a:p>
            <a:pPr>
              <a:defRPr lang="ja-JP"/>
            </a:pPr>
            <a:endParaRPr lang="en-US"/>
          </a:p>
        </c:txPr>
        <c:crossAx val="110594304"/>
        <c:crosses val="autoZero"/>
        <c:auto val="1"/>
        <c:lblAlgn val="ctr"/>
        <c:lblOffset val="100"/>
      </c:catAx>
      <c:valAx>
        <c:axId val="110594304"/>
        <c:scaling>
          <c:orientation val="minMax"/>
        </c:scaling>
        <c:axPos val="l"/>
        <c:majorGridlines/>
        <c:numFmt formatCode="0.0%" sourceLinked="1"/>
        <c:tickLblPos val="nextTo"/>
        <c:txPr>
          <a:bodyPr/>
          <a:lstStyle/>
          <a:p>
            <a:pPr>
              <a:defRPr lang="ja-JP"/>
            </a:pPr>
            <a:endParaRPr lang="en-US"/>
          </a:p>
        </c:txPr>
        <c:crossAx val="110592768"/>
        <c:crosses val="autoZero"/>
        <c:crossBetween val="between"/>
      </c:valAx>
    </c:plotArea>
    <c:plotVisOnly val="1"/>
    <c:dispBlanksAs val="gap"/>
  </c:chart>
  <c:externalData r:id="rId1"/>
  <c:userShapes r:id="rId2"/>
</c:chartSpace>
</file>

<file path=ppt/drawings/drawing1.xml><?xml version="1.0" encoding="utf-8"?>
<c:userShapes xmlns:c="http://schemas.openxmlformats.org/drawingml/2006/chart">
  <cdr:relSizeAnchor xmlns:cdr="http://schemas.openxmlformats.org/drawingml/2006/chartDrawing">
    <cdr:from>
      <cdr:x>0.21368</cdr:x>
      <cdr:y>0.20882</cdr:y>
    </cdr:from>
    <cdr:to>
      <cdr:x>0.2906</cdr:x>
      <cdr:y>0.27408</cdr:y>
    </cdr:to>
    <cdr:sp macro="" textlink="">
      <cdr:nvSpPr>
        <cdr:cNvPr id="2" name="テキスト ボックス 1"/>
        <cdr:cNvSpPr txBox="1"/>
      </cdr:nvSpPr>
      <cdr:spPr>
        <a:xfrm xmlns:a="http://schemas.openxmlformats.org/drawingml/2006/main">
          <a:off x="1800200" y="1152128"/>
          <a:ext cx="648072" cy="36004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GB" sz="1400" dirty="0" smtClean="0">
              <a:latin typeface="Arial"/>
              <a:cs typeface="Arial"/>
            </a:rPr>
            <a:t>51.3</a:t>
          </a:r>
          <a:endParaRPr lang="en-GB" sz="1400" dirty="0">
            <a:latin typeface="Arial"/>
            <a:cs typeface="Arial"/>
          </a:endParaRPr>
        </a:p>
      </cdr:txBody>
    </cdr:sp>
  </cdr:relSizeAnchor>
  <cdr:relSizeAnchor xmlns:cdr="http://schemas.openxmlformats.org/drawingml/2006/chartDrawing">
    <cdr:from>
      <cdr:x>0.57265</cdr:x>
      <cdr:y>0.13051</cdr:y>
    </cdr:from>
    <cdr:to>
      <cdr:x>0.64103</cdr:x>
      <cdr:y>0.19577</cdr:y>
    </cdr:to>
    <cdr:sp macro="" textlink="">
      <cdr:nvSpPr>
        <cdr:cNvPr id="3" name="テキスト ボックス 2"/>
        <cdr:cNvSpPr txBox="1"/>
      </cdr:nvSpPr>
      <cdr:spPr>
        <a:xfrm xmlns:a="http://schemas.openxmlformats.org/drawingml/2006/main">
          <a:off x="4824536" y="720080"/>
          <a:ext cx="576064" cy="36004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GB" sz="1400" dirty="0" smtClean="0">
              <a:latin typeface="Arial"/>
              <a:cs typeface="Arial"/>
            </a:rPr>
            <a:t>14.9</a:t>
          </a:r>
          <a:endParaRPr lang="en-GB" sz="1400" dirty="0">
            <a:latin typeface="Arial"/>
            <a:cs typeface="Arial"/>
          </a:endParaRPr>
        </a:p>
      </cdr:txBody>
    </cdr:sp>
  </cdr:relSizeAnchor>
  <cdr:relSizeAnchor xmlns:cdr="http://schemas.openxmlformats.org/drawingml/2006/chartDrawing">
    <cdr:from>
      <cdr:x>0.22222</cdr:x>
      <cdr:y>0.57426</cdr:y>
    </cdr:from>
    <cdr:to>
      <cdr:x>0.2906</cdr:x>
      <cdr:y>0.63952</cdr:y>
    </cdr:to>
    <cdr:sp macro="" textlink="">
      <cdr:nvSpPr>
        <cdr:cNvPr id="4" name="テキスト ボックス 3"/>
        <cdr:cNvSpPr txBox="1"/>
      </cdr:nvSpPr>
      <cdr:spPr>
        <a:xfrm xmlns:a="http://schemas.openxmlformats.org/drawingml/2006/main">
          <a:off x="1872208" y="3168352"/>
          <a:ext cx="576064" cy="36004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GB" sz="1400" dirty="0" smtClean="0">
              <a:latin typeface="Arial"/>
              <a:cs typeface="Arial"/>
            </a:rPr>
            <a:t>39.9</a:t>
          </a:r>
          <a:endParaRPr lang="en-GB" sz="1400" dirty="0">
            <a:latin typeface="Arial"/>
            <a:cs typeface="Arial"/>
          </a:endParaRPr>
        </a:p>
      </cdr:txBody>
    </cdr:sp>
  </cdr:relSizeAnchor>
  <cdr:relSizeAnchor xmlns:cdr="http://schemas.openxmlformats.org/drawingml/2006/chartDrawing">
    <cdr:from>
      <cdr:x>0.33333</cdr:x>
      <cdr:y>0.58732</cdr:y>
    </cdr:from>
    <cdr:to>
      <cdr:x>0.41026</cdr:x>
      <cdr:y>0.65257</cdr:y>
    </cdr:to>
    <cdr:sp macro="" textlink="">
      <cdr:nvSpPr>
        <cdr:cNvPr id="5" name="テキスト ボックス 4"/>
        <cdr:cNvSpPr txBox="1"/>
      </cdr:nvSpPr>
      <cdr:spPr>
        <a:xfrm xmlns:a="http://schemas.openxmlformats.org/drawingml/2006/main">
          <a:off x="2808312" y="3240360"/>
          <a:ext cx="648072" cy="36004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GB" sz="1400" dirty="0" smtClean="0">
              <a:latin typeface="Arial"/>
              <a:cs typeface="Arial"/>
            </a:rPr>
            <a:t>40.1</a:t>
          </a:r>
          <a:endParaRPr lang="en-GB" sz="1400" dirty="0">
            <a:latin typeface="Arial"/>
            <a:cs typeface="Arial"/>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49138</cdr:x>
      <cdr:y>0.15528</cdr:y>
    </cdr:from>
    <cdr:to>
      <cdr:x>0.67241</cdr:x>
      <cdr:y>0.21175</cdr:y>
    </cdr:to>
    <cdr:sp macro="" textlink="">
      <cdr:nvSpPr>
        <cdr:cNvPr id="2" name="テキスト ボックス 1"/>
        <cdr:cNvSpPr txBox="1"/>
      </cdr:nvSpPr>
      <cdr:spPr>
        <a:xfrm xmlns:a="http://schemas.openxmlformats.org/drawingml/2006/main">
          <a:off x="4104456" y="792088"/>
          <a:ext cx="1512168" cy="28803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GB" sz="1400" dirty="0" smtClean="0">
              <a:latin typeface="Arial"/>
              <a:cs typeface="Arial"/>
            </a:rPr>
            <a:t>Europe</a:t>
          </a:r>
          <a:endParaRPr lang="en-GB" sz="1400" dirty="0">
            <a:latin typeface="Arial"/>
            <a:cs typeface="Arial"/>
          </a:endParaRPr>
        </a:p>
      </cdr:txBody>
    </cdr:sp>
  </cdr:relSizeAnchor>
  <cdr:relSizeAnchor xmlns:cdr="http://schemas.openxmlformats.org/drawingml/2006/chartDrawing">
    <cdr:from>
      <cdr:x>0.4569</cdr:x>
      <cdr:y>0.56465</cdr:y>
    </cdr:from>
    <cdr:to>
      <cdr:x>0.72414</cdr:x>
      <cdr:y>0.62112</cdr:y>
    </cdr:to>
    <cdr:sp macro="" textlink="">
      <cdr:nvSpPr>
        <cdr:cNvPr id="3" name="テキスト ボックス 2"/>
        <cdr:cNvSpPr txBox="1"/>
      </cdr:nvSpPr>
      <cdr:spPr>
        <a:xfrm xmlns:a="http://schemas.openxmlformats.org/drawingml/2006/main">
          <a:off x="3816424" y="2880320"/>
          <a:ext cx="2232248" cy="28803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GB" sz="1400" dirty="0" smtClean="0">
              <a:latin typeface="Arial"/>
              <a:cs typeface="Arial"/>
            </a:rPr>
            <a:t>East Asia &amp; Pacific</a:t>
          </a:r>
          <a:endParaRPr lang="en-GB" sz="1400" dirty="0">
            <a:latin typeface="Arial"/>
            <a:cs typeface="Arial"/>
          </a:endParaRPr>
        </a:p>
      </cdr:txBody>
    </cdr:sp>
  </cdr:relSizeAnchor>
  <cdr:relSizeAnchor xmlns:cdr="http://schemas.openxmlformats.org/drawingml/2006/chartDrawing">
    <cdr:from>
      <cdr:x>0.18966</cdr:x>
      <cdr:y>0.59289</cdr:y>
    </cdr:from>
    <cdr:to>
      <cdr:x>0.30172</cdr:x>
      <cdr:y>0.63524</cdr:y>
    </cdr:to>
    <cdr:sp macro="" textlink="">
      <cdr:nvSpPr>
        <cdr:cNvPr id="4" name="テキスト ボックス 3"/>
        <cdr:cNvSpPr txBox="1"/>
      </cdr:nvSpPr>
      <cdr:spPr>
        <a:xfrm xmlns:a="http://schemas.openxmlformats.org/drawingml/2006/main">
          <a:off x="1584176" y="3024336"/>
          <a:ext cx="936104" cy="21602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GB" sz="1000" dirty="0" smtClean="0">
              <a:latin typeface="Arial"/>
              <a:cs typeface="Arial"/>
            </a:rPr>
            <a:t>109,217</a:t>
          </a:r>
          <a:endParaRPr lang="en-GB" sz="1000" dirty="0">
            <a:latin typeface="Arial"/>
            <a:cs typeface="Arial"/>
          </a:endParaRPr>
        </a:p>
      </cdr:txBody>
    </cdr:sp>
  </cdr:relSizeAnchor>
  <cdr:relSizeAnchor xmlns:cdr="http://schemas.openxmlformats.org/drawingml/2006/chartDrawing">
    <cdr:from>
      <cdr:x>0.75</cdr:x>
      <cdr:y>0.39526</cdr:y>
    </cdr:from>
    <cdr:to>
      <cdr:x>0.83621</cdr:x>
      <cdr:y>0.45172</cdr:y>
    </cdr:to>
    <cdr:sp macro="" textlink="">
      <cdr:nvSpPr>
        <cdr:cNvPr id="5" name="テキスト ボックス 4"/>
        <cdr:cNvSpPr txBox="1"/>
      </cdr:nvSpPr>
      <cdr:spPr>
        <a:xfrm xmlns:a="http://schemas.openxmlformats.org/drawingml/2006/main">
          <a:off x="6264696" y="2016224"/>
          <a:ext cx="720080" cy="28803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GB" sz="1000" dirty="0" smtClean="0">
              <a:latin typeface="Arial"/>
              <a:cs typeface="Arial"/>
            </a:rPr>
            <a:t>471,836</a:t>
          </a:r>
          <a:endParaRPr lang="en-GB" sz="1000" dirty="0">
            <a:latin typeface="Arial"/>
            <a:cs typeface="Arial"/>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39623</cdr:x>
      <cdr:y>0.10153</cdr:y>
    </cdr:from>
    <cdr:to>
      <cdr:x>0.53774</cdr:x>
      <cdr:y>0.18614</cdr:y>
    </cdr:to>
    <cdr:sp macro="" textlink="">
      <cdr:nvSpPr>
        <cdr:cNvPr id="2" name="テキスト ボックス 1"/>
        <cdr:cNvSpPr txBox="1"/>
      </cdr:nvSpPr>
      <cdr:spPr>
        <a:xfrm xmlns:a="http://schemas.openxmlformats.org/drawingml/2006/main">
          <a:off x="3024336" y="432048"/>
          <a:ext cx="1080120" cy="36004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GB" sz="1400" dirty="0" smtClean="0">
              <a:latin typeface="Arial"/>
              <a:cs typeface="Arial"/>
            </a:rPr>
            <a:t>Europe</a:t>
          </a:r>
          <a:endParaRPr lang="en-GB" sz="1400" dirty="0">
            <a:latin typeface="Arial"/>
            <a:cs typeface="Arial"/>
          </a:endParaRPr>
        </a:p>
      </cdr:txBody>
    </cdr:sp>
  </cdr:relSizeAnchor>
  <cdr:relSizeAnchor xmlns:cdr="http://schemas.openxmlformats.org/drawingml/2006/chartDrawing">
    <cdr:from>
      <cdr:x>0.53774</cdr:x>
      <cdr:y>0.61972</cdr:y>
    </cdr:from>
    <cdr:to>
      <cdr:x>0.82076</cdr:x>
      <cdr:y>0.72125</cdr:y>
    </cdr:to>
    <cdr:sp macro="" textlink="">
      <cdr:nvSpPr>
        <cdr:cNvPr id="3" name="テキスト ボックス 2"/>
        <cdr:cNvSpPr txBox="1"/>
      </cdr:nvSpPr>
      <cdr:spPr>
        <a:xfrm xmlns:a="http://schemas.openxmlformats.org/drawingml/2006/main">
          <a:off x="4104456" y="3168352"/>
          <a:ext cx="2160249" cy="51907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GB" sz="1400" dirty="0" smtClean="0">
              <a:latin typeface="Arial"/>
              <a:cs typeface="Arial"/>
            </a:rPr>
            <a:t>East Asia &amp; Pacific</a:t>
          </a:r>
          <a:endParaRPr lang="en-GB" sz="1400" dirty="0">
            <a:latin typeface="Arial"/>
            <a:cs typeface="Arial"/>
          </a:endParaRPr>
        </a:p>
      </cdr:txBody>
    </cdr:sp>
  </cdr:relSizeAnchor>
  <cdr:relSizeAnchor xmlns:cdr="http://schemas.openxmlformats.org/drawingml/2006/chartDrawing">
    <cdr:from>
      <cdr:x>0.36792</cdr:x>
      <cdr:y>0.16922</cdr:y>
    </cdr:from>
    <cdr:to>
      <cdr:x>0.41509</cdr:x>
      <cdr:y>0.25383</cdr:y>
    </cdr:to>
    <cdr:cxnSp macro="">
      <cdr:nvCxnSpPr>
        <cdr:cNvPr id="5" name="直線矢印コネクタ 4"/>
        <cdr:cNvCxnSpPr/>
      </cdr:nvCxnSpPr>
      <cdr:spPr>
        <a:xfrm xmlns:a="http://schemas.openxmlformats.org/drawingml/2006/main" flipH="1">
          <a:off x="2808312" y="720080"/>
          <a:ext cx="360040" cy="360040"/>
        </a:xfrm>
        <a:prstGeom xmlns:a="http://schemas.openxmlformats.org/drawingml/2006/main" prst="straightConnector1">
          <a:avLst/>
        </a:prstGeom>
        <a:ln xmlns:a="http://schemas.openxmlformats.org/drawingml/2006/main">
          <a:solidFill>
            <a:schemeClr val="tx1"/>
          </a:solidFill>
          <a:tailEnd type="arrow"/>
        </a:ln>
      </cdr:spPr>
      <cdr:style>
        <a:lnRef xmlns:a="http://schemas.openxmlformats.org/drawingml/2006/main" idx="2">
          <a:schemeClr val="accent1"/>
        </a:lnRef>
        <a:fillRef xmlns:a="http://schemas.openxmlformats.org/drawingml/2006/main" idx="0">
          <a:schemeClr val="accent1"/>
        </a:fillRef>
        <a:effectRef xmlns:a="http://schemas.openxmlformats.org/drawingml/2006/main" idx="1">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9413" cy="493713"/>
          </a:xfrm>
          <a:prstGeom prst="rect">
            <a:avLst/>
          </a:prstGeom>
        </p:spPr>
        <p:txBody>
          <a:bodyPr vert="horz" lIns="91440" tIns="45720" rIns="91440" bIns="45720" rtlCol="0"/>
          <a:lstStyle>
            <a:lvl1pPr algn="l">
              <a:defRPr sz="1200"/>
            </a:lvl1pPr>
          </a:lstStyle>
          <a:p>
            <a:endParaRPr lang="ja-JP" altLang="en-US"/>
          </a:p>
        </p:txBody>
      </p:sp>
      <p:sp>
        <p:nvSpPr>
          <p:cNvPr id="3" name="日付プレースホルダー 2"/>
          <p:cNvSpPr>
            <a:spLocks noGrp="1"/>
          </p:cNvSpPr>
          <p:nvPr>
            <p:ph type="dt" sz="quarter" idx="1"/>
          </p:nvPr>
        </p:nvSpPr>
        <p:spPr>
          <a:xfrm>
            <a:off x="3814763" y="0"/>
            <a:ext cx="2919412" cy="493713"/>
          </a:xfrm>
          <a:prstGeom prst="rect">
            <a:avLst/>
          </a:prstGeom>
        </p:spPr>
        <p:txBody>
          <a:bodyPr vert="horz" lIns="91440" tIns="45720" rIns="91440" bIns="45720" rtlCol="0"/>
          <a:lstStyle>
            <a:lvl1pPr algn="r">
              <a:defRPr sz="1200"/>
            </a:lvl1pPr>
          </a:lstStyle>
          <a:p>
            <a:fld id="{B095BDF3-16D8-CE4B-B665-98AE89EDD5DA}" type="datetimeFigureOut">
              <a:rPr lang="ja-JP" altLang="en-US" smtClean="0"/>
              <a:pPr/>
              <a:t>2013/11/22</a:t>
            </a:fld>
            <a:endParaRPr lang="ja-JP" altLang="en-US"/>
          </a:p>
        </p:txBody>
      </p:sp>
      <p:sp>
        <p:nvSpPr>
          <p:cNvPr id="4" name="フッター プレースホルダー 3"/>
          <p:cNvSpPr>
            <a:spLocks noGrp="1"/>
          </p:cNvSpPr>
          <p:nvPr>
            <p:ph type="ftr" sz="quarter" idx="2"/>
          </p:nvPr>
        </p:nvSpPr>
        <p:spPr>
          <a:xfrm>
            <a:off x="0" y="9371013"/>
            <a:ext cx="2919413" cy="493712"/>
          </a:xfrm>
          <a:prstGeom prst="rect">
            <a:avLst/>
          </a:prstGeom>
        </p:spPr>
        <p:txBody>
          <a:bodyPr vert="horz" lIns="91440" tIns="45720" rIns="91440" bIns="45720" rtlCol="0" anchor="b"/>
          <a:lstStyle>
            <a:lvl1pPr algn="l">
              <a:defRPr sz="1200"/>
            </a:lvl1pPr>
          </a:lstStyle>
          <a:p>
            <a:endParaRPr lang="ja-JP" altLang="en-US"/>
          </a:p>
        </p:txBody>
      </p:sp>
      <p:sp>
        <p:nvSpPr>
          <p:cNvPr id="5" name="スライド番号プレースホルダー 4"/>
          <p:cNvSpPr>
            <a:spLocks noGrp="1"/>
          </p:cNvSpPr>
          <p:nvPr>
            <p:ph type="sldNum" sz="quarter" idx="3"/>
          </p:nvPr>
        </p:nvSpPr>
        <p:spPr>
          <a:xfrm>
            <a:off x="3814763" y="9371013"/>
            <a:ext cx="2919412" cy="493712"/>
          </a:xfrm>
          <a:prstGeom prst="rect">
            <a:avLst/>
          </a:prstGeom>
        </p:spPr>
        <p:txBody>
          <a:bodyPr vert="horz" lIns="91440" tIns="45720" rIns="91440" bIns="45720" rtlCol="0" anchor="b"/>
          <a:lstStyle>
            <a:lvl1pPr algn="r">
              <a:defRPr sz="1200"/>
            </a:lvl1pPr>
          </a:lstStyle>
          <a:p>
            <a:fld id="{F804D319-1189-C044-8FBB-9F7D65290A02}" type="slidenum">
              <a:rPr lang="ja-JP" altLang="en-US" smtClean="0"/>
              <a:pPr/>
              <a:t>‹#›</a:t>
            </a:fld>
            <a:endParaRPr lang="ja-JP" altLang="en-US"/>
          </a:p>
        </p:txBody>
      </p:sp>
    </p:spTree>
    <p:extLst>
      <p:ext uri="{BB962C8B-B14F-4D97-AF65-F5344CB8AC3E}">
        <p14:creationId xmlns:p14="http://schemas.microsoft.com/office/powerpoint/2010/main" xmlns="" val="71035090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9413" cy="493713"/>
          </a:xfrm>
          <a:prstGeom prst="rect">
            <a:avLst/>
          </a:prstGeom>
        </p:spPr>
        <p:txBody>
          <a:bodyPr vert="horz" lIns="91440" tIns="45720" rIns="91440" bIns="45720" rtlCol="0"/>
          <a:lstStyle>
            <a:lvl1pPr algn="l">
              <a:defRPr kumimoji="0" sz="1200">
                <a:latin typeface="Lucida Grande" charset="0"/>
                <a:ea typeface="ヒラギノ角ゴ ProN W3" charset="0"/>
                <a:cs typeface="ヒラギノ角ゴ ProN W3" charset="0"/>
                <a:sym typeface="Lucida Grande" charset="0"/>
              </a:defRPr>
            </a:lvl1pPr>
          </a:lstStyle>
          <a:p>
            <a:pPr>
              <a:defRPr/>
            </a:pPr>
            <a:endParaRPr lang="en-AU"/>
          </a:p>
        </p:txBody>
      </p:sp>
      <p:sp>
        <p:nvSpPr>
          <p:cNvPr id="3" name="Date Placeholder 2"/>
          <p:cNvSpPr>
            <a:spLocks noGrp="1"/>
          </p:cNvSpPr>
          <p:nvPr>
            <p:ph type="dt" idx="1"/>
          </p:nvPr>
        </p:nvSpPr>
        <p:spPr>
          <a:xfrm>
            <a:off x="3814763" y="0"/>
            <a:ext cx="2919412" cy="493713"/>
          </a:xfrm>
          <a:prstGeom prst="rect">
            <a:avLst/>
          </a:prstGeom>
        </p:spPr>
        <p:txBody>
          <a:bodyPr vert="horz" lIns="91440" tIns="45720" rIns="91440" bIns="45720" rtlCol="0"/>
          <a:lstStyle>
            <a:lvl1pPr algn="r">
              <a:defRPr kumimoji="0" sz="1200">
                <a:latin typeface="Lucida Grande" charset="0"/>
                <a:ea typeface="ヒラギノ角ゴ ProN W3" charset="0"/>
                <a:cs typeface="ヒラギノ角ゴ ProN W3" charset="0"/>
                <a:sym typeface="Lucida Grande" charset="0"/>
              </a:defRPr>
            </a:lvl1pPr>
          </a:lstStyle>
          <a:p>
            <a:pPr>
              <a:defRPr/>
            </a:pPr>
            <a:fld id="{E2B939CA-0F02-49BE-9CFE-C9C79919A6C9}" type="datetimeFigureOut">
              <a:rPr lang="en-AU"/>
              <a:pPr>
                <a:defRPr/>
              </a:pPr>
              <a:t>22/11/2013</a:t>
            </a:fld>
            <a:endParaRPr lang="en-AU"/>
          </a:p>
        </p:txBody>
      </p:sp>
      <p:sp>
        <p:nvSpPr>
          <p:cNvPr id="4" name="Slide Image Placeholder 3"/>
          <p:cNvSpPr>
            <a:spLocks noGrp="1" noRot="1" noChangeAspect="1"/>
          </p:cNvSpPr>
          <p:nvPr>
            <p:ph type="sldImg" idx="2"/>
          </p:nvPr>
        </p:nvSpPr>
        <p:spPr>
          <a:xfrm>
            <a:off x="901700" y="739775"/>
            <a:ext cx="4933950" cy="3700463"/>
          </a:xfrm>
          <a:prstGeom prst="rect">
            <a:avLst/>
          </a:prstGeom>
          <a:noFill/>
          <a:ln w="12700">
            <a:solidFill>
              <a:prstClr val="black"/>
            </a:solidFill>
          </a:ln>
        </p:spPr>
        <p:txBody>
          <a:bodyPr vert="horz" lIns="91440" tIns="45720" rIns="91440" bIns="45720" rtlCol="0" anchor="ctr"/>
          <a:lstStyle/>
          <a:p>
            <a:pPr lvl="0"/>
            <a:endParaRPr lang="en-AU" noProof="0"/>
          </a:p>
        </p:txBody>
      </p:sp>
      <p:sp>
        <p:nvSpPr>
          <p:cNvPr id="5" name="Notes Placeholder 4"/>
          <p:cNvSpPr>
            <a:spLocks noGrp="1"/>
          </p:cNvSpPr>
          <p:nvPr>
            <p:ph type="body" sz="quarter" idx="3"/>
          </p:nvPr>
        </p:nvSpPr>
        <p:spPr>
          <a:xfrm>
            <a:off x="673100" y="4686300"/>
            <a:ext cx="5389563" cy="4440238"/>
          </a:xfrm>
          <a:prstGeom prst="rect">
            <a:avLst/>
          </a:prstGeom>
        </p:spPr>
        <p:txBody>
          <a:bodyPr vert="horz" lIns="91440" tIns="45720" rIns="91440" bIns="45720"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AU" noProof="0"/>
          </a:p>
        </p:txBody>
      </p:sp>
      <p:sp>
        <p:nvSpPr>
          <p:cNvPr id="6" name="Footer Placeholder 5"/>
          <p:cNvSpPr>
            <a:spLocks noGrp="1"/>
          </p:cNvSpPr>
          <p:nvPr>
            <p:ph type="ftr" sz="quarter" idx="4"/>
          </p:nvPr>
        </p:nvSpPr>
        <p:spPr>
          <a:xfrm>
            <a:off x="0" y="9371013"/>
            <a:ext cx="2919413" cy="493712"/>
          </a:xfrm>
          <a:prstGeom prst="rect">
            <a:avLst/>
          </a:prstGeom>
        </p:spPr>
        <p:txBody>
          <a:bodyPr vert="horz" lIns="91440" tIns="45720" rIns="91440" bIns="45720" rtlCol="0" anchor="b"/>
          <a:lstStyle>
            <a:lvl1pPr algn="l">
              <a:defRPr kumimoji="0" sz="1200">
                <a:latin typeface="Lucida Grande" charset="0"/>
                <a:ea typeface="ヒラギノ角ゴ ProN W3" charset="0"/>
                <a:cs typeface="ヒラギノ角ゴ ProN W3" charset="0"/>
                <a:sym typeface="Lucida Grande" charset="0"/>
              </a:defRPr>
            </a:lvl1pPr>
          </a:lstStyle>
          <a:p>
            <a:pPr>
              <a:defRPr/>
            </a:pPr>
            <a:endParaRPr lang="en-AU"/>
          </a:p>
        </p:txBody>
      </p:sp>
      <p:sp>
        <p:nvSpPr>
          <p:cNvPr id="7" name="Slide Number Placeholder 6"/>
          <p:cNvSpPr>
            <a:spLocks noGrp="1"/>
          </p:cNvSpPr>
          <p:nvPr>
            <p:ph type="sldNum" sz="quarter" idx="5"/>
          </p:nvPr>
        </p:nvSpPr>
        <p:spPr>
          <a:xfrm>
            <a:off x="3814763" y="9371013"/>
            <a:ext cx="2919412" cy="493712"/>
          </a:xfrm>
          <a:prstGeom prst="rect">
            <a:avLst/>
          </a:prstGeom>
        </p:spPr>
        <p:txBody>
          <a:bodyPr vert="horz" lIns="91440" tIns="45720" rIns="91440" bIns="45720" rtlCol="0" anchor="b"/>
          <a:lstStyle>
            <a:lvl1pPr algn="r">
              <a:defRPr kumimoji="0" sz="1200">
                <a:latin typeface="Lucida Grande" charset="0"/>
                <a:ea typeface="ヒラギノ角ゴ ProN W3" charset="0"/>
                <a:cs typeface="ヒラギノ角ゴ ProN W3" charset="0"/>
                <a:sym typeface="Lucida Grande" charset="0"/>
              </a:defRPr>
            </a:lvl1pPr>
          </a:lstStyle>
          <a:p>
            <a:pPr>
              <a:defRPr/>
            </a:pPr>
            <a:fld id="{D7F25309-0CA9-44D8-B0A4-2A58E14A5EB9}" type="slidenum">
              <a:rPr lang="en-AU"/>
              <a:pPr>
                <a:defRPr/>
              </a:pPr>
              <a:t>‹#›</a:t>
            </a:fld>
            <a:endParaRPr lang="en-AU"/>
          </a:p>
        </p:txBody>
      </p:sp>
    </p:spTree>
    <p:extLst>
      <p:ext uri="{BB962C8B-B14F-4D97-AF65-F5344CB8AC3E}">
        <p14:creationId xmlns:p14="http://schemas.microsoft.com/office/powerpoint/2010/main" xmlns="" val="3560020488"/>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baseline="0" dirty="0" smtClean="0"/>
          </a:p>
        </p:txBody>
      </p:sp>
      <p:sp>
        <p:nvSpPr>
          <p:cNvPr id="4" name="Slide Number Placeholder 3"/>
          <p:cNvSpPr>
            <a:spLocks noGrp="1"/>
          </p:cNvSpPr>
          <p:nvPr>
            <p:ph type="sldNum" sz="quarter" idx="10"/>
          </p:nvPr>
        </p:nvSpPr>
        <p:spPr/>
        <p:txBody>
          <a:bodyPr/>
          <a:lstStyle/>
          <a:p>
            <a:pPr>
              <a:defRPr/>
            </a:pPr>
            <a:fld id="{D7F25309-0CA9-44D8-B0A4-2A58E14A5EB9}" type="slidenum">
              <a:rPr lang="en-AU" smtClean="0"/>
              <a:pPr>
                <a:defRPr/>
              </a:pPr>
              <a:t>1</a:t>
            </a:fld>
            <a:endParaRPr lang="en-AU" dirty="0"/>
          </a:p>
        </p:txBody>
      </p:sp>
    </p:spTree>
    <p:extLst>
      <p:ext uri="{BB962C8B-B14F-4D97-AF65-F5344CB8AC3E}">
        <p14:creationId xmlns:p14="http://schemas.microsoft.com/office/powerpoint/2010/main" xmlns="" val="27835713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 typeface="+mj-lt"/>
              <a:buNone/>
              <a:tabLst/>
              <a:defRPr/>
            </a:pPr>
            <a:r>
              <a:rPr lang="en-GB" dirty="0" smtClean="0">
                <a:latin typeface="Arial"/>
                <a:cs typeface="Arial"/>
              </a:rPr>
              <a:t>The primary objective of MLA is to eliminate the technical barriers in the conformity assessment., but</a:t>
            </a:r>
          </a:p>
          <a:p>
            <a:pPr marL="0" marR="0" indent="0" algn="l" defTabSz="914400" rtl="0" eaLnBrk="0" fontAlgn="base" latinLnBrk="0" hangingPunct="0">
              <a:lnSpc>
                <a:spcPct val="100000"/>
              </a:lnSpc>
              <a:spcBef>
                <a:spcPct val="30000"/>
              </a:spcBef>
              <a:spcAft>
                <a:spcPct val="0"/>
              </a:spcAft>
              <a:buClrTx/>
              <a:buSzTx/>
              <a:buFont typeface="+mj-lt"/>
              <a:buNone/>
              <a:tabLst/>
              <a:defRPr/>
            </a:pPr>
            <a:r>
              <a:rPr lang="en-GB" dirty="0" smtClean="0">
                <a:latin typeface="Arial"/>
                <a:cs typeface="Arial"/>
              </a:rPr>
              <a:t>there</a:t>
            </a:r>
            <a:r>
              <a:rPr lang="en-GB" baseline="0" dirty="0" smtClean="0">
                <a:latin typeface="Arial"/>
                <a:cs typeface="Arial"/>
              </a:rPr>
              <a:t> are many benefits to developing an MLA and these are not confined to the </a:t>
            </a:r>
            <a:r>
              <a:rPr lang="en-GB" baseline="0" dirty="0" err="1" smtClean="0">
                <a:latin typeface="Arial"/>
                <a:cs typeface="Arial"/>
              </a:rPr>
              <a:t>ABs.</a:t>
            </a:r>
            <a:r>
              <a:rPr lang="en-AU" dirty="0" smtClean="0">
                <a:latin typeface="Arial"/>
                <a:cs typeface="Arial"/>
              </a:rPr>
              <a:t> </a:t>
            </a:r>
          </a:p>
          <a:p>
            <a:pPr marL="0" indent="0">
              <a:buFont typeface="+mj-lt"/>
              <a:buNone/>
            </a:pPr>
            <a:endParaRPr lang="en-GB" baseline="0" dirty="0" smtClean="0">
              <a:latin typeface="Arial"/>
              <a:cs typeface="Arial"/>
            </a:endParaRPr>
          </a:p>
          <a:p>
            <a:pPr marL="0" indent="0">
              <a:buFont typeface="+mj-lt"/>
              <a:buNone/>
            </a:pPr>
            <a:r>
              <a:rPr lang="en-GB" baseline="0" dirty="0" smtClean="0">
                <a:latin typeface="Arial"/>
                <a:cs typeface="Arial"/>
              </a:rPr>
              <a:t>A great deal of preparatory work is done before launching a new MLA and most of this work is capacity building.  </a:t>
            </a:r>
          </a:p>
          <a:p>
            <a:pPr marL="0" indent="0">
              <a:buFont typeface="+mj-lt"/>
              <a:buNone/>
            </a:pPr>
            <a:r>
              <a:rPr lang="en-GB" baseline="0" dirty="0" smtClean="0">
                <a:latin typeface="Arial"/>
                <a:cs typeface="Arial"/>
              </a:rPr>
              <a:t>Within PAC, we endeavour to ensure that training prior to the launch of an MLA covers CBs as well as ABs, </a:t>
            </a:r>
          </a:p>
          <a:p>
            <a:pPr marL="0" indent="0">
              <a:buFont typeface="+mj-lt"/>
              <a:buNone/>
            </a:pPr>
            <a:r>
              <a:rPr lang="en-GB" baseline="0" dirty="0" smtClean="0">
                <a:latin typeface="Arial"/>
                <a:cs typeface="Arial"/>
              </a:rPr>
              <a:t>and where possible ensure that financial assistance is available to developing economy members of PAC and APEC, to attend the training. </a:t>
            </a:r>
          </a:p>
          <a:p>
            <a:pPr marL="0" indent="0">
              <a:buFont typeface="+mj-lt"/>
              <a:buNone/>
            </a:pPr>
            <a:endParaRPr lang="en-GB" baseline="0" dirty="0" smtClean="0">
              <a:latin typeface="Arial"/>
              <a:cs typeface="Arial"/>
            </a:endParaRPr>
          </a:p>
          <a:p>
            <a:pPr marL="0" indent="0">
              <a:buFont typeface="+mj-lt"/>
              <a:buNone/>
            </a:pPr>
            <a:r>
              <a:rPr lang="en-GB" baseline="0" dirty="0" smtClean="0">
                <a:latin typeface="Arial"/>
                <a:cs typeface="Arial"/>
              </a:rPr>
              <a:t>For example, AB and CB staff from 8 PAC member economies including Indonesia, Philippines, Mexico and Peru have benefitted from this funding for several of our recent courses, most notably the FSMS and GHG courses.</a:t>
            </a:r>
          </a:p>
          <a:p>
            <a:pPr marL="0" indent="0">
              <a:buFont typeface="+mj-lt"/>
              <a:buNone/>
            </a:pPr>
            <a:endParaRPr lang="en-GB" baseline="0" dirty="0" smtClean="0">
              <a:latin typeface="Arial"/>
              <a:cs typeface="Arial"/>
            </a:endParaRPr>
          </a:p>
          <a:p>
            <a:pPr marL="0" indent="0">
              <a:buFont typeface="+mj-lt"/>
              <a:buNone/>
            </a:pPr>
            <a:r>
              <a:rPr lang="en-GB" baseline="0" dirty="0" smtClean="0">
                <a:latin typeface="Arial"/>
                <a:cs typeface="Arial"/>
              </a:rPr>
              <a:t>This work doesn’t stop when the MLA is launched, with additional training held in conjunction with the PAC annual meetings, and also at other venues throughout our membership based upon demand.</a:t>
            </a:r>
            <a:endParaRPr lang="en-GB" dirty="0" smtClean="0">
              <a:latin typeface="Arial"/>
              <a:cs typeface="Arial"/>
            </a:endParaRPr>
          </a:p>
        </p:txBody>
      </p:sp>
      <p:sp>
        <p:nvSpPr>
          <p:cNvPr id="4" name="Slide Number Placeholder 3"/>
          <p:cNvSpPr>
            <a:spLocks noGrp="1"/>
          </p:cNvSpPr>
          <p:nvPr>
            <p:ph type="sldNum" sz="quarter" idx="10"/>
          </p:nvPr>
        </p:nvSpPr>
        <p:spPr/>
        <p:txBody>
          <a:bodyPr/>
          <a:lstStyle/>
          <a:p>
            <a:pPr>
              <a:defRPr/>
            </a:pPr>
            <a:fld id="{D7F25309-0CA9-44D8-B0A4-2A58E14A5EB9}" type="slidenum">
              <a:rPr lang="en-AU" smtClean="0"/>
              <a:pPr>
                <a:defRPr/>
              </a:pPr>
              <a:t>10</a:t>
            </a:fld>
            <a:endParaRPr lang="en-AU"/>
          </a:p>
        </p:txBody>
      </p:sp>
    </p:spTree>
    <p:extLst>
      <p:ext uri="{BB962C8B-B14F-4D97-AF65-F5344CB8AC3E}">
        <p14:creationId xmlns:p14="http://schemas.microsoft.com/office/powerpoint/2010/main" xmlns="" val="32015373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en-GB" dirty="0" smtClean="0"/>
              <a:t>Now this is a slightly different topics.</a:t>
            </a:r>
          </a:p>
          <a:p>
            <a:r>
              <a:rPr lang="en-GB" dirty="0" smtClean="0"/>
              <a:t>Last December ISO just released the results of its 2011 survey of accredited certification to ISO management system standards.</a:t>
            </a:r>
          </a:p>
          <a:p>
            <a:endParaRPr lang="en-GB" dirty="0" smtClean="0"/>
          </a:p>
          <a:p>
            <a:r>
              <a:rPr lang="en-GB" dirty="0" smtClean="0"/>
              <a:t>This chart shows regional shares in 2011 for issued certificate of main</a:t>
            </a:r>
            <a:r>
              <a:rPr lang="en-GB" baseline="0" dirty="0" smtClean="0"/>
              <a:t> management system standards.</a:t>
            </a:r>
          </a:p>
          <a:p>
            <a:r>
              <a:rPr lang="en-GB" baseline="0" dirty="0" smtClean="0"/>
              <a:t>Green: East Asia and Pacific</a:t>
            </a:r>
          </a:p>
          <a:p>
            <a:r>
              <a:rPr lang="en-GB" baseline="0" dirty="0" smtClean="0"/>
              <a:t>Red: Central and south Asia (Kazakhstan and India, Sri Lanka)</a:t>
            </a:r>
          </a:p>
          <a:p>
            <a:r>
              <a:rPr lang="en-GB" baseline="0" dirty="0" smtClean="0"/>
              <a:t>Orange: North America</a:t>
            </a:r>
          </a:p>
          <a:p>
            <a:r>
              <a:rPr lang="en-GB" baseline="0" dirty="0" smtClean="0"/>
              <a:t>Dark blue: Central/South America   Some of both region are PAC members as well.</a:t>
            </a:r>
          </a:p>
          <a:p>
            <a:endParaRPr lang="en-GB" baseline="0" dirty="0" smtClean="0"/>
          </a:p>
          <a:p>
            <a:r>
              <a:rPr lang="en-GB" baseline="0" dirty="0" smtClean="0"/>
              <a:t>So we can say that PAC is in a dominant position in QMS, EMS FSMS and ISMS, and </a:t>
            </a:r>
          </a:p>
          <a:p>
            <a:r>
              <a:rPr lang="en-GB" baseline="0" dirty="0" smtClean="0"/>
              <a:t>Europe has a big share in MDMS, and </a:t>
            </a:r>
            <a:r>
              <a:rPr lang="en-GB" baseline="0" dirty="0" err="1" smtClean="0"/>
              <a:t>EnMS</a:t>
            </a:r>
            <a:r>
              <a:rPr lang="en-GB" baseline="0" dirty="0" smtClean="0"/>
              <a:t>, Nr. of certificate of En MS is still small.</a:t>
            </a:r>
          </a:p>
          <a:p>
            <a:endParaRPr lang="en-GB" baseline="0" dirty="0" smtClean="0"/>
          </a:p>
          <a:p>
            <a:endParaRPr lang="en-GB" baseline="0" dirty="0" smtClean="0"/>
          </a:p>
          <a:p>
            <a:endParaRPr lang="en-GB" dirty="0"/>
          </a:p>
        </p:txBody>
      </p:sp>
      <p:sp>
        <p:nvSpPr>
          <p:cNvPr id="4" name="スライド番号プレースホルダー 3"/>
          <p:cNvSpPr>
            <a:spLocks noGrp="1"/>
          </p:cNvSpPr>
          <p:nvPr>
            <p:ph type="sldNum" sz="quarter" idx="10"/>
          </p:nvPr>
        </p:nvSpPr>
        <p:spPr/>
        <p:txBody>
          <a:bodyPr/>
          <a:lstStyle/>
          <a:p>
            <a:pPr>
              <a:defRPr/>
            </a:pPr>
            <a:fld id="{D7F25309-0CA9-44D8-B0A4-2A58E14A5EB9}" type="slidenum">
              <a:rPr lang="en-AU" smtClean="0"/>
              <a:pPr>
                <a:defRPr/>
              </a:pPr>
              <a:t>11</a:t>
            </a:fld>
            <a:endParaRPr lang="en-AU" dirty="0"/>
          </a:p>
        </p:txBody>
      </p:sp>
    </p:spTree>
    <p:extLst>
      <p:ext uri="{BB962C8B-B14F-4D97-AF65-F5344CB8AC3E}">
        <p14:creationId xmlns:p14="http://schemas.microsoft.com/office/powerpoint/2010/main" xmlns="" val="20925288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en-GB" dirty="0" smtClean="0"/>
              <a:t>This shows</a:t>
            </a:r>
            <a:r>
              <a:rPr lang="en-GB" baseline="0" dirty="0" smtClean="0"/>
              <a:t> the trends of regional share in QMS certificate.</a:t>
            </a:r>
          </a:p>
          <a:p>
            <a:r>
              <a:rPr lang="en-GB" baseline="0" dirty="0" smtClean="0"/>
              <a:t>As you see, East Asia &amp; Pacific share is growing rapidly.</a:t>
            </a:r>
          </a:p>
          <a:p>
            <a:r>
              <a:rPr lang="en-GB" baseline="0" dirty="0" smtClean="0"/>
              <a:t>This growth is not seen in these 10 years, </a:t>
            </a:r>
          </a:p>
          <a:p>
            <a:r>
              <a:rPr lang="en-GB" baseline="0" dirty="0" smtClean="0"/>
              <a:t>but if we go back to year 1993 when the first survey was conducted, Europe share was 81.1% and East Asia &amp; Pacific was only 10.2%.</a:t>
            </a:r>
          </a:p>
          <a:p>
            <a:endParaRPr lang="en-GB" baseline="0" dirty="0" smtClean="0"/>
          </a:p>
          <a:p>
            <a:r>
              <a:rPr lang="en-GB" dirty="0" smtClean="0"/>
              <a:t>Sometimes</a:t>
            </a:r>
            <a:r>
              <a:rPr lang="en-GB" baseline="0" dirty="0" smtClean="0"/>
              <a:t> it is said that t</a:t>
            </a:r>
            <a:r>
              <a:rPr lang="en-GB" dirty="0" smtClean="0"/>
              <a:t>he</a:t>
            </a:r>
            <a:r>
              <a:rPr lang="en-GB" baseline="0" dirty="0" smtClean="0"/>
              <a:t> origin of conformity assessment scheme for management system is Europe, </a:t>
            </a:r>
          </a:p>
          <a:p>
            <a:r>
              <a:rPr lang="en-GB" baseline="0" dirty="0" smtClean="0"/>
              <a:t>It may be correct, however, utilisation of the scheme for management system has </a:t>
            </a:r>
            <a:r>
              <a:rPr lang="en-GB" baseline="0" smtClean="0"/>
              <a:t>been now widely </a:t>
            </a:r>
            <a:r>
              <a:rPr lang="en-US" baseline="0" dirty="0" smtClean="0"/>
              <a:t>spread and very popular in APEC and Pacific region.</a:t>
            </a:r>
            <a:endParaRPr lang="en-GB" dirty="0"/>
          </a:p>
        </p:txBody>
      </p:sp>
      <p:sp>
        <p:nvSpPr>
          <p:cNvPr id="4" name="スライド番号プレースホルダー 3"/>
          <p:cNvSpPr>
            <a:spLocks noGrp="1"/>
          </p:cNvSpPr>
          <p:nvPr>
            <p:ph type="sldNum" sz="quarter" idx="10"/>
          </p:nvPr>
        </p:nvSpPr>
        <p:spPr/>
        <p:txBody>
          <a:bodyPr/>
          <a:lstStyle/>
          <a:p>
            <a:pPr>
              <a:defRPr/>
            </a:pPr>
            <a:fld id="{D7F25309-0CA9-44D8-B0A4-2A58E14A5EB9}" type="slidenum">
              <a:rPr lang="en-AU" smtClean="0"/>
              <a:pPr>
                <a:defRPr/>
              </a:pPr>
              <a:t>12</a:t>
            </a:fld>
            <a:endParaRPr lang="en-AU"/>
          </a:p>
        </p:txBody>
      </p:sp>
    </p:spTree>
    <p:extLst>
      <p:ext uri="{BB962C8B-B14F-4D97-AF65-F5344CB8AC3E}">
        <p14:creationId xmlns:p14="http://schemas.microsoft.com/office/powerpoint/2010/main" xmlns="" val="29094040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en-GB" dirty="0" smtClean="0"/>
              <a:t>Food safety issues are one of</a:t>
            </a:r>
            <a:r>
              <a:rPr lang="en-GB" baseline="0" dirty="0" smtClean="0"/>
              <a:t> the </a:t>
            </a:r>
            <a:r>
              <a:rPr lang="en-US" baseline="0" dirty="0" smtClean="0"/>
              <a:t>deepest concerns in every economy.</a:t>
            </a:r>
          </a:p>
          <a:p>
            <a:r>
              <a:rPr lang="en-US" baseline="0" dirty="0" smtClean="0"/>
              <a:t>Again PAC region is now a main player in the conformity assessment for FSMS.</a:t>
            </a:r>
          </a:p>
          <a:p>
            <a:endParaRPr lang="en-US" baseline="0" dirty="0" smtClean="0"/>
          </a:p>
          <a:p>
            <a:r>
              <a:rPr lang="en-GB" dirty="0" smtClean="0"/>
              <a:t>Having these circumstances,</a:t>
            </a:r>
            <a:r>
              <a:rPr lang="en-GB" baseline="0" dirty="0" smtClean="0"/>
              <a:t> PAC member economies are necessary to endorse the confidence in FSMS certification.</a:t>
            </a:r>
            <a:endParaRPr lang="en-GB" dirty="0"/>
          </a:p>
        </p:txBody>
      </p:sp>
      <p:sp>
        <p:nvSpPr>
          <p:cNvPr id="4" name="スライド番号プレースホルダー 3"/>
          <p:cNvSpPr>
            <a:spLocks noGrp="1"/>
          </p:cNvSpPr>
          <p:nvPr>
            <p:ph type="sldNum" sz="quarter" idx="10"/>
          </p:nvPr>
        </p:nvSpPr>
        <p:spPr/>
        <p:txBody>
          <a:bodyPr/>
          <a:lstStyle/>
          <a:p>
            <a:pPr>
              <a:defRPr/>
            </a:pPr>
            <a:fld id="{D7F25309-0CA9-44D8-B0A4-2A58E14A5EB9}" type="slidenum">
              <a:rPr lang="en-AU" smtClean="0"/>
              <a:pPr>
                <a:defRPr/>
              </a:pPr>
              <a:t>13</a:t>
            </a:fld>
            <a:endParaRPr lang="en-AU" dirty="0"/>
          </a:p>
        </p:txBody>
      </p:sp>
    </p:spTree>
    <p:extLst>
      <p:ext uri="{BB962C8B-B14F-4D97-AF65-F5344CB8AC3E}">
        <p14:creationId xmlns:p14="http://schemas.microsoft.com/office/powerpoint/2010/main" xmlns="" val="25649924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Reviewing the past three years performance of</a:t>
            </a:r>
            <a:r>
              <a:rPr lang="en-AU" baseline="0" dirty="0" smtClean="0"/>
              <a:t> PAC activities and</a:t>
            </a:r>
            <a:r>
              <a:rPr lang="en-US" baseline="0" dirty="0" smtClean="0"/>
              <a:t> circumstances surrounding us, t</a:t>
            </a:r>
            <a:r>
              <a:rPr lang="en-AU" dirty="0" smtClean="0"/>
              <a:t>he PAC Executive Committee and PAC MLA Management Committee jointly</a:t>
            </a:r>
            <a:r>
              <a:rPr lang="en-AU" baseline="0" dirty="0" smtClean="0"/>
              <a:t> </a:t>
            </a:r>
            <a:r>
              <a:rPr lang="en-AU" dirty="0" smtClean="0"/>
              <a:t>developed the 2013 – 2015 Strategic plan</a:t>
            </a:r>
            <a:r>
              <a:rPr lang="en-AU" baseline="0" dirty="0" smtClean="0"/>
              <a:t> with input from all the PAC standing committees, being the MLA Group, Technical Committee, Developing Programs Committee and Communications &amp; Marketing Committee.</a:t>
            </a:r>
          </a:p>
          <a:p>
            <a:endParaRPr lang="en-AU" baseline="0" dirty="0" smtClean="0"/>
          </a:p>
          <a:p>
            <a:r>
              <a:rPr lang="en-AU" baseline="0" dirty="0" smtClean="0"/>
              <a:t>The next four slides outline the four goals of the strategic Plan, but I will not go in the detail here.</a:t>
            </a:r>
          </a:p>
          <a:p>
            <a:r>
              <a:rPr lang="en-AU" baseline="0" dirty="0" smtClean="0"/>
              <a:t>But the bottom line of the strategic plan is</a:t>
            </a:r>
          </a:p>
          <a:p>
            <a:r>
              <a:rPr lang="en-AU" dirty="0" smtClean="0"/>
              <a:t>To achieve the acceptance of PAC MLA</a:t>
            </a:r>
          </a:p>
          <a:p>
            <a:r>
              <a:rPr lang="en-AU" dirty="0" smtClean="0"/>
              <a:t>Firstly</a:t>
            </a:r>
            <a:r>
              <a:rPr lang="en-AU" baseline="0" dirty="0" smtClean="0"/>
              <a:t> to make ourselves more structurally toughened</a:t>
            </a:r>
          </a:p>
          <a:p>
            <a:r>
              <a:rPr lang="en-AU" baseline="0" dirty="0" smtClean="0"/>
              <a:t>Secondly to enhance technical competence, especially Peer evaluators who are the key for PAC MLA activities</a:t>
            </a:r>
          </a:p>
          <a:p>
            <a:r>
              <a:rPr lang="en-AU" baseline="0" dirty="0" smtClean="0"/>
              <a:t>Thirdly to strengthen PAC identity with especially close cooperation with SRBs.</a:t>
            </a:r>
          </a:p>
          <a:p>
            <a:r>
              <a:rPr lang="en-AU" baseline="0" dirty="0" smtClean="0"/>
              <a:t>Finally to achieve the acceptance of PAC MLA</a:t>
            </a:r>
          </a:p>
          <a:p>
            <a:endParaRPr lang="en-AU" dirty="0"/>
          </a:p>
        </p:txBody>
      </p:sp>
      <p:sp>
        <p:nvSpPr>
          <p:cNvPr id="4" name="Slide Number Placeholder 3"/>
          <p:cNvSpPr>
            <a:spLocks noGrp="1"/>
          </p:cNvSpPr>
          <p:nvPr>
            <p:ph type="sldNum" sz="quarter" idx="10"/>
          </p:nvPr>
        </p:nvSpPr>
        <p:spPr/>
        <p:txBody>
          <a:bodyPr/>
          <a:lstStyle/>
          <a:p>
            <a:pPr>
              <a:defRPr/>
            </a:pPr>
            <a:fld id="{D7F25309-0CA9-44D8-B0A4-2A58E14A5EB9}" type="slidenum">
              <a:rPr lang="en-AU" smtClean="0"/>
              <a:pPr>
                <a:defRPr/>
              </a:pPr>
              <a:t>14</a:t>
            </a:fld>
            <a:endParaRPr lang="en-AU" dirty="0"/>
          </a:p>
        </p:txBody>
      </p:sp>
    </p:spTree>
    <p:extLst>
      <p:ext uri="{BB962C8B-B14F-4D97-AF65-F5344CB8AC3E}">
        <p14:creationId xmlns:p14="http://schemas.microsoft.com/office/powerpoint/2010/main" xmlns="" val="40892473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a:defRPr/>
            </a:pPr>
            <a:fld id="{D7F25309-0CA9-44D8-B0A4-2A58E14A5EB9}" type="slidenum">
              <a:rPr lang="en-AU" smtClean="0"/>
              <a:pPr>
                <a:defRPr/>
              </a:pPr>
              <a:t>16</a:t>
            </a:fld>
            <a:endParaRPr lang="en-AU"/>
          </a:p>
        </p:txBody>
      </p:sp>
    </p:spTree>
    <p:extLst>
      <p:ext uri="{BB962C8B-B14F-4D97-AF65-F5344CB8AC3E}">
        <p14:creationId xmlns:p14="http://schemas.microsoft.com/office/powerpoint/2010/main" xmlns="" val="16487077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en-GB" dirty="0" smtClean="0"/>
              <a:t>Now as I mentioned this Strategic Plan</a:t>
            </a:r>
            <a:r>
              <a:rPr lang="en-GB" baseline="0" dirty="0" smtClean="0"/>
              <a:t> is under ballot</a:t>
            </a:r>
            <a:r>
              <a:rPr lang="en-GB" baseline="0" smtClean="0"/>
              <a:t>, </a:t>
            </a:r>
            <a:endParaRPr lang="en-GB" dirty="0"/>
          </a:p>
        </p:txBody>
      </p:sp>
      <p:sp>
        <p:nvSpPr>
          <p:cNvPr id="4" name="スライド番号プレースホルダー 3"/>
          <p:cNvSpPr>
            <a:spLocks noGrp="1"/>
          </p:cNvSpPr>
          <p:nvPr>
            <p:ph type="sldNum" sz="quarter" idx="10"/>
          </p:nvPr>
        </p:nvSpPr>
        <p:spPr/>
        <p:txBody>
          <a:bodyPr/>
          <a:lstStyle/>
          <a:p>
            <a:pPr>
              <a:defRPr/>
            </a:pPr>
            <a:fld id="{D7F25309-0CA9-44D8-B0A4-2A58E14A5EB9}" type="slidenum">
              <a:rPr lang="en-AU" smtClean="0"/>
              <a:pPr>
                <a:defRPr/>
              </a:pPr>
              <a:t>18</a:t>
            </a:fld>
            <a:endParaRPr lang="en-AU"/>
          </a:p>
        </p:txBody>
      </p:sp>
    </p:spTree>
    <p:extLst>
      <p:ext uri="{BB962C8B-B14F-4D97-AF65-F5344CB8AC3E}">
        <p14:creationId xmlns:p14="http://schemas.microsoft.com/office/powerpoint/2010/main" xmlns="" val="40773853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7073" name="Rectangle 7"/>
          <p:cNvSpPr txBox="1">
            <a:spLocks noGrp="1" noChangeArrowheads="1"/>
          </p:cNvSpPr>
          <p:nvPr/>
        </p:nvSpPr>
        <p:spPr bwMode="auto">
          <a:xfrm>
            <a:off x="3817938" y="9374188"/>
            <a:ext cx="2917825" cy="492125"/>
          </a:xfrm>
          <a:prstGeom prst="rect">
            <a:avLst/>
          </a:prstGeom>
          <a:noFill/>
          <a:ln w="9525">
            <a:noFill/>
            <a:miter lim="800000"/>
            <a:headEnd/>
            <a:tailEnd/>
          </a:ln>
        </p:spPr>
        <p:txBody>
          <a:bodyPr lIns="19088" tIns="0" rIns="19088" bIns="0" anchor="b"/>
          <a:lstStyle/>
          <a:p>
            <a:pPr algn="r" defTabSz="915988" eaLnBrk="0" hangingPunct="0"/>
            <a:fld id="{B16AF293-3E7B-4756-8CCB-E9A952A388CA}" type="slidenum">
              <a:rPr kumimoji="0" lang="en-US" altLang="zh-CN" sz="1000" i="1">
                <a:solidFill>
                  <a:schemeClr val="tx1"/>
                </a:solidFill>
                <a:latin typeface="Times New Roman" pitchFamily="18" charset="0"/>
                <a:ea typeface="SimSun" pitchFamily="2" charset="-122"/>
              </a:rPr>
              <a:pPr algn="r" defTabSz="915988" eaLnBrk="0" hangingPunct="0"/>
              <a:t>2</a:t>
            </a:fld>
            <a:endParaRPr kumimoji="0" lang="en-US" altLang="zh-CN" sz="1000" i="1" dirty="0">
              <a:solidFill>
                <a:schemeClr val="tx1"/>
              </a:solidFill>
              <a:latin typeface="Times New Roman" pitchFamily="18" charset="0"/>
              <a:ea typeface="SimSun" pitchFamily="2" charset="-122"/>
            </a:endParaRPr>
          </a:p>
        </p:txBody>
      </p:sp>
      <p:sp>
        <p:nvSpPr>
          <p:cNvPr id="387074" name="Rectangle 6"/>
          <p:cNvSpPr txBox="1">
            <a:spLocks noGrp="1" noChangeArrowheads="1"/>
          </p:cNvSpPr>
          <p:nvPr/>
        </p:nvSpPr>
        <p:spPr bwMode="auto">
          <a:xfrm>
            <a:off x="0" y="9374188"/>
            <a:ext cx="2917825" cy="492125"/>
          </a:xfrm>
          <a:prstGeom prst="rect">
            <a:avLst/>
          </a:prstGeom>
          <a:noFill/>
          <a:ln w="9525">
            <a:noFill/>
            <a:miter lim="800000"/>
            <a:headEnd/>
            <a:tailEnd/>
          </a:ln>
        </p:spPr>
        <p:txBody>
          <a:bodyPr lIns="19088" tIns="0" rIns="19088" bIns="0" anchor="b"/>
          <a:lstStyle/>
          <a:p>
            <a:pPr defTabSz="915988" eaLnBrk="0" hangingPunct="0"/>
            <a:r>
              <a:rPr kumimoji="0" lang="en-US" altLang="zh-TW" sz="1000" i="1" dirty="0">
                <a:solidFill>
                  <a:schemeClr val="tx1"/>
                </a:solidFill>
                <a:latin typeface="Times New Roman" pitchFamily="18" charset="0"/>
                <a:ea typeface="PMingLiU" pitchFamily="18" charset="-120"/>
              </a:rPr>
              <a:t>123456</a:t>
            </a:r>
            <a:endParaRPr kumimoji="0" lang="zh-TW" altLang="en-US" sz="1000" i="1">
              <a:solidFill>
                <a:schemeClr val="tx1"/>
              </a:solidFill>
              <a:latin typeface="Times New Roman" pitchFamily="18" charset="0"/>
              <a:ea typeface="PMingLiU" pitchFamily="18" charset="-120"/>
            </a:endParaRPr>
          </a:p>
        </p:txBody>
      </p:sp>
      <p:sp>
        <p:nvSpPr>
          <p:cNvPr id="387075" name="Rectangle 2"/>
          <p:cNvSpPr>
            <a:spLocks noGrp="1" noRot="1" noChangeAspect="1" noChangeArrowheads="1" noTextEdit="1"/>
          </p:cNvSpPr>
          <p:nvPr>
            <p:ph type="sldImg"/>
          </p:nvPr>
        </p:nvSpPr>
        <p:spPr bwMode="auto">
          <a:xfrm>
            <a:off x="915988" y="750888"/>
            <a:ext cx="4908550" cy="3681412"/>
          </a:xfrm>
          <a:noFill/>
          <a:ln>
            <a:solidFill>
              <a:srgbClr val="000000"/>
            </a:solidFill>
            <a:miter lim="800000"/>
            <a:headEnd/>
            <a:tailEnd/>
          </a:ln>
        </p:spPr>
      </p:sp>
      <p:sp>
        <p:nvSpPr>
          <p:cNvPr id="387076" name="Rectangle 3"/>
          <p:cNvSpPr>
            <a:spLocks noGrp="1" noChangeArrowheads="1"/>
          </p:cNvSpPr>
          <p:nvPr>
            <p:ph type="body" idx="1"/>
          </p:nvPr>
        </p:nvSpPr>
        <p:spPr bwMode="auto">
          <a:xfrm>
            <a:off x="898525" y="4687888"/>
            <a:ext cx="4938713" cy="4437062"/>
          </a:xfrm>
          <a:noFill/>
        </p:spPr>
        <p:txBody>
          <a:bodyPr wrap="square" lIns="92259" tIns="46130" rIns="92259" bIns="46130" numCol="1" anchor="t" anchorCtr="0" compatLnSpc="1">
            <a:prstTxWarp prst="textNoShape">
              <a:avLst/>
            </a:prstTxWarp>
          </a:bodyPr>
          <a:lstStyle/>
          <a:p>
            <a:r>
              <a:rPr lang="en-AU" altLang="ja-JP" sz="1400" baseline="0" dirty="0" smtClean="0"/>
              <a:t>PAC concentrates solely on accreditation of certification bodies, </a:t>
            </a:r>
          </a:p>
          <a:p>
            <a:r>
              <a:rPr lang="en-AU" altLang="ja-JP" sz="1400" baseline="0" dirty="0" smtClean="0"/>
              <a:t>leaving the work of laboratory accreditation, proficiency testing, Inspection body accreditation in our region  to our sister organisation Asia Pacific Laboratory Accreditation Cooperation (APLAC). </a:t>
            </a:r>
          </a:p>
          <a:p>
            <a:endParaRPr lang="en-AU" altLang="ja-JP" sz="1400" baseline="0" dirty="0" smtClean="0"/>
          </a:p>
          <a:p>
            <a:r>
              <a:rPr lang="en-AU" altLang="zh-TW" sz="1400" baseline="0" dirty="0" smtClean="0"/>
              <a:t>PAC, is one of the five specialist regional bodies of the APEC, which is already mentioned by </a:t>
            </a:r>
            <a:r>
              <a:rPr lang="en-AU" altLang="zh-TW" sz="1400" baseline="0" dirty="0" err="1" smtClean="0"/>
              <a:t>Mr.</a:t>
            </a:r>
            <a:r>
              <a:rPr lang="en-AU" altLang="zh-TW" sz="1400" baseline="0" dirty="0" smtClean="0"/>
              <a:t> Blair.</a:t>
            </a:r>
          </a:p>
          <a:p>
            <a:r>
              <a:rPr lang="en-AU" altLang="zh-TW" sz="1400" baseline="0" dirty="0" smtClean="0"/>
              <a:t>The other 4 SRBs are APLAC, PASC (Pacific Area Standards Congress), APLM (Asia Pacific Legal Metrology Forum) and APMP (Asia Pacific Metrology Program). Together the 5 SRBs form the foundation for all standards and conformance activities in APEC member economies.</a:t>
            </a:r>
            <a:endParaRPr lang="en-US" altLang="zh-TW" sz="1400"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7"/>
          <p:cNvSpPr>
            <a:spLocks noGrp="1" noChangeArrowheads="1"/>
          </p:cNvSpPr>
          <p:nvPr>
            <p:ph type="sldNum" sz="quarter" idx="5"/>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07755FFC-0355-4903-922A-453F93B7CBD2}" type="slidenum">
              <a:rPr lang="de-DE" smtClean="0"/>
              <a:pPr eaLnBrk="1" hangingPunct="1"/>
              <a:t>3</a:t>
            </a:fld>
            <a:endParaRPr lang="de-DE" smtClean="0"/>
          </a:p>
        </p:txBody>
      </p:sp>
      <p:sp>
        <p:nvSpPr>
          <p:cNvPr id="4099" name="Rectangle 2"/>
          <p:cNvSpPr>
            <a:spLocks noGrp="1" noRot="1" noChangeAspect="1" noChangeArrowheads="1" noTextEdit="1"/>
          </p:cNvSpPr>
          <p:nvPr>
            <p:ph type="sldImg"/>
          </p:nvPr>
        </p:nvSpPr>
        <p:spPr>
          <a:ln/>
        </p:spPr>
      </p:sp>
      <p:sp>
        <p:nvSpPr>
          <p:cNvPr id="4100" name="Rectangle 3"/>
          <p:cNvSpPr>
            <a:spLocks noGrp="1" noChangeArrowheads="1"/>
          </p:cNvSpPr>
          <p:nvPr>
            <p:ph type="body" idx="1"/>
          </p:nvPr>
        </p:nvSpPr>
        <p:spPr>
          <a:noFill/>
        </p:spPr>
        <p:txBody>
          <a:bodyPr/>
          <a:lstStyle/>
          <a:p>
            <a:pPr eaLnBrk="1" hangingPunct="1"/>
            <a:r>
              <a:rPr lang="en-US" dirty="0" smtClean="0"/>
              <a:t>When</a:t>
            </a:r>
            <a:r>
              <a:rPr lang="en-US" baseline="0" dirty="0" smtClean="0"/>
              <a:t> PAC was established in 1995, full membership was only available to accreditation bodies from APEC member economies.</a:t>
            </a:r>
          </a:p>
          <a:p>
            <a:pPr eaLnBrk="1" hangingPunct="1"/>
            <a:r>
              <a:rPr lang="en-US" baseline="0" dirty="0" smtClean="0"/>
              <a:t>Recognizing that this membership structure excluded some major Asian economies such as India, PAC amended its membership rules around 10 years ago, to encompass ALL Asian economies, as well the Pacific rim members of APEC.  </a:t>
            </a:r>
          </a:p>
          <a:p>
            <a:pPr eaLnBrk="1" hangingPunct="1"/>
            <a:endParaRPr lang="en-US" baseline="0" dirty="0" smtClean="0"/>
          </a:p>
          <a:p>
            <a:pPr eaLnBrk="1" hangingPunct="1"/>
            <a:r>
              <a:rPr lang="en-US" baseline="0" dirty="0" smtClean="0"/>
              <a:t>PAC members now represent 2/3 of the world’s population. </a:t>
            </a:r>
          </a:p>
          <a:p>
            <a:pPr eaLnBrk="1" hangingPunct="1"/>
            <a:r>
              <a:rPr lang="en-AU" altLang="ja-JP" dirty="0" smtClean="0"/>
              <a:t>PAC has 37 members covering</a:t>
            </a:r>
            <a:r>
              <a:rPr lang="en-AU" altLang="ja-JP" baseline="0" dirty="0" smtClean="0"/>
              <a:t> 29 economies, two CB associations, and one individual CB (TCL) in India, which represent the interests of certification bodies. </a:t>
            </a:r>
          </a:p>
          <a:p>
            <a:pPr eaLnBrk="1" hangingPunct="1"/>
            <a:endParaRPr lang="en-AU" altLang="ja-JP" baseline="0" dirty="0" smtClean="0"/>
          </a:p>
          <a:p>
            <a:pPr eaLnBrk="1" hangingPunct="1"/>
            <a:r>
              <a:rPr lang="en-US" dirty="0" smtClean="0"/>
              <a:t>The areas </a:t>
            </a:r>
            <a:r>
              <a:rPr lang="en-US" baseline="0" dirty="0" smtClean="0"/>
              <a:t>in red on this world map show the current membership distribution of PAC.  </a:t>
            </a:r>
          </a:p>
          <a:p>
            <a:pPr eaLnBrk="1" hangingPunct="1"/>
            <a:r>
              <a:rPr lang="en-US" baseline="0" dirty="0" smtClean="0"/>
              <a:t>Those in blue represent areas where PAC is currently actively promoting our activities to attract possible new members. </a:t>
            </a:r>
            <a:endParaRPr lang="en-US"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PAC has continued to respond to the demands</a:t>
            </a:r>
            <a:r>
              <a:rPr lang="en-US" sz="1200" kern="1200" baseline="0" dirty="0" smtClean="0">
                <a:solidFill>
                  <a:schemeClr val="tx1"/>
                </a:solidFill>
                <a:effectLst/>
                <a:latin typeface="+mn-lt"/>
                <a:ea typeface="+mn-ea"/>
                <a:cs typeface="+mn-cs"/>
              </a:rPr>
              <a:t> of the accreditation and certification community, and as such has developed criteria for two new membership categories, targeting the following sectors: </a:t>
            </a:r>
          </a:p>
          <a:p>
            <a:r>
              <a:rPr lang="en-US" sz="1200" kern="1200" dirty="0" smtClean="0">
                <a:solidFill>
                  <a:schemeClr val="tx1"/>
                </a:solidFill>
                <a:effectLst/>
                <a:latin typeface="+mn-lt"/>
                <a:ea typeface="+mn-ea"/>
                <a:cs typeface="+mn-cs"/>
              </a:rPr>
              <a:t>Conformity Assessment Bodies that are accredited or in the process of being accredited by PAC’s full members, </a:t>
            </a:r>
          </a:p>
          <a:p>
            <a:r>
              <a:rPr lang="en-US" sz="1200" kern="1200" dirty="0" smtClean="0">
                <a:solidFill>
                  <a:schemeClr val="tx1"/>
                </a:solidFill>
                <a:effectLst/>
                <a:latin typeface="+mn-lt"/>
                <a:ea typeface="+mn-ea"/>
                <a:cs typeface="+mn-cs"/>
              </a:rPr>
              <a:t>regulators, </a:t>
            </a:r>
          </a:p>
          <a:p>
            <a:r>
              <a:rPr lang="en-US" sz="1200" kern="1200" dirty="0" smtClean="0">
                <a:solidFill>
                  <a:schemeClr val="tx1"/>
                </a:solidFill>
                <a:effectLst/>
                <a:latin typeface="+mn-lt"/>
                <a:ea typeface="+mn-ea"/>
                <a:cs typeface="+mn-cs"/>
              </a:rPr>
              <a:t>industry and consumer groups,</a:t>
            </a:r>
          </a:p>
          <a:p>
            <a:r>
              <a:rPr lang="en-US" sz="1200" kern="1200" dirty="0" smtClean="0">
                <a:solidFill>
                  <a:schemeClr val="tx1"/>
                </a:solidFill>
                <a:effectLst/>
                <a:latin typeface="+mn-lt"/>
                <a:ea typeface="+mn-ea"/>
                <a:cs typeface="+mn-cs"/>
              </a:rPr>
              <a:t> business entities, or </a:t>
            </a:r>
          </a:p>
          <a:p>
            <a:r>
              <a:rPr lang="en-US" sz="1200" kern="1200" dirty="0" smtClean="0">
                <a:solidFill>
                  <a:schemeClr val="tx1"/>
                </a:solidFill>
                <a:effectLst/>
                <a:latin typeface="+mn-lt"/>
                <a:ea typeface="+mn-ea"/>
                <a:cs typeface="+mn-cs"/>
              </a:rPr>
              <a:t>other users of conformity assessment services in the region, </a:t>
            </a:r>
          </a:p>
          <a:p>
            <a:r>
              <a:rPr lang="en-US" sz="1200" kern="1200" dirty="0" smtClean="0">
                <a:solidFill>
                  <a:schemeClr val="tx1"/>
                </a:solidFill>
                <a:effectLst/>
                <a:latin typeface="+mn-lt"/>
                <a:ea typeface="+mn-ea"/>
                <a:cs typeface="+mn-cs"/>
              </a:rPr>
              <a:t>that support the objectives of PAC.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Further information</a:t>
            </a:r>
            <a:r>
              <a:rPr lang="en-US" sz="1200" kern="1200" baseline="0" dirty="0" smtClean="0">
                <a:solidFill>
                  <a:schemeClr val="tx1"/>
                </a:solidFill>
                <a:effectLst/>
                <a:latin typeface="+mn-lt"/>
                <a:ea typeface="+mn-ea"/>
                <a:cs typeface="+mn-cs"/>
              </a:rPr>
              <a:t> on these two new categories is available from the website or by contacting the PAC Secretariat.</a:t>
            </a:r>
            <a:endParaRPr lang="en-AU" dirty="0"/>
          </a:p>
        </p:txBody>
      </p:sp>
      <p:sp>
        <p:nvSpPr>
          <p:cNvPr id="4" name="Slide Number Placeholder 3"/>
          <p:cNvSpPr>
            <a:spLocks noGrp="1"/>
          </p:cNvSpPr>
          <p:nvPr>
            <p:ph type="sldNum" sz="quarter" idx="10"/>
          </p:nvPr>
        </p:nvSpPr>
        <p:spPr/>
        <p:txBody>
          <a:bodyPr/>
          <a:lstStyle/>
          <a:p>
            <a:fld id="{8B823ED3-2323-4485-901C-EE5BCFEB5BED}" type="slidenum">
              <a:rPr lang="en-AU" smtClean="0"/>
              <a:pPr/>
              <a:t>4</a:t>
            </a:fld>
            <a:endParaRPr lang="en-AU"/>
          </a:p>
        </p:txBody>
      </p:sp>
    </p:spTree>
    <p:extLst>
      <p:ext uri="{BB962C8B-B14F-4D97-AF65-F5344CB8AC3E}">
        <p14:creationId xmlns:p14="http://schemas.microsoft.com/office/powerpoint/2010/main" xmlns="" val="32494062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21" name="Rectangle 7"/>
          <p:cNvSpPr txBox="1">
            <a:spLocks noGrp="1" noChangeArrowheads="1"/>
          </p:cNvSpPr>
          <p:nvPr/>
        </p:nvSpPr>
        <p:spPr bwMode="auto">
          <a:xfrm>
            <a:off x="3817938" y="9374188"/>
            <a:ext cx="2917825" cy="492125"/>
          </a:xfrm>
          <a:prstGeom prst="rect">
            <a:avLst/>
          </a:prstGeom>
          <a:noFill/>
          <a:ln w="9525">
            <a:noFill/>
            <a:miter lim="800000"/>
            <a:headEnd/>
            <a:tailEnd/>
          </a:ln>
        </p:spPr>
        <p:txBody>
          <a:bodyPr lIns="19088" tIns="0" rIns="19088" bIns="0" anchor="b"/>
          <a:lstStyle/>
          <a:p>
            <a:pPr algn="r" defTabSz="915988" eaLnBrk="0" hangingPunct="0"/>
            <a:fld id="{6280A63A-5AD1-422A-ABF2-D9992A88DEA5}" type="slidenum">
              <a:rPr kumimoji="0" lang="en-US" altLang="zh-CN" sz="1000" i="1">
                <a:solidFill>
                  <a:schemeClr val="tx1"/>
                </a:solidFill>
                <a:latin typeface="Times New Roman" pitchFamily="18" charset="0"/>
                <a:ea typeface="SimSun" pitchFamily="2" charset="-122"/>
              </a:rPr>
              <a:pPr algn="r" defTabSz="915988" eaLnBrk="0" hangingPunct="0"/>
              <a:t>5</a:t>
            </a:fld>
            <a:endParaRPr kumimoji="0" lang="en-US" altLang="zh-CN" sz="1000" i="1">
              <a:solidFill>
                <a:schemeClr val="tx1"/>
              </a:solidFill>
              <a:latin typeface="Times New Roman" pitchFamily="18" charset="0"/>
              <a:ea typeface="SimSun" pitchFamily="2" charset="-122"/>
            </a:endParaRPr>
          </a:p>
        </p:txBody>
      </p:sp>
      <p:sp>
        <p:nvSpPr>
          <p:cNvPr id="389122" name="Rectangle 6"/>
          <p:cNvSpPr txBox="1">
            <a:spLocks noGrp="1" noChangeArrowheads="1"/>
          </p:cNvSpPr>
          <p:nvPr/>
        </p:nvSpPr>
        <p:spPr bwMode="auto">
          <a:xfrm>
            <a:off x="0" y="9374188"/>
            <a:ext cx="2917825" cy="492125"/>
          </a:xfrm>
          <a:prstGeom prst="rect">
            <a:avLst/>
          </a:prstGeom>
          <a:noFill/>
          <a:ln w="9525">
            <a:noFill/>
            <a:miter lim="800000"/>
            <a:headEnd/>
            <a:tailEnd/>
          </a:ln>
        </p:spPr>
        <p:txBody>
          <a:bodyPr lIns="19088" tIns="0" rIns="19088" bIns="0" anchor="b"/>
          <a:lstStyle/>
          <a:p>
            <a:pPr defTabSz="915988" eaLnBrk="0" hangingPunct="0"/>
            <a:r>
              <a:rPr kumimoji="0" lang="en-US" altLang="zh-TW" sz="1000" i="1">
                <a:solidFill>
                  <a:schemeClr val="tx1"/>
                </a:solidFill>
                <a:latin typeface="Times New Roman" pitchFamily="18" charset="0"/>
                <a:ea typeface="PMingLiU" pitchFamily="18" charset="-120"/>
              </a:rPr>
              <a:t>123456</a:t>
            </a:r>
            <a:endParaRPr kumimoji="0" lang="zh-TW" altLang="en-US" sz="1000" i="1">
              <a:solidFill>
                <a:schemeClr val="tx1"/>
              </a:solidFill>
              <a:latin typeface="Times New Roman" pitchFamily="18" charset="0"/>
              <a:ea typeface="PMingLiU" pitchFamily="18" charset="-120"/>
            </a:endParaRPr>
          </a:p>
        </p:txBody>
      </p:sp>
      <p:sp>
        <p:nvSpPr>
          <p:cNvPr id="389123" name="Rectangle 2"/>
          <p:cNvSpPr>
            <a:spLocks noGrp="1" noRot="1" noChangeAspect="1" noChangeArrowheads="1" noTextEdit="1"/>
          </p:cNvSpPr>
          <p:nvPr>
            <p:ph type="sldImg"/>
          </p:nvPr>
        </p:nvSpPr>
        <p:spPr bwMode="auto">
          <a:xfrm>
            <a:off x="915988" y="750888"/>
            <a:ext cx="4908550" cy="3681412"/>
          </a:xfrm>
          <a:noFill/>
          <a:ln>
            <a:solidFill>
              <a:srgbClr val="000000"/>
            </a:solidFill>
            <a:miter lim="800000"/>
            <a:headEnd/>
            <a:tailEnd/>
          </a:ln>
        </p:spPr>
      </p:sp>
      <p:sp>
        <p:nvSpPr>
          <p:cNvPr id="389124" name="Rectangle 3"/>
          <p:cNvSpPr>
            <a:spLocks noGrp="1" noChangeArrowheads="1"/>
          </p:cNvSpPr>
          <p:nvPr>
            <p:ph type="body" idx="1"/>
          </p:nvPr>
        </p:nvSpPr>
        <p:spPr bwMode="auto">
          <a:xfrm>
            <a:off x="898525" y="4687888"/>
            <a:ext cx="4938713" cy="4437062"/>
          </a:xfrm>
          <a:noFill/>
        </p:spPr>
        <p:txBody>
          <a:bodyPr wrap="square" lIns="92259" tIns="46130" rIns="92259" bIns="46130" numCol="1" anchor="t" anchorCtr="0" compatLnSpc="1">
            <a:prstTxWarp prst="textNoShape">
              <a:avLst/>
            </a:prstTxWarp>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AU" sz="1400" b="0" i="0" u="none" strike="noStrike" kern="1200" baseline="0" dirty="0" smtClean="0">
                <a:solidFill>
                  <a:schemeClr val="tx1"/>
                </a:solidFill>
                <a:latin typeface="+mn-lt"/>
                <a:ea typeface="+mn-ea"/>
                <a:cs typeface="+mn-cs"/>
              </a:rPr>
              <a:t>Our Objectives are</a:t>
            </a:r>
          </a:p>
          <a:p>
            <a:pPr marL="0" marR="0" indent="0" algn="l" defTabSz="914400" rtl="0" eaLnBrk="0" fontAlgn="base" latinLnBrk="0" hangingPunct="0">
              <a:lnSpc>
                <a:spcPct val="100000"/>
              </a:lnSpc>
              <a:spcBef>
                <a:spcPct val="30000"/>
              </a:spcBef>
              <a:spcAft>
                <a:spcPct val="0"/>
              </a:spcAft>
              <a:buClrTx/>
              <a:buSzTx/>
              <a:buFontTx/>
              <a:buNone/>
              <a:tabLst/>
              <a:defRPr/>
            </a:pPr>
            <a:r>
              <a:rPr lang="en-AU" sz="1400" b="0" i="0" u="none" strike="noStrike" kern="1200" baseline="0" dirty="0" smtClean="0">
                <a:solidFill>
                  <a:schemeClr val="tx1"/>
                </a:solidFill>
                <a:latin typeface="+mn-lt"/>
                <a:ea typeface="+mn-ea"/>
                <a:cs typeface="+mn-cs"/>
              </a:rPr>
              <a:t>To facilitate trade and commerce, and</a:t>
            </a:r>
          </a:p>
          <a:p>
            <a:pPr marL="0" marR="0" indent="0" algn="l" defTabSz="914400" rtl="0" eaLnBrk="0" fontAlgn="base" latinLnBrk="0" hangingPunct="0">
              <a:lnSpc>
                <a:spcPct val="100000"/>
              </a:lnSpc>
              <a:spcBef>
                <a:spcPct val="30000"/>
              </a:spcBef>
              <a:spcAft>
                <a:spcPct val="0"/>
              </a:spcAft>
              <a:buClrTx/>
              <a:buSzTx/>
              <a:buFontTx/>
              <a:buNone/>
              <a:tabLst/>
              <a:defRPr/>
            </a:pPr>
            <a:r>
              <a:rPr lang="en-AU" sz="1400" b="0" i="0" u="none" strike="noStrike" kern="1200" baseline="0" dirty="0" smtClean="0">
                <a:solidFill>
                  <a:schemeClr val="tx1"/>
                </a:solidFill>
                <a:latin typeface="+mn-lt"/>
                <a:ea typeface="+mn-ea"/>
                <a:cs typeface="+mn-cs"/>
              </a:rPr>
              <a:t>To create a global system in the field of conformity assessment</a:t>
            </a:r>
          </a:p>
          <a:p>
            <a:pPr marL="0" marR="0" indent="0" algn="l" defTabSz="914400" rtl="0" eaLnBrk="0" fontAlgn="base" latinLnBrk="0" hangingPunct="0">
              <a:lnSpc>
                <a:spcPct val="100000"/>
              </a:lnSpc>
              <a:spcBef>
                <a:spcPct val="30000"/>
              </a:spcBef>
              <a:spcAft>
                <a:spcPct val="0"/>
              </a:spcAft>
              <a:buClrTx/>
              <a:buSzTx/>
              <a:buFontTx/>
              <a:buNone/>
              <a:tabLst/>
              <a:defRPr/>
            </a:pPr>
            <a:endParaRPr lang="en-AU" sz="1400" b="0" i="0" u="none" strike="noStrike" kern="1200" baseline="0" dirty="0" smtClean="0">
              <a:solidFill>
                <a:schemeClr val="tx1"/>
              </a:solidFill>
              <a:latin typeface="+mn-lt"/>
              <a:ea typeface="+mn-ea"/>
              <a:cs typeface="+mn-cs"/>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AU" sz="1400" b="0" i="0" u="none" strike="noStrike" kern="1200" baseline="0" dirty="0" smtClean="0">
                <a:solidFill>
                  <a:schemeClr val="tx1"/>
                </a:solidFill>
                <a:latin typeface="+mn-lt"/>
                <a:ea typeface="+mn-ea"/>
                <a:cs typeface="+mn-cs"/>
              </a:rPr>
              <a:t>In order to achieve these objectives</a:t>
            </a:r>
          </a:p>
          <a:p>
            <a:pPr marL="0" marR="0" indent="0" algn="l" defTabSz="914400" rtl="0" eaLnBrk="0" fontAlgn="base" latinLnBrk="0" hangingPunct="0">
              <a:lnSpc>
                <a:spcPct val="100000"/>
              </a:lnSpc>
              <a:spcBef>
                <a:spcPct val="30000"/>
              </a:spcBef>
              <a:spcAft>
                <a:spcPct val="0"/>
              </a:spcAft>
              <a:buClrTx/>
              <a:buSzTx/>
              <a:buFontTx/>
              <a:buNone/>
              <a:tabLst/>
              <a:defRPr/>
            </a:pPr>
            <a:r>
              <a:rPr lang="en-AU" sz="1400" b="0" i="0" u="none" strike="noStrike" kern="1200" baseline="0" dirty="0" smtClean="0">
                <a:solidFill>
                  <a:schemeClr val="tx1"/>
                </a:solidFill>
                <a:latin typeface="+mn-lt"/>
                <a:ea typeface="+mn-ea"/>
                <a:cs typeface="+mn-cs"/>
              </a:rPr>
              <a:t>The most important task for us is to establish rigorous and reliable MLA or Multilateral Arrangement mechanism in our region.</a:t>
            </a:r>
          </a:p>
          <a:p>
            <a:pPr marL="0" marR="0" indent="0" algn="l" defTabSz="914400" rtl="0" eaLnBrk="0" fontAlgn="base" latinLnBrk="0" hangingPunct="0">
              <a:lnSpc>
                <a:spcPct val="100000"/>
              </a:lnSpc>
              <a:spcBef>
                <a:spcPct val="30000"/>
              </a:spcBef>
              <a:spcAft>
                <a:spcPct val="0"/>
              </a:spcAft>
              <a:buClrTx/>
              <a:buSzTx/>
              <a:buFontTx/>
              <a:buNone/>
              <a:tabLst/>
              <a:defRPr/>
            </a:pPr>
            <a:endParaRPr lang="en-AU" sz="1400" b="0" i="0" u="none" strike="noStrike" kern="1200" baseline="0" dirty="0" smtClean="0">
              <a:solidFill>
                <a:schemeClr val="tx1"/>
              </a:solidFill>
              <a:latin typeface="+mn-lt"/>
              <a:ea typeface="+mn-ea"/>
              <a:cs typeface="+mn-cs"/>
            </a:endParaRPr>
          </a:p>
          <a:p>
            <a:pPr marL="0" marR="0" indent="0" algn="l" defTabSz="914400" rtl="0" eaLnBrk="0" fontAlgn="base" latinLnBrk="0" hangingPunct="0">
              <a:lnSpc>
                <a:spcPct val="100000"/>
              </a:lnSpc>
              <a:spcBef>
                <a:spcPct val="30000"/>
              </a:spcBef>
              <a:spcAft>
                <a:spcPct val="0"/>
              </a:spcAft>
              <a:buClrTx/>
              <a:buSzTx/>
              <a:buFontTx/>
              <a:buNone/>
              <a:tabLst/>
              <a:defRPr/>
            </a:pPr>
            <a:endParaRPr lang="en-AU" sz="1400" b="0" i="0" u="none" strike="noStrike" kern="1200" baseline="0" dirty="0" smtClean="0">
              <a:solidFill>
                <a:schemeClr val="tx1"/>
              </a:solidFill>
              <a:latin typeface="+mn-lt"/>
              <a:ea typeface="+mn-ea"/>
              <a:cs typeface="+mn-cs"/>
            </a:endParaRPr>
          </a:p>
          <a:p>
            <a:r>
              <a:rPr lang="en-AU" sz="1400" b="0" i="0" u="none" strike="noStrike" kern="1200" baseline="0" dirty="0" smtClean="0">
                <a:solidFill>
                  <a:schemeClr val="tx1"/>
                </a:solidFill>
                <a:latin typeface="+mn-lt"/>
                <a:ea typeface="+mn-ea"/>
                <a:cs typeface="+mn-cs"/>
              </a:rPr>
              <a:t> </a:t>
            </a:r>
            <a:endParaRPr lang="en-US" altLang="zh-TW" sz="1400" dirty="0"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4241" name="Rectangle 7"/>
          <p:cNvSpPr txBox="1">
            <a:spLocks noGrp="1" noChangeArrowheads="1"/>
          </p:cNvSpPr>
          <p:nvPr/>
        </p:nvSpPr>
        <p:spPr bwMode="auto">
          <a:xfrm>
            <a:off x="3817938" y="9374188"/>
            <a:ext cx="2917825" cy="492125"/>
          </a:xfrm>
          <a:prstGeom prst="rect">
            <a:avLst/>
          </a:prstGeom>
          <a:noFill/>
          <a:ln w="9525">
            <a:noFill/>
            <a:miter lim="800000"/>
            <a:headEnd/>
            <a:tailEnd/>
          </a:ln>
        </p:spPr>
        <p:txBody>
          <a:bodyPr lIns="19088" tIns="0" rIns="19088" bIns="0" anchor="b"/>
          <a:lstStyle/>
          <a:p>
            <a:pPr algn="r" defTabSz="915988" eaLnBrk="0" hangingPunct="0"/>
            <a:fld id="{34470C41-2A69-491C-B698-567D68EACE27}" type="slidenum">
              <a:rPr kumimoji="0" lang="en-US" altLang="zh-CN" sz="1000" i="1">
                <a:solidFill>
                  <a:schemeClr val="tx1"/>
                </a:solidFill>
                <a:latin typeface="Times New Roman" pitchFamily="18" charset="0"/>
                <a:ea typeface="SimSun" pitchFamily="2" charset="-122"/>
              </a:rPr>
              <a:pPr algn="r" defTabSz="915988" eaLnBrk="0" hangingPunct="0"/>
              <a:t>6</a:t>
            </a:fld>
            <a:endParaRPr kumimoji="0" lang="en-US" altLang="zh-CN" sz="1000" i="1">
              <a:solidFill>
                <a:schemeClr val="tx1"/>
              </a:solidFill>
              <a:latin typeface="Times New Roman" pitchFamily="18" charset="0"/>
              <a:ea typeface="SimSun" pitchFamily="2" charset="-122"/>
            </a:endParaRPr>
          </a:p>
        </p:txBody>
      </p:sp>
      <p:sp>
        <p:nvSpPr>
          <p:cNvPr id="394242" name="Rectangle 2"/>
          <p:cNvSpPr>
            <a:spLocks noGrp="1" noRot="1" noChangeAspect="1" noChangeArrowheads="1" noTextEdit="1"/>
          </p:cNvSpPr>
          <p:nvPr>
            <p:ph type="sldImg"/>
          </p:nvPr>
        </p:nvSpPr>
        <p:spPr bwMode="auto">
          <a:xfrm>
            <a:off x="915988" y="750888"/>
            <a:ext cx="4908550" cy="3681412"/>
          </a:xfrm>
          <a:noFill/>
          <a:ln>
            <a:solidFill>
              <a:srgbClr val="000000"/>
            </a:solidFill>
            <a:miter lim="800000"/>
            <a:headEnd/>
            <a:tailEnd/>
          </a:ln>
        </p:spPr>
      </p:sp>
      <p:sp>
        <p:nvSpPr>
          <p:cNvPr id="394243" name="Rectangle 3"/>
          <p:cNvSpPr>
            <a:spLocks noGrp="1" noChangeArrowheads="1"/>
          </p:cNvSpPr>
          <p:nvPr>
            <p:ph type="body" idx="1"/>
          </p:nvPr>
        </p:nvSpPr>
        <p:spPr bwMode="auto">
          <a:xfrm>
            <a:off x="898525" y="4687888"/>
            <a:ext cx="4938713" cy="4437062"/>
          </a:xfrm>
          <a:noFill/>
        </p:spPr>
        <p:txBody>
          <a:bodyPr wrap="square" lIns="92259" tIns="46130" rIns="92259" bIns="46130" numCol="1" anchor="t" anchorCtr="0" compatLnSpc="1">
            <a:prstTxWarp prst="textNoShape">
              <a:avLst/>
            </a:prstTxWarp>
          </a:bodyPr>
          <a:lstStyle/>
          <a:p>
            <a:pPr marL="0" indent="0" eaLnBrk="1" hangingPunct="1">
              <a:lnSpc>
                <a:spcPct val="80000"/>
              </a:lnSpc>
              <a:buClr>
                <a:srgbClr val="ED2A09"/>
              </a:buClr>
              <a:buSzTx/>
              <a:buNone/>
            </a:pPr>
            <a:r>
              <a:rPr kumimoji="1" lang="en-CA" altLang="zh-TW" sz="1400" dirty="0" smtClean="0">
                <a:latin typeface="Arial" charset="0"/>
              </a:rPr>
              <a:t>The </a:t>
            </a:r>
            <a:r>
              <a:rPr kumimoji="1" lang="en-CA" altLang="zh-TW" sz="1400" baseline="0" dirty="0" smtClean="0">
                <a:latin typeface="Arial" charset="0"/>
              </a:rPr>
              <a:t>PAC MLA was established to:</a:t>
            </a:r>
          </a:p>
          <a:p>
            <a:pPr marL="285750" indent="-285750" eaLnBrk="1" hangingPunct="1">
              <a:lnSpc>
                <a:spcPct val="80000"/>
              </a:lnSpc>
              <a:buClr>
                <a:srgbClr val="ED2A09"/>
              </a:buClr>
              <a:buSzTx/>
              <a:buFont typeface="Arial" pitchFamily="34" charset="0"/>
              <a:buChar char="•"/>
            </a:pPr>
            <a:r>
              <a:rPr kumimoji="1" lang="en-CA" altLang="zh-TW" sz="1400" dirty="0" smtClean="0">
                <a:latin typeface="Arial" charset="0"/>
              </a:rPr>
              <a:t>enhance government, industry and consumer confidence in regional and world trade, paying particular attention to regional needs, especially those of APEC member economies; and</a:t>
            </a:r>
          </a:p>
          <a:p>
            <a:pPr marL="285750" indent="-285750" eaLnBrk="1" hangingPunct="1">
              <a:lnSpc>
                <a:spcPct val="80000"/>
              </a:lnSpc>
              <a:buClr>
                <a:srgbClr val="ED2A09"/>
              </a:buClr>
              <a:buSzTx/>
              <a:buFont typeface="Arial" pitchFamily="34" charset="0"/>
              <a:buChar char="•"/>
            </a:pPr>
            <a:r>
              <a:rPr kumimoji="1" lang="en-CA" altLang="zh-TW" sz="1400" dirty="0" smtClean="0">
                <a:latin typeface="Arial" charset="0"/>
              </a:rPr>
              <a:t>support emerging industries and technologies, by providing accreditation to certification bodies in the fields of management systems, products or services, persons and other similar fields. </a:t>
            </a:r>
          </a:p>
          <a:p>
            <a:pPr marL="0" indent="0" eaLnBrk="1" hangingPunct="1">
              <a:lnSpc>
                <a:spcPct val="80000"/>
              </a:lnSpc>
              <a:buClr>
                <a:srgbClr val="ED2A09"/>
              </a:buClr>
              <a:buSzTx/>
              <a:buNone/>
            </a:pPr>
            <a:endParaRPr kumimoji="1" lang="en-CA" altLang="ja-JP" sz="1400" dirty="0" smtClean="0">
              <a:latin typeface="Arial" charset="0"/>
            </a:endParaRPr>
          </a:p>
          <a:p>
            <a:endParaRPr lang="en-US" altLang="zh-TW" sz="1400" dirty="0" smtClean="0"/>
          </a:p>
          <a:p>
            <a:endParaRPr lang="en-US" altLang="zh-TW" sz="1400" dirty="0"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6289" name="Slide Image Placeholder 1"/>
          <p:cNvSpPr>
            <a:spLocks noGrp="1" noRot="1" noChangeAspect="1"/>
          </p:cNvSpPr>
          <p:nvPr>
            <p:ph type="sldImg"/>
          </p:nvPr>
        </p:nvSpPr>
        <p:spPr bwMode="auto">
          <a:noFill/>
          <a:ln>
            <a:solidFill>
              <a:srgbClr val="000000"/>
            </a:solidFill>
            <a:miter lim="800000"/>
            <a:headEnd/>
            <a:tailEnd/>
          </a:ln>
        </p:spPr>
      </p:sp>
      <p:sp>
        <p:nvSpPr>
          <p:cNvPr id="396290"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AU" altLang="ja-JP" dirty="0" smtClean="0"/>
              <a:t>The</a:t>
            </a:r>
            <a:r>
              <a:rPr lang="en-AU" altLang="ja-JP" baseline="0" dirty="0" smtClean="0"/>
              <a:t> PAC MLA for QMS was launched in 1996 with the first signatories in January 1998.  </a:t>
            </a:r>
          </a:p>
          <a:p>
            <a:pPr eaLnBrk="1" hangingPunct="1">
              <a:spcBef>
                <a:spcPct val="0"/>
              </a:spcBef>
            </a:pPr>
            <a:r>
              <a:rPr lang="en-AU" altLang="ja-JP" baseline="0" dirty="0" smtClean="0"/>
              <a:t>The EMS MLA was signed in November 2003 and the Product MLA quickly followed in July 2004.   </a:t>
            </a:r>
          </a:p>
          <a:p>
            <a:pPr eaLnBrk="1" hangingPunct="1">
              <a:spcBef>
                <a:spcPct val="0"/>
              </a:spcBef>
            </a:pPr>
            <a:r>
              <a:rPr lang="en-AU" altLang="ja-JP" baseline="0" dirty="0" smtClean="0"/>
              <a:t>PAC MLA Members are also members of the IAF MLA, giving them global mutual recognition for these three programs.</a:t>
            </a:r>
          </a:p>
          <a:p>
            <a:pPr eaLnBrk="1" hangingPunct="1">
              <a:spcBef>
                <a:spcPct val="0"/>
              </a:spcBef>
            </a:pPr>
            <a:endParaRPr lang="en-AU" altLang="ja-JP" baseline="0" dirty="0" smtClean="0"/>
          </a:p>
          <a:p>
            <a:pPr eaLnBrk="1" hangingPunct="1">
              <a:spcBef>
                <a:spcPct val="0"/>
              </a:spcBef>
            </a:pPr>
            <a:endParaRPr lang="en-AU" altLang="ja-JP" baseline="0" dirty="0" smtClean="0"/>
          </a:p>
        </p:txBody>
      </p:sp>
      <p:sp>
        <p:nvSpPr>
          <p:cNvPr id="396291"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8A768AC5-E164-48FA-89DA-BF3AB58A6CEB}" type="slidenum">
              <a:rPr lang="en-AU" altLang="ja-JP" smtClean="0">
                <a:latin typeface="Lucida Grande"/>
                <a:ea typeface="ヒラギノ角ゴ ProN W3"/>
                <a:cs typeface="ヒラギノ角ゴ ProN W3"/>
                <a:sym typeface="Lucida Grande"/>
              </a:rPr>
              <a:pPr/>
              <a:t>7</a:t>
            </a:fld>
            <a:endParaRPr lang="en-AU" altLang="ja-JP" smtClean="0">
              <a:latin typeface="Lucida Grande"/>
              <a:ea typeface="ヒラギノ角ゴ ProN W3"/>
              <a:cs typeface="ヒラギノ角ゴ ProN W3"/>
              <a:sym typeface="Lucida Grande"/>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8337" name="Slide Image Placeholder 1"/>
          <p:cNvSpPr>
            <a:spLocks noGrp="1" noRot="1" noChangeAspect="1"/>
          </p:cNvSpPr>
          <p:nvPr>
            <p:ph type="sldImg"/>
          </p:nvPr>
        </p:nvSpPr>
        <p:spPr bwMode="auto">
          <a:noFill/>
          <a:ln>
            <a:solidFill>
              <a:srgbClr val="000000"/>
            </a:solidFill>
            <a:miter lim="800000"/>
            <a:headEnd/>
            <a:tailEnd/>
          </a:ln>
        </p:spPr>
      </p:sp>
      <p:sp>
        <p:nvSpPr>
          <p:cNvPr id="398338" name="Notes Placeholder 2"/>
          <p:cNvSpPr>
            <a:spLocks noGrp="1"/>
          </p:cNvSpPr>
          <p:nvPr>
            <p:ph type="body" idx="1"/>
          </p:nvPr>
        </p:nvSpPr>
        <p:spPr bwMode="auto">
          <a:noFill/>
        </p:spPr>
        <p:txBody>
          <a:bodyPr wrap="square" numCol="1" anchor="t" anchorCtr="0" compatLnSpc="1">
            <a:prstTxWarp prst="textNoShape">
              <a:avLst/>
            </a:prstTxWarp>
          </a:bodyPr>
          <a:lstStyle/>
          <a:p>
            <a:pPr>
              <a:buClr>
                <a:srgbClr val="FF0000"/>
              </a:buClr>
            </a:pPr>
            <a:r>
              <a:rPr kumimoji="0" lang="en-AU" altLang="ja-JP" sz="1200" b="0" dirty="0" smtClean="0">
                <a:solidFill>
                  <a:srgbClr val="0000FF"/>
                </a:solidFill>
                <a:latin typeface="Arial" charset="0"/>
              </a:rPr>
              <a:t>PAC is leading the way in the establishment of new MLAs, based on the policy</a:t>
            </a:r>
            <a:r>
              <a:rPr kumimoji="0" lang="en-AU" altLang="ja-JP" sz="1200" b="0" baseline="0" dirty="0" smtClean="0">
                <a:solidFill>
                  <a:srgbClr val="0000FF"/>
                </a:solidFill>
                <a:latin typeface="Arial" charset="0"/>
              </a:rPr>
              <a:t> directions of APEC and the needs of PAC members. </a:t>
            </a:r>
          </a:p>
          <a:p>
            <a:pPr>
              <a:buClr>
                <a:srgbClr val="FF0000"/>
              </a:buClr>
            </a:pPr>
            <a:r>
              <a:rPr kumimoji="0" lang="en-AU" altLang="ja-JP" sz="1200" b="0" baseline="0" dirty="0" smtClean="0">
                <a:solidFill>
                  <a:srgbClr val="0000FF"/>
                </a:solidFill>
                <a:latin typeface="Arial" charset="0"/>
              </a:rPr>
              <a:t>We regularly survey members to ascertain areas of mutual interest.</a:t>
            </a:r>
          </a:p>
          <a:p>
            <a:pPr>
              <a:buClr>
                <a:srgbClr val="FF0000"/>
              </a:buClr>
            </a:pPr>
            <a:endParaRPr kumimoji="0" lang="en-AU" altLang="ja-JP" sz="1200" b="0" baseline="0" dirty="0" smtClean="0">
              <a:solidFill>
                <a:srgbClr val="0000FF"/>
              </a:solidFill>
              <a:latin typeface="Arial" charset="0"/>
            </a:endParaRPr>
          </a:p>
          <a:p>
            <a:pPr>
              <a:buClr>
                <a:srgbClr val="FF0000"/>
              </a:buClr>
            </a:pPr>
            <a:r>
              <a:rPr kumimoji="0" lang="en-AU" altLang="ja-JP" sz="1200" b="0" baseline="0" dirty="0" smtClean="0">
                <a:solidFill>
                  <a:srgbClr val="0000FF"/>
                </a:solidFill>
                <a:latin typeface="Arial" charset="0"/>
              </a:rPr>
              <a:t>Four new areas of activity have been identified through discussions with PAC and APEC members – being FSMS, GHG, ISMS and Certification of Persons.  </a:t>
            </a:r>
          </a:p>
          <a:p>
            <a:pPr>
              <a:buClr>
                <a:srgbClr val="FF0000"/>
              </a:buClr>
            </a:pPr>
            <a:r>
              <a:rPr kumimoji="0" lang="en-AU" altLang="ja-JP" sz="1200" b="0" baseline="0" dirty="0" smtClean="0">
                <a:solidFill>
                  <a:srgbClr val="0000FF"/>
                </a:solidFill>
                <a:latin typeface="Arial" charset="0"/>
              </a:rPr>
              <a:t>Due to a higher level of demand by members, it was decided in 2010 to develop the MLAs for FSMS and GHG as a first step. </a:t>
            </a:r>
          </a:p>
          <a:p>
            <a:pPr>
              <a:buClr>
                <a:srgbClr val="FF0000"/>
              </a:buClr>
            </a:pPr>
            <a:r>
              <a:rPr kumimoji="0" lang="en-AU" altLang="ja-JP" sz="1200" b="0" baseline="0" dirty="0" smtClean="0">
                <a:solidFill>
                  <a:srgbClr val="0000FF"/>
                </a:solidFill>
                <a:latin typeface="Arial" charset="0"/>
              </a:rPr>
              <a:t>The criteria used for the initial evaluations has been developed by specially formed PAC working groups, many of whose members are also active in the related IAF WGs.</a:t>
            </a:r>
          </a:p>
          <a:p>
            <a:pPr>
              <a:buClr>
                <a:srgbClr val="FF0000"/>
              </a:buClr>
            </a:pPr>
            <a:r>
              <a:rPr kumimoji="0" lang="en-AU" altLang="ja-JP" sz="1200" b="0" baseline="0" dirty="0" smtClean="0">
                <a:solidFill>
                  <a:srgbClr val="0000FF"/>
                </a:solidFill>
                <a:latin typeface="Arial" charset="0"/>
              </a:rPr>
              <a:t>So we always pay special attention to global harmonisation when launching a new MLA.  </a:t>
            </a:r>
          </a:p>
          <a:p>
            <a:pPr>
              <a:buClr>
                <a:srgbClr val="FF0000"/>
              </a:buClr>
            </a:pPr>
            <a:r>
              <a:rPr kumimoji="0" lang="en-AU" altLang="ja-JP" sz="1200" b="0" baseline="0" dirty="0" smtClean="0">
                <a:solidFill>
                  <a:srgbClr val="0000FF"/>
                </a:solidFill>
                <a:latin typeface="Arial" charset="0"/>
              </a:rPr>
              <a:t>Therefore the PAC criteria for a new MLA is based on the latest draft criteria within IAF and will be amended as required when the IAF criteria has been finalised.</a:t>
            </a:r>
            <a:endParaRPr kumimoji="0" lang="en-AU" altLang="ja-JP" sz="1200" b="0" dirty="0" smtClean="0">
              <a:solidFill>
                <a:srgbClr val="0000FF"/>
              </a:solidFill>
              <a:latin typeface="Arial" charset="0"/>
            </a:endParaRPr>
          </a:p>
          <a:p>
            <a:pPr>
              <a:buClr>
                <a:srgbClr val="FF0000"/>
              </a:buClr>
            </a:pPr>
            <a:endParaRPr kumimoji="0" lang="en-AU" altLang="ja-JP" sz="1200" b="0" dirty="0" smtClean="0">
              <a:solidFill>
                <a:srgbClr val="0000FF"/>
              </a:solidFill>
              <a:latin typeface="Arial" charset="0"/>
            </a:endParaRPr>
          </a:p>
          <a:p>
            <a:pPr>
              <a:buClr>
                <a:srgbClr val="FF0000"/>
              </a:buClr>
            </a:pPr>
            <a:r>
              <a:rPr kumimoji="0" lang="en-AU" altLang="ja-JP" sz="1200" b="0" dirty="0" smtClean="0">
                <a:solidFill>
                  <a:srgbClr val="0000FF"/>
                </a:solidFill>
                <a:latin typeface="Arial" charset="0"/>
              </a:rPr>
              <a:t>The FSMS MLA, launched in June 2012 has received 4 applications</a:t>
            </a:r>
            <a:r>
              <a:rPr kumimoji="0" lang="en-AU" altLang="ja-JP" sz="1200" b="0" baseline="0" dirty="0" smtClean="0">
                <a:solidFill>
                  <a:srgbClr val="0000FF"/>
                </a:solidFill>
                <a:latin typeface="Arial" charset="0"/>
              </a:rPr>
              <a:t> to date and </a:t>
            </a:r>
          </a:p>
          <a:p>
            <a:pPr>
              <a:buClr>
                <a:srgbClr val="FF0000"/>
              </a:buClr>
            </a:pPr>
            <a:r>
              <a:rPr kumimoji="0" lang="en-AU" altLang="ja-JP" sz="1200" b="0" baseline="0" dirty="0" smtClean="0">
                <a:solidFill>
                  <a:srgbClr val="0000FF"/>
                </a:solidFill>
                <a:latin typeface="Arial" charset="0"/>
              </a:rPr>
              <a:t>the GHG MLA has received 3. Several more members have advised that they will apply to join one or both of these MLAs in their next accreditation cycle.</a:t>
            </a:r>
          </a:p>
          <a:p>
            <a:pPr>
              <a:buClr>
                <a:srgbClr val="FF0000"/>
              </a:buClr>
            </a:pPr>
            <a:endParaRPr kumimoji="0" lang="en-AU" altLang="ja-JP" sz="1200" b="0" dirty="0" smtClean="0">
              <a:solidFill>
                <a:srgbClr val="0000FF"/>
              </a:solidFill>
              <a:latin typeface="Arial" charset="0"/>
            </a:endParaRPr>
          </a:p>
          <a:p>
            <a:pPr>
              <a:buClr>
                <a:srgbClr val="FF0000"/>
              </a:buClr>
            </a:pPr>
            <a:r>
              <a:rPr kumimoji="0" lang="en-AU" altLang="ja-JP" sz="1200" b="0" dirty="0" smtClean="0">
                <a:solidFill>
                  <a:srgbClr val="0000FF"/>
                </a:solidFill>
                <a:latin typeface="Arial" charset="0"/>
              </a:rPr>
              <a:t>The evaluation process</a:t>
            </a:r>
            <a:r>
              <a:rPr kumimoji="0" lang="en-AU" altLang="ja-JP" sz="1200" b="0" dirty="0" smtClean="0">
                <a:latin typeface="Arial" charset="0"/>
              </a:rPr>
              <a:t> is expected to take around 12 months from receipt of application.</a:t>
            </a:r>
          </a:p>
          <a:p>
            <a:pPr>
              <a:buClr>
                <a:srgbClr val="FF0000"/>
              </a:buClr>
            </a:pPr>
            <a:endParaRPr kumimoji="0" lang="en-AU" altLang="ja-JP" sz="1200" b="0" dirty="0" smtClean="0">
              <a:solidFill>
                <a:schemeClr val="tx1"/>
              </a:solidFill>
              <a:latin typeface="Arial" charset="0"/>
            </a:endParaRPr>
          </a:p>
          <a:p>
            <a:pPr>
              <a:buClr>
                <a:srgbClr val="FF0000"/>
              </a:buClr>
            </a:pPr>
            <a:r>
              <a:rPr kumimoji="0" lang="en-AU" altLang="ja-JP" sz="1200" b="0" dirty="0" smtClean="0">
                <a:solidFill>
                  <a:srgbClr val="0000FF"/>
                </a:solidFill>
                <a:latin typeface="Arial" charset="0"/>
              </a:rPr>
              <a:t>These MLAs will become operational</a:t>
            </a:r>
            <a:r>
              <a:rPr kumimoji="0" lang="en-AU" altLang="ja-JP" sz="1200" b="0" dirty="0" smtClean="0">
                <a:latin typeface="Arial" charset="0"/>
              </a:rPr>
              <a:t> when three (3) applicants have successfully completed the peer evaluation process.</a:t>
            </a:r>
          </a:p>
          <a:p>
            <a:pPr eaLnBrk="1" hangingPunct="1">
              <a:spcBef>
                <a:spcPct val="0"/>
              </a:spcBef>
            </a:pPr>
            <a:endParaRPr lang="en-AU" altLang="ja-JP" b="0" dirty="0" smtClean="0"/>
          </a:p>
        </p:txBody>
      </p:sp>
      <p:sp>
        <p:nvSpPr>
          <p:cNvPr id="39833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A51CA28D-98D4-4A24-B73E-2F418864703C}" type="slidenum">
              <a:rPr lang="en-AU" altLang="ja-JP" smtClean="0">
                <a:latin typeface="Lucida Grande"/>
                <a:ea typeface="ヒラギノ角ゴ ProN W3"/>
                <a:cs typeface="ヒラギノ角ゴ ProN W3"/>
                <a:sym typeface="Lucida Grande"/>
              </a:rPr>
              <a:pPr/>
              <a:t>8</a:t>
            </a:fld>
            <a:endParaRPr lang="en-AU" altLang="ja-JP" smtClean="0">
              <a:latin typeface="Lucida Grande"/>
              <a:ea typeface="ヒラギノ角ゴ ProN W3"/>
              <a:cs typeface="ヒラギノ角ゴ ProN W3"/>
              <a:sym typeface="Lucida Grande"/>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1200" kern="1200" dirty="0" smtClean="0">
                <a:solidFill>
                  <a:schemeClr val="tx1"/>
                </a:solidFill>
                <a:effectLst/>
                <a:latin typeface="+mn-lt"/>
                <a:ea typeface="+mn-ea"/>
                <a:cs typeface="+mn-cs"/>
              </a:rPr>
              <a:t>At this</a:t>
            </a:r>
            <a:r>
              <a:rPr lang="en-AU" sz="1200" kern="1200" baseline="0" dirty="0" smtClean="0">
                <a:solidFill>
                  <a:schemeClr val="tx1"/>
                </a:solidFill>
                <a:effectLst/>
                <a:latin typeface="+mn-lt"/>
                <a:ea typeface="+mn-ea"/>
                <a:cs typeface="+mn-cs"/>
              </a:rPr>
              <a:t> stage PAC will only develop a MLA based on an internationally recognised and accepted standard.  </a:t>
            </a:r>
          </a:p>
          <a:p>
            <a:r>
              <a:rPr lang="en-AU" sz="1200" kern="1200" baseline="0" dirty="0" smtClean="0">
                <a:solidFill>
                  <a:schemeClr val="tx1"/>
                </a:solidFill>
                <a:effectLst/>
                <a:latin typeface="+mn-lt"/>
                <a:ea typeface="+mn-ea"/>
                <a:cs typeface="+mn-cs"/>
              </a:rPr>
              <a:t>This restriction helps PAC to focus its resources on development of programs that will benefit ALL members, and </a:t>
            </a:r>
          </a:p>
          <a:p>
            <a:r>
              <a:rPr lang="en-AU" sz="1200" kern="1200" baseline="0" dirty="0" smtClean="0">
                <a:solidFill>
                  <a:schemeClr val="tx1"/>
                </a:solidFill>
                <a:effectLst/>
                <a:latin typeface="+mn-lt"/>
                <a:ea typeface="+mn-ea"/>
                <a:cs typeface="+mn-cs"/>
              </a:rPr>
              <a:t>which may be picked up by other regions in the future and </a:t>
            </a:r>
          </a:p>
          <a:p>
            <a:r>
              <a:rPr lang="en-AU" sz="1200" kern="1200" baseline="0" dirty="0" smtClean="0">
                <a:solidFill>
                  <a:schemeClr val="tx1"/>
                </a:solidFill>
                <a:effectLst/>
                <a:latin typeface="+mn-lt"/>
                <a:ea typeface="+mn-ea"/>
                <a:cs typeface="+mn-cs"/>
              </a:rPr>
              <a:t>become part of the IAF MLA system, as per our objective of gaining global recognition of our programs.</a:t>
            </a:r>
          </a:p>
          <a:p>
            <a:endParaRPr lang="en-AU" sz="1200" kern="1200" baseline="0" dirty="0" smtClean="0">
              <a:solidFill>
                <a:schemeClr val="tx1"/>
              </a:solidFill>
              <a:effectLst/>
              <a:latin typeface="+mn-lt"/>
              <a:ea typeface="+mn-ea"/>
              <a:cs typeface="+mn-cs"/>
            </a:endParaRPr>
          </a:p>
          <a:p>
            <a:r>
              <a:rPr lang="en-AU" sz="1200" kern="1200" baseline="0" dirty="0" smtClean="0">
                <a:solidFill>
                  <a:schemeClr val="tx1"/>
                </a:solidFill>
                <a:effectLst/>
                <a:latin typeface="+mn-lt"/>
                <a:ea typeface="+mn-ea"/>
                <a:cs typeface="+mn-cs"/>
              </a:rPr>
              <a:t>PAC members may make a proposal for the development of a new MLA that meets this criteria. </a:t>
            </a:r>
          </a:p>
          <a:p>
            <a:r>
              <a:rPr lang="en-AU" sz="1200" kern="1200" baseline="0" dirty="0" smtClean="0">
                <a:solidFill>
                  <a:schemeClr val="tx1"/>
                </a:solidFill>
                <a:effectLst/>
                <a:latin typeface="+mn-lt"/>
                <a:ea typeface="+mn-ea"/>
                <a:cs typeface="+mn-cs"/>
              </a:rPr>
              <a:t>In order for the proposal to be considered, at least 3 PAC members must support the proposal and commit to both working on the development of relevant documentation, and to applying to join the MLA once it is launched.</a:t>
            </a:r>
          </a:p>
          <a:p>
            <a:r>
              <a:rPr lang="en-US" sz="1200" kern="1200" dirty="0" smtClean="0">
                <a:solidFill>
                  <a:schemeClr val="tx1"/>
                </a:solidFill>
                <a:effectLst/>
                <a:latin typeface="+mn-lt"/>
                <a:ea typeface="+mn-ea"/>
                <a:cs typeface="+mn-cs"/>
              </a:rPr>
              <a:t> </a:t>
            </a:r>
            <a:endParaRPr lang="en-AU" sz="1200" kern="1200" dirty="0" smtClean="0">
              <a:solidFill>
                <a:schemeClr val="tx1"/>
              </a:solidFill>
              <a:effectLst/>
              <a:latin typeface="+mn-lt"/>
              <a:ea typeface="+mn-ea"/>
              <a:cs typeface="+mn-cs"/>
            </a:endParaRPr>
          </a:p>
          <a:p>
            <a:endParaRPr lang="en-AU" dirty="0"/>
          </a:p>
        </p:txBody>
      </p:sp>
      <p:sp>
        <p:nvSpPr>
          <p:cNvPr id="4" name="Slide Number Placeholder 3"/>
          <p:cNvSpPr>
            <a:spLocks noGrp="1"/>
          </p:cNvSpPr>
          <p:nvPr>
            <p:ph type="sldNum" sz="quarter" idx="10"/>
          </p:nvPr>
        </p:nvSpPr>
        <p:spPr/>
        <p:txBody>
          <a:bodyPr/>
          <a:lstStyle/>
          <a:p>
            <a:pPr>
              <a:defRPr/>
            </a:pPr>
            <a:fld id="{D7F25309-0CA9-44D8-B0A4-2A58E14A5EB9}" type="slidenum">
              <a:rPr lang="en-AU" smtClean="0"/>
              <a:pPr>
                <a:defRPr/>
              </a:pPr>
              <a:t>9</a:t>
            </a:fld>
            <a:endParaRPr lang="en-AU"/>
          </a:p>
        </p:txBody>
      </p:sp>
    </p:spTree>
    <p:extLst>
      <p:ext uri="{BB962C8B-B14F-4D97-AF65-F5344CB8AC3E}">
        <p14:creationId xmlns:p14="http://schemas.microsoft.com/office/powerpoint/2010/main" xmlns="" val="35758737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Tree>
  </p:cSld>
  <p:clrMapOvr>
    <a:masterClrMapping/>
  </p:clrMapOvr>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Tree>
  </p:cSld>
  <p:clrMapOvr>
    <a:masterClrMapping/>
  </p:clrMapOvr>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304800" y="1663700"/>
            <a:ext cx="4184650" cy="4572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4641850" y="1663700"/>
            <a:ext cx="4184650" cy="4572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Tree>
  </p:cSld>
  <p:clrMapOvr>
    <a:masterClrMapping/>
  </p:clrMapOvr>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cSld>
  <p:clrMapOvr>
    <a:masterClrMapping/>
  </p:clrMapOvr>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sym typeface="Palatino" charset="0"/>
            </a:endParaRPr>
          </a:p>
        </p:txBody>
      </p:sp>
      <p:sp>
        <p:nvSpPr>
          <p:cNvPr id="4"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96075" y="101600"/>
            <a:ext cx="2130425" cy="6134100"/>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304800" y="101600"/>
            <a:ext cx="6238875" cy="6134100"/>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96075" y="101600"/>
            <a:ext cx="2130425" cy="6134100"/>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304800" y="101600"/>
            <a:ext cx="6238875" cy="6134100"/>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Tree>
  </p:cSld>
  <p:clrMapOvr>
    <a:masterClrMapping/>
  </p:clrMapOvr>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Tree>
  </p:cSld>
  <p:clrMapOvr>
    <a:masterClrMapping/>
  </p:clrMapOvr>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304800" y="1663700"/>
            <a:ext cx="2235200" cy="4572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2692400" y="1663700"/>
            <a:ext cx="2235200" cy="4572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Tree>
  </p:cSld>
  <p:clrMapOvr>
    <a:masterClrMapping/>
  </p:clrMapOvr>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cSld>
  <p:clrMapOvr>
    <a:masterClrMapping/>
  </p:clrMapOvr>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sym typeface="Palatino" charset="0"/>
            </a:endParaRPr>
          </a:p>
        </p:txBody>
      </p:sp>
      <p:sp>
        <p:nvSpPr>
          <p:cNvPr id="4"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a:prstGeom prst="rect">
            <a:avLst/>
          </a:prstGeo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Tree>
  </p:cSld>
  <p:clrMapOvr>
    <a:masterClrMapping/>
  </p:clrMapOvr>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96075" y="101600"/>
            <a:ext cx="2130425" cy="6134100"/>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304800" y="101600"/>
            <a:ext cx="6238875" cy="6134100"/>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Tree>
  </p:cSld>
  <p:clrMapOvr>
    <a:masterClrMapping/>
  </p:clrMapOvr>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Tree>
  </p:cSld>
  <p:clrMapOvr>
    <a:masterClrMapping/>
  </p:clrMapOvr>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5461000" y="1663700"/>
            <a:ext cx="1612900" cy="4572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7226300" y="1663700"/>
            <a:ext cx="1612900" cy="4572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Tree>
  </p:cSld>
  <p:clrMapOvr>
    <a:masterClrMapping/>
  </p:clrMapOvr>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cSld>
  <p:clrMapOvr>
    <a:masterClrMapping/>
  </p:clrMapOvr>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a:prstGeom prst="rect">
            <a:avLst/>
          </a:prstGeom>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457200" y="1600200"/>
            <a:ext cx="8229600" cy="4525963"/>
          </a:xfrm>
          <a:prstGeom prst="rect">
            <a:avLst/>
          </a:prstGeom>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sym typeface="Palatino" charset="0"/>
            </a:endParaRPr>
          </a:p>
        </p:txBody>
      </p:sp>
      <p:sp>
        <p:nvSpPr>
          <p:cNvPr id="4"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705600" y="101600"/>
            <a:ext cx="2133600" cy="6134100"/>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304800" y="101600"/>
            <a:ext cx="6248400" cy="6134100"/>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
        <p:nvSpPr>
          <p:cNvPr id="4" name="Text Box 3"/>
          <p:cNvSpPr txBox="1">
            <a:spLocks noGrp="1" noChangeArrowheads="1"/>
          </p:cNvSpPr>
          <p:nvPr>
            <p:ph type="sldNum" sz="quarter" idx="10"/>
          </p:nvPr>
        </p:nvSpPr>
        <p:spPr>
          <a:ln/>
        </p:spPr>
        <p:txBody>
          <a:bodyPr/>
          <a:lstStyle>
            <a:lvl1pPr>
              <a:defRPr/>
            </a:lvl1pPr>
          </a:lstStyle>
          <a:p>
            <a:pPr>
              <a:defRPr/>
            </a:pPr>
            <a:fld id="{0F22552E-7D58-47BE-A407-C3C79F379C93}" type="slidenum">
              <a:rPr lang="en-US" altLang="ja-JP"/>
              <a:pPr>
                <a:defRPr/>
              </a:pPr>
              <a:t>‹#›</a:t>
            </a:fld>
            <a:endParaRPr lang="en-US" altLang="ja-JP" dirty="0"/>
          </a:p>
        </p:txBody>
      </p:sp>
    </p:spTree>
  </p:cSld>
  <p:clrMapOvr>
    <a:masterClrMapping/>
  </p:clrMapOvr>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Text Box 3"/>
          <p:cNvSpPr txBox="1">
            <a:spLocks noGrp="1" noChangeArrowheads="1"/>
          </p:cNvSpPr>
          <p:nvPr>
            <p:ph type="sldNum" sz="quarter" idx="10"/>
          </p:nvPr>
        </p:nvSpPr>
        <p:spPr>
          <a:ln/>
        </p:spPr>
        <p:txBody>
          <a:bodyPr/>
          <a:lstStyle>
            <a:lvl1pPr>
              <a:defRPr/>
            </a:lvl1pPr>
          </a:lstStyle>
          <a:p>
            <a:pPr>
              <a:defRPr/>
            </a:pPr>
            <a:fld id="{42B6C4F3-6D3A-4624-BDC1-C0B737E4203F}" type="slidenum">
              <a:rPr lang="en-US" altLang="ja-JP"/>
              <a:pPr>
                <a:defRPr/>
              </a:pPr>
              <a:t>‹#›</a:t>
            </a:fld>
            <a:endParaRPr lang="en-US" altLang="ja-JP" dirty="0"/>
          </a:p>
        </p:txBody>
      </p:sp>
    </p:spTree>
  </p:cSld>
  <p:clrMapOvr>
    <a:masterClrMapping/>
  </p:clrMapOvr>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
        <p:nvSpPr>
          <p:cNvPr id="4" name="Text Box 3"/>
          <p:cNvSpPr txBox="1">
            <a:spLocks noGrp="1" noChangeArrowheads="1"/>
          </p:cNvSpPr>
          <p:nvPr>
            <p:ph type="sldNum" sz="quarter" idx="10"/>
          </p:nvPr>
        </p:nvSpPr>
        <p:spPr>
          <a:ln/>
        </p:spPr>
        <p:txBody>
          <a:bodyPr/>
          <a:lstStyle>
            <a:lvl1pPr>
              <a:defRPr/>
            </a:lvl1pPr>
          </a:lstStyle>
          <a:p>
            <a:pPr>
              <a:defRPr/>
            </a:pPr>
            <a:fld id="{0C226D9D-E917-4715-BC32-68C2CC120346}" type="slidenum">
              <a:rPr lang="en-US" altLang="ja-JP"/>
              <a:pPr>
                <a:defRPr/>
              </a:pPr>
              <a:t>‹#›</a:t>
            </a:fld>
            <a:endParaRPr lang="en-US" altLang="ja-JP" dirty="0"/>
          </a:p>
        </p:txBody>
      </p:sp>
    </p:spTree>
  </p:cSld>
  <p:clrMapOvr>
    <a:masterClrMapping/>
  </p:clrMapOvr>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457200" y="1600200"/>
            <a:ext cx="4038600" cy="5257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4648200" y="1600200"/>
            <a:ext cx="4038600" cy="5257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Text Box 3"/>
          <p:cNvSpPr txBox="1">
            <a:spLocks noGrp="1" noChangeArrowheads="1"/>
          </p:cNvSpPr>
          <p:nvPr>
            <p:ph type="sldNum" sz="quarter" idx="10"/>
          </p:nvPr>
        </p:nvSpPr>
        <p:spPr>
          <a:ln/>
        </p:spPr>
        <p:txBody>
          <a:bodyPr/>
          <a:lstStyle>
            <a:lvl1pPr>
              <a:defRPr/>
            </a:lvl1pPr>
          </a:lstStyle>
          <a:p>
            <a:pPr>
              <a:defRPr/>
            </a:pPr>
            <a:fld id="{9A0B8F4E-A4E6-4A22-B3C3-C5523239F779}" type="slidenum">
              <a:rPr lang="en-US" altLang="ja-JP"/>
              <a:pPr>
                <a:defRPr/>
              </a:pPr>
              <a:t>‹#›</a:t>
            </a:fld>
            <a:endParaRPr lang="en-US" altLang="ja-JP" dirty="0"/>
          </a:p>
        </p:txBody>
      </p:sp>
    </p:spTree>
  </p:cSld>
  <p:clrMapOvr>
    <a:masterClrMapping/>
  </p:clrMapOvr>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7" name="Text Box 3"/>
          <p:cNvSpPr txBox="1">
            <a:spLocks noGrp="1" noChangeArrowheads="1"/>
          </p:cNvSpPr>
          <p:nvPr>
            <p:ph type="sldNum" sz="quarter" idx="10"/>
          </p:nvPr>
        </p:nvSpPr>
        <p:spPr>
          <a:ln/>
        </p:spPr>
        <p:txBody>
          <a:bodyPr/>
          <a:lstStyle>
            <a:lvl1pPr>
              <a:defRPr/>
            </a:lvl1pPr>
          </a:lstStyle>
          <a:p>
            <a:pPr>
              <a:defRPr/>
            </a:pPr>
            <a:fld id="{16600C71-5B44-41CA-A608-BAD0FC2436B7}" type="slidenum">
              <a:rPr lang="en-US" altLang="ja-JP"/>
              <a:pPr>
                <a:defRPr/>
              </a:pPr>
              <a:t>‹#›</a:t>
            </a:fld>
            <a:endParaRPr lang="en-US" altLang="ja-JP" dirty="0"/>
          </a:p>
        </p:txBody>
      </p:sp>
    </p:spTree>
  </p:cSld>
  <p:clrMapOvr>
    <a:masterClrMapping/>
  </p:clrMapOvr>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Text Box 3"/>
          <p:cNvSpPr txBox="1">
            <a:spLocks noGrp="1" noChangeArrowheads="1"/>
          </p:cNvSpPr>
          <p:nvPr>
            <p:ph type="sldNum" sz="quarter" idx="10"/>
          </p:nvPr>
        </p:nvSpPr>
        <p:spPr>
          <a:ln/>
        </p:spPr>
        <p:txBody>
          <a:bodyPr/>
          <a:lstStyle>
            <a:lvl1pPr>
              <a:defRPr/>
            </a:lvl1pPr>
          </a:lstStyle>
          <a:p>
            <a:pPr>
              <a:defRPr/>
            </a:pPr>
            <a:fld id="{B985FF57-B4AF-4DAE-AFC5-EFC6806B4B84}" type="slidenum">
              <a:rPr lang="en-US" altLang="ja-JP"/>
              <a:pPr>
                <a:defRPr/>
              </a:pPr>
              <a:t>‹#›</a:t>
            </a:fld>
            <a:endParaRPr lang="en-US" altLang="ja-JP" dirty="0"/>
          </a:p>
        </p:txBody>
      </p:sp>
    </p:spTree>
  </p:cSld>
  <p:clrMapOvr>
    <a:masterClrMapping/>
  </p:clrMapOvr>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Text Box 3"/>
          <p:cNvSpPr txBox="1">
            <a:spLocks noGrp="1" noChangeArrowheads="1"/>
          </p:cNvSpPr>
          <p:nvPr>
            <p:ph type="sldNum" sz="quarter" idx="10"/>
          </p:nvPr>
        </p:nvSpPr>
        <p:spPr>
          <a:ln/>
        </p:spPr>
        <p:txBody>
          <a:bodyPr/>
          <a:lstStyle>
            <a:lvl1pPr>
              <a:defRPr/>
            </a:lvl1pPr>
          </a:lstStyle>
          <a:p>
            <a:pPr>
              <a:defRPr/>
            </a:pPr>
            <a:fld id="{7E340C62-D110-47BE-93D9-2D0F006DBDBF}" type="slidenum">
              <a:rPr lang="en-US" altLang="ja-JP"/>
              <a:pPr>
                <a:defRPr/>
              </a:pPr>
              <a:t>‹#›</a:t>
            </a:fld>
            <a:endParaRPr lang="en-US" altLang="ja-JP" dirty="0"/>
          </a:p>
        </p:txBody>
      </p:sp>
    </p:spTree>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Tree>
  </p:cSld>
  <p:clrMapOvr>
    <a:masterClrMapping/>
  </p:clrMapOvr>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Text Box 3"/>
          <p:cNvSpPr txBox="1">
            <a:spLocks noGrp="1" noChangeArrowheads="1"/>
          </p:cNvSpPr>
          <p:nvPr>
            <p:ph type="sldNum" sz="quarter" idx="10"/>
          </p:nvPr>
        </p:nvSpPr>
        <p:spPr>
          <a:ln/>
        </p:spPr>
        <p:txBody>
          <a:bodyPr/>
          <a:lstStyle>
            <a:lvl1pPr>
              <a:defRPr/>
            </a:lvl1pPr>
          </a:lstStyle>
          <a:p>
            <a:pPr>
              <a:defRPr/>
            </a:pPr>
            <a:fld id="{903B46AC-8C96-4226-B087-C24BAF34BA08}" type="slidenum">
              <a:rPr lang="en-US" altLang="ja-JP"/>
              <a:pPr>
                <a:defRPr/>
              </a:pPr>
              <a:t>‹#›</a:t>
            </a:fld>
            <a:endParaRPr lang="en-US" altLang="ja-JP" dirty="0"/>
          </a:p>
        </p:txBody>
      </p:sp>
    </p:spTree>
  </p:cSld>
  <p:clrMapOvr>
    <a:masterClrMapping/>
  </p:clrMapOvr>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sym typeface="Lucida Grande" charset="0"/>
            </a:endParaRPr>
          </a:p>
        </p:txBody>
      </p:sp>
      <p:sp>
        <p:nvSpPr>
          <p:cNvPr id="4"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Text Box 3"/>
          <p:cNvSpPr txBox="1">
            <a:spLocks noGrp="1" noChangeArrowheads="1"/>
          </p:cNvSpPr>
          <p:nvPr>
            <p:ph type="sldNum" sz="quarter" idx="10"/>
          </p:nvPr>
        </p:nvSpPr>
        <p:spPr>
          <a:ln/>
        </p:spPr>
        <p:txBody>
          <a:bodyPr/>
          <a:lstStyle>
            <a:lvl1pPr>
              <a:defRPr/>
            </a:lvl1pPr>
          </a:lstStyle>
          <a:p>
            <a:pPr>
              <a:defRPr/>
            </a:pPr>
            <a:fld id="{22A43090-6EFB-43DB-BC6A-4374D89B3842}" type="slidenum">
              <a:rPr lang="en-US" altLang="ja-JP"/>
              <a:pPr>
                <a:defRPr/>
              </a:pPr>
              <a:t>‹#›</a:t>
            </a:fld>
            <a:endParaRPr lang="en-US" altLang="ja-JP" dirty="0"/>
          </a:p>
        </p:txBody>
      </p:sp>
    </p:spTree>
  </p:cSld>
  <p:clrMapOvr>
    <a:masterClrMapping/>
  </p:clrMapOvr>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Text Box 3"/>
          <p:cNvSpPr txBox="1">
            <a:spLocks noGrp="1" noChangeArrowheads="1"/>
          </p:cNvSpPr>
          <p:nvPr>
            <p:ph type="sldNum" sz="quarter" idx="10"/>
          </p:nvPr>
        </p:nvSpPr>
        <p:spPr>
          <a:ln/>
        </p:spPr>
        <p:txBody>
          <a:bodyPr/>
          <a:lstStyle>
            <a:lvl1pPr>
              <a:defRPr/>
            </a:lvl1pPr>
          </a:lstStyle>
          <a:p>
            <a:pPr>
              <a:defRPr/>
            </a:pPr>
            <a:fld id="{8AE57AB6-E922-4983-8E06-A36B7B806B10}" type="slidenum">
              <a:rPr lang="en-US" altLang="ja-JP"/>
              <a:pPr>
                <a:defRPr/>
              </a:pPr>
              <a:t>‹#›</a:t>
            </a:fld>
            <a:endParaRPr lang="en-US" altLang="ja-JP" dirty="0"/>
          </a:p>
        </p:txBody>
      </p:sp>
    </p:spTree>
  </p:cSld>
  <p:clrMapOvr>
    <a:masterClrMapping/>
  </p:clrMapOvr>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90488"/>
            <a:ext cx="2057400" cy="6767512"/>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457200" y="90488"/>
            <a:ext cx="6019800" cy="6767512"/>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Text Box 3"/>
          <p:cNvSpPr txBox="1">
            <a:spLocks noGrp="1" noChangeArrowheads="1"/>
          </p:cNvSpPr>
          <p:nvPr>
            <p:ph type="sldNum" sz="quarter" idx="10"/>
          </p:nvPr>
        </p:nvSpPr>
        <p:spPr>
          <a:ln/>
        </p:spPr>
        <p:txBody>
          <a:bodyPr/>
          <a:lstStyle>
            <a:lvl1pPr>
              <a:defRPr/>
            </a:lvl1pPr>
          </a:lstStyle>
          <a:p>
            <a:pPr>
              <a:defRPr/>
            </a:pPr>
            <a:fld id="{C8EF228F-2E0F-4182-932C-FAEBA094F00C}" type="slidenum">
              <a:rPr lang="en-US" altLang="ja-JP"/>
              <a:pPr>
                <a:defRPr/>
              </a:pPr>
              <a:t>‹#›</a:t>
            </a:fld>
            <a:endParaRPr lang="en-US" altLang="ja-JP" dirty="0"/>
          </a:p>
        </p:txBody>
      </p:sp>
    </p:spTree>
  </p:cSld>
  <p:clrMapOvr>
    <a:masterClrMapping/>
  </p:clrMapOvr>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Tree>
  </p:cSld>
  <p:clrMapOvr>
    <a:masterClrMapping/>
  </p:clrMapOvr>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Tree>
  </p:cSld>
  <p:clrMapOvr>
    <a:masterClrMapping/>
  </p:clrMapOvr>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254000" y="3708400"/>
            <a:ext cx="4241800" cy="914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4648200" y="3708400"/>
            <a:ext cx="4241800" cy="914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Tree>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a:prstGeom prst="rect">
            <a:avLst/>
          </a:prstGeom>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cSld>
  <p:clrMapOvr>
    <a:masterClrMapping/>
  </p:clrMapOvr>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sym typeface="Gill Sans Light" charset="0"/>
            </a:endParaRPr>
          </a:p>
        </p:txBody>
      </p:sp>
      <p:sp>
        <p:nvSpPr>
          <p:cNvPr id="4"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731000" y="1435100"/>
            <a:ext cx="2159000" cy="3187700"/>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254000" y="1435100"/>
            <a:ext cx="6324600" cy="3187700"/>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Tree>
  </p:cSld>
  <p:clrMapOvr>
    <a:masterClrMapping/>
  </p:clrMapOvr>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Tree>
  </p:cSld>
  <p:clrMapOvr>
    <a:masterClrMapping/>
  </p:clrMapOvr>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254000" y="3429000"/>
            <a:ext cx="2000250" cy="914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2406650" y="3429000"/>
            <a:ext cx="2000250" cy="914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a:prstGeom prst="rect">
            <a:avLst/>
          </a:prstGeom>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Tree>
  </p:cSld>
  <p:clrMapOvr>
    <a:masterClrMapping/>
  </p:clrMapOvr>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cSld>
  <p:clrMapOvr>
    <a:masterClrMapping/>
  </p:clrMapOvr>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sym typeface="Gill Sans Light" charset="0"/>
            </a:endParaRPr>
          </a:p>
        </p:txBody>
      </p:sp>
      <p:sp>
        <p:nvSpPr>
          <p:cNvPr id="4"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3368675" y="977900"/>
            <a:ext cx="1038225" cy="3365500"/>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254000" y="977900"/>
            <a:ext cx="2962275" cy="3365500"/>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Tree>
  </p:cSld>
  <p:clrMapOvr>
    <a:masterClrMapping/>
  </p:clrMapOvr>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Tree>
  </p:cSld>
  <p:clrMapOvr>
    <a:masterClrMapping/>
  </p:clrMapOvr>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254000" y="3429000"/>
            <a:ext cx="2000250" cy="914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2406650" y="3429000"/>
            <a:ext cx="2000250" cy="914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a:prstGeom prst="rect">
            <a:avLst/>
          </a:prstGeom>
        </p:spPr>
        <p:txBody>
          <a:bodyPr/>
          <a:lstStyle/>
          <a:p>
            <a:r>
              <a:rPr lang="ja-JP" altLang="en-US" smtClean="0"/>
              <a:t>マスタ タイトルの書式設定</a:t>
            </a:r>
            <a:endParaRPr lang="ja-JP" altLang="en-US"/>
          </a:p>
        </p:txBody>
      </p:sp>
    </p:spTree>
  </p:cSld>
  <p:clrMapOvr>
    <a:masterClrMapping/>
  </p:clrMapOvr>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Tree>
  </p:cSld>
  <p:clrMapOvr>
    <a:masterClrMapping/>
  </p:clrMapOvr>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cSld>
  <p:clrMapOvr>
    <a:masterClrMapping/>
  </p:clrMapOvr>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sym typeface="Gill Sans Light" charset="0"/>
            </a:endParaRPr>
          </a:p>
        </p:txBody>
      </p:sp>
      <p:sp>
        <p:nvSpPr>
          <p:cNvPr id="4"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3368675" y="977900"/>
            <a:ext cx="1038225" cy="3365500"/>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254000" y="977900"/>
            <a:ext cx="2962275" cy="3365500"/>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Tree>
  </p:cSld>
  <p:clrMapOvr>
    <a:masterClrMapping/>
  </p:clrMapOvr>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457200" y="1600200"/>
            <a:ext cx="8229600" cy="4525963"/>
          </a:xfrm>
          <a:prstGeom prst="rect">
            <a:avLst/>
          </a:prstGeom>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Tree>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cSld>
  <p:clrMapOvr>
    <a:masterClrMapping/>
  </p:clrMapOvr>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Tree>
  </p:cSld>
  <p:clrMapOvr>
    <a:masterClrMapping/>
  </p:clrMapOvr>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cSld>
  <p:clrMapOvr>
    <a:masterClrMapping/>
  </p:clrMapOvr>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sym typeface="Gill Sans Light" charset="0"/>
            </a:endParaRPr>
          </a:p>
        </p:txBody>
      </p:sp>
      <p:sp>
        <p:nvSpPr>
          <p:cNvPr id="4" name="テキスト プレースホルダ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457200" y="1600200"/>
            <a:ext cx="8229600" cy="4525963"/>
          </a:xfrm>
          <a:prstGeom prst="rect">
            <a:avLst/>
          </a:prstGeo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731000" y="1600200"/>
            <a:ext cx="2159000" cy="4525963"/>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254000" y="1600200"/>
            <a:ext cx="6324600" cy="4525963"/>
          </a:xfrm>
          <a:prstGeom prst="rect">
            <a:avLst/>
          </a:prstGeo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Tree>
  </p:cSld>
  <p:clrMapOvr>
    <a:masterClrMapping/>
  </p:clrMapOvr>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457200" y="1600200"/>
            <a:ext cx="8229600" cy="4525963"/>
          </a:xfrm>
          <a:prstGeom prst="rect">
            <a:avLst/>
          </a:prstGeom>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a:prstGeom prst="rect">
            <a:avLst/>
          </a:prstGeom>
        </p:spPr>
        <p:txBody>
          <a:bodyPr anchor="b"/>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Tree>
  </p:cSld>
  <p:clrMapOvr>
    <a:masterClrMapping/>
  </p:clrMapOvr>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Tree>
  </p:cSld>
  <p:clrMapOvr>
    <a:masterClrMapping/>
  </p:clrMapOvr>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cSld>
  <p:clrMapOvr>
    <a:masterClrMapping/>
  </p:clrMapOvr>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sym typeface="Gill Sans Light" charset="0"/>
            </a:endParaRPr>
          </a:p>
        </p:txBody>
      </p:sp>
      <p:sp>
        <p:nvSpPr>
          <p:cNvPr id="4" name="テキスト プレースホルダ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457200" y="1600200"/>
            <a:ext cx="8229600" cy="4525963"/>
          </a:xfrm>
          <a:prstGeom prst="rect">
            <a:avLst/>
          </a:prstGeo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731000" y="1600200"/>
            <a:ext cx="2159000" cy="4525963"/>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254000" y="1600200"/>
            <a:ext cx="6324600" cy="4525963"/>
          </a:xfrm>
          <a:prstGeom prst="rect">
            <a:avLst/>
          </a:prstGeo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a:prstGeom prst="rect">
            <a:avLst/>
          </a:prstGeom>
        </p:spPr>
        <p:txBody>
          <a:bodyPr anchor="b"/>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sym typeface="Palatino" charset="0"/>
            </a:endParaRPr>
          </a:p>
        </p:txBody>
      </p:sp>
      <p:sp>
        <p:nvSpPr>
          <p:cNvPr id="4" name="テキスト プレースホルダ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457200" y="1600200"/>
            <a:ext cx="8229600" cy="4525963"/>
          </a:xfrm>
          <a:prstGeom prst="rect">
            <a:avLst/>
          </a:prstGeom>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Tree>
  </p:cSld>
  <p:clrMapOvr>
    <a:masterClrMapping/>
  </p:clrMapOvr>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Tree>
  </p:cSld>
  <p:clrMapOvr>
    <a:masterClrMapping/>
  </p:clrMapOvr>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cSld>
  <p:clrMapOvr>
    <a:masterClrMapping/>
  </p:clrMapOvr>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sym typeface="Gill Sans Light" charset="0"/>
            </a:endParaRPr>
          </a:p>
        </p:txBody>
      </p:sp>
      <p:sp>
        <p:nvSpPr>
          <p:cNvPr id="4" name="テキスト プレースホルダ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457200" y="1600200"/>
            <a:ext cx="8229600" cy="4525963"/>
          </a:xfrm>
          <a:prstGeom prst="rect">
            <a:avLst/>
          </a:prstGeo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731000" y="1600200"/>
            <a:ext cx="2159000" cy="4525963"/>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254000" y="1600200"/>
            <a:ext cx="6324600" cy="4525963"/>
          </a:xfrm>
          <a:prstGeom prst="rect">
            <a:avLst/>
          </a:prstGeo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a:prstGeom prst="rect">
            <a:avLst/>
          </a:prstGeom>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457200" y="1600200"/>
            <a:ext cx="8229600" cy="4525963"/>
          </a:xfrm>
          <a:prstGeom prst="rect">
            <a:avLst/>
          </a:prstGeo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Tree>
  </p:cSld>
  <p:clrMapOvr>
    <a:masterClrMapping/>
  </p:clrMapOvr>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Tree>
  </p:cSld>
  <p:clrMapOvr>
    <a:masterClrMapping/>
  </p:clrMapOvr>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254000" y="5676900"/>
            <a:ext cx="4241800" cy="8509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4648200" y="5676900"/>
            <a:ext cx="4241800" cy="8509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Tree>
  </p:cSld>
  <p:clrMapOvr>
    <a:masterClrMapping/>
  </p:clrMapOvr>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cSld>
  <p:clrMapOvr>
    <a:masterClrMapping/>
  </p:clrMapOvr>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sym typeface="Gill Sans Light" charset="0"/>
            </a:endParaRPr>
          </a:p>
        </p:txBody>
      </p:sp>
      <p:sp>
        <p:nvSpPr>
          <p:cNvPr id="4"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274638"/>
            <a:ext cx="2057400" cy="5851525"/>
          </a:xfrm>
          <a:prstGeom prst="rect">
            <a:avLst/>
          </a:prstGeo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457200" y="274638"/>
            <a:ext cx="6019800" cy="5851525"/>
          </a:xfrm>
          <a:prstGeom prst="rect">
            <a:avLst/>
          </a:prstGeo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731000" y="4813300"/>
            <a:ext cx="2159000" cy="1714500"/>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254000" y="4813300"/>
            <a:ext cx="6324600" cy="1714500"/>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Tree>
  </p:cSld>
  <p:clrMapOvr>
    <a:masterClrMapping/>
  </p:clrMapOvr>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Tree>
  </p:cSld>
  <p:clrMapOvr>
    <a:masterClrMapping/>
  </p:clrMapOvr>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254000" y="5676900"/>
            <a:ext cx="4241800" cy="8509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4648200" y="5676900"/>
            <a:ext cx="4241800" cy="8509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Tree>
  </p:cSld>
  <p:clrMapOvr>
    <a:masterClrMapping/>
  </p:clrMapOvr>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cSld>
  <p:clrMapOvr>
    <a:masterClrMapping/>
  </p:clrMapOvr>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sym typeface="Gill Sans Light" charset="0"/>
            </a:endParaRPr>
          </a:p>
        </p:txBody>
      </p:sp>
      <p:sp>
        <p:nvSpPr>
          <p:cNvPr id="4"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Tree>
  </p:cSld>
  <p:clrMapOvr>
    <a:masterClrMapping/>
  </p:clrMapOvr>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731000" y="4813300"/>
            <a:ext cx="2159000" cy="1714500"/>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254000" y="4813300"/>
            <a:ext cx="6324600" cy="1714500"/>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Tree>
  </p:cSld>
  <p:clrMapOvr>
    <a:masterClrMapping/>
  </p:clrMapOvr>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Tree>
  </p:cSld>
  <p:clrMapOvr>
    <a:masterClrMapping/>
  </p:clrMapOvr>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4749800" y="2235200"/>
            <a:ext cx="2000250" cy="4102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6902450" y="2235200"/>
            <a:ext cx="2000250" cy="4102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Tree>
  </p:cSld>
  <p:clrMapOvr>
    <a:masterClrMapping/>
  </p:clrMapOvr>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cSld>
  <p:clrMapOvr>
    <a:masterClrMapping/>
  </p:clrMapOvr>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sym typeface="Gill Sans Light" charset="0"/>
            </a:endParaRPr>
          </a:p>
        </p:txBody>
      </p:sp>
      <p:sp>
        <p:nvSpPr>
          <p:cNvPr id="4"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740525" y="177800"/>
            <a:ext cx="2162175" cy="6159500"/>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254000" y="177800"/>
            <a:ext cx="6334125" cy="6159500"/>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
        <p:nvSpPr>
          <p:cNvPr id="4" name="Text Box 4"/>
          <p:cNvSpPr txBox="1">
            <a:spLocks noGrp="1" noChangeArrowheads="1"/>
          </p:cNvSpPr>
          <p:nvPr>
            <p:ph type="sldNum" sz="quarter" idx="10"/>
          </p:nvPr>
        </p:nvSpPr>
        <p:spPr>
          <a:ln/>
        </p:spPr>
        <p:txBody>
          <a:bodyPr/>
          <a:lstStyle>
            <a:lvl1pPr>
              <a:defRPr/>
            </a:lvl1pPr>
          </a:lstStyle>
          <a:p>
            <a:pPr>
              <a:defRPr/>
            </a:pPr>
            <a:fld id="{01BEDA1C-14E0-4A9F-8632-FCAFB27D6A80}" type="slidenum">
              <a:rPr lang="en-US" altLang="ja-JP"/>
              <a:pPr>
                <a:defRPr/>
              </a:pPr>
              <a:t>‹#›</a:t>
            </a:fld>
            <a:endParaRPr lang="en-US" altLang="ja-JP" dirty="0"/>
          </a:p>
        </p:txBody>
      </p:sp>
    </p:spTree>
  </p:cSld>
  <p:clrMapOvr>
    <a:masterClrMapping/>
  </p:clrMapOvr>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Text Box 4"/>
          <p:cNvSpPr txBox="1">
            <a:spLocks noGrp="1" noChangeArrowheads="1"/>
          </p:cNvSpPr>
          <p:nvPr>
            <p:ph type="sldNum" sz="quarter" idx="10"/>
          </p:nvPr>
        </p:nvSpPr>
        <p:spPr>
          <a:ln/>
        </p:spPr>
        <p:txBody>
          <a:bodyPr/>
          <a:lstStyle>
            <a:lvl1pPr>
              <a:defRPr/>
            </a:lvl1pPr>
          </a:lstStyle>
          <a:p>
            <a:pPr>
              <a:defRPr/>
            </a:pPr>
            <a:fld id="{A09094E0-BB27-4241-9366-10F20AD85F75}" type="slidenum">
              <a:rPr lang="en-US" altLang="ja-JP"/>
              <a:pPr>
                <a:defRPr/>
              </a:pPr>
              <a:t>‹#›</a:t>
            </a:fld>
            <a:endParaRPr lang="en-US" altLang="ja-JP" dirty="0"/>
          </a:p>
        </p:txBody>
      </p:sp>
    </p:spTree>
  </p:cSld>
  <p:clrMapOvr>
    <a:masterClrMapping/>
  </p:clrMapOvr>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
        <p:nvSpPr>
          <p:cNvPr id="4" name="Text Box 4"/>
          <p:cNvSpPr txBox="1">
            <a:spLocks noGrp="1" noChangeArrowheads="1"/>
          </p:cNvSpPr>
          <p:nvPr>
            <p:ph type="sldNum" sz="quarter" idx="10"/>
          </p:nvPr>
        </p:nvSpPr>
        <p:spPr>
          <a:ln/>
        </p:spPr>
        <p:txBody>
          <a:bodyPr/>
          <a:lstStyle>
            <a:lvl1pPr>
              <a:defRPr/>
            </a:lvl1pPr>
          </a:lstStyle>
          <a:p>
            <a:pPr>
              <a:defRPr/>
            </a:pPr>
            <a:fld id="{D1BAE54F-BDA0-4B90-8DF4-9837D6675D48}" type="slidenum">
              <a:rPr lang="en-US" altLang="ja-JP"/>
              <a:pPr>
                <a:defRPr/>
              </a:pPr>
              <a:t>‹#›</a:t>
            </a:fld>
            <a:endParaRPr lang="en-US" altLang="ja-JP" dirty="0"/>
          </a:p>
        </p:txBody>
      </p:sp>
    </p:spTree>
  </p:cSld>
  <p:clrMapOvr>
    <a:masterClrMapping/>
  </p:clrMapOvr>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457200" y="1600200"/>
            <a:ext cx="4038600" cy="5257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4648200" y="1600200"/>
            <a:ext cx="4038600" cy="5257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Text Box 4"/>
          <p:cNvSpPr txBox="1">
            <a:spLocks noGrp="1" noChangeArrowheads="1"/>
          </p:cNvSpPr>
          <p:nvPr>
            <p:ph type="sldNum" sz="quarter" idx="10"/>
          </p:nvPr>
        </p:nvSpPr>
        <p:spPr>
          <a:ln/>
        </p:spPr>
        <p:txBody>
          <a:bodyPr/>
          <a:lstStyle>
            <a:lvl1pPr>
              <a:defRPr/>
            </a:lvl1pPr>
          </a:lstStyle>
          <a:p>
            <a:pPr>
              <a:defRPr/>
            </a:pPr>
            <a:fld id="{3511C5E4-C373-4ACC-9F57-A96DA7C753A0}" type="slidenum">
              <a:rPr lang="en-US" altLang="ja-JP"/>
              <a:pPr>
                <a:defRPr/>
              </a:pPr>
              <a:t>‹#›</a:t>
            </a:fld>
            <a:endParaRPr lang="en-US" altLang="ja-JP" dirty="0"/>
          </a:p>
        </p:txBody>
      </p:sp>
    </p:spTree>
  </p:cSld>
  <p:clrMapOvr>
    <a:masterClrMapping/>
  </p:clrMapOvr>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7" name="Text Box 4"/>
          <p:cNvSpPr txBox="1">
            <a:spLocks noGrp="1" noChangeArrowheads="1"/>
          </p:cNvSpPr>
          <p:nvPr>
            <p:ph type="sldNum" sz="quarter" idx="10"/>
          </p:nvPr>
        </p:nvSpPr>
        <p:spPr>
          <a:ln/>
        </p:spPr>
        <p:txBody>
          <a:bodyPr/>
          <a:lstStyle>
            <a:lvl1pPr>
              <a:defRPr/>
            </a:lvl1pPr>
          </a:lstStyle>
          <a:p>
            <a:pPr>
              <a:defRPr/>
            </a:pPr>
            <a:fld id="{FA097219-2097-43B7-8785-5AF7100C4CF5}" type="slidenum">
              <a:rPr lang="en-US" altLang="ja-JP"/>
              <a:pPr>
                <a:defRPr/>
              </a:pPr>
              <a:t>‹#›</a:t>
            </a:fld>
            <a:endParaRPr lang="en-US" altLang="ja-JP" dirty="0"/>
          </a:p>
        </p:txBody>
      </p:sp>
    </p:spTree>
  </p:cSld>
  <p:clrMapOvr>
    <a:masterClrMapping/>
  </p:clrMapOvr>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Text Box 4"/>
          <p:cNvSpPr txBox="1">
            <a:spLocks noGrp="1" noChangeArrowheads="1"/>
          </p:cNvSpPr>
          <p:nvPr>
            <p:ph type="sldNum" sz="quarter" idx="10"/>
          </p:nvPr>
        </p:nvSpPr>
        <p:spPr>
          <a:ln/>
        </p:spPr>
        <p:txBody>
          <a:bodyPr/>
          <a:lstStyle>
            <a:lvl1pPr>
              <a:defRPr/>
            </a:lvl1pPr>
          </a:lstStyle>
          <a:p>
            <a:pPr>
              <a:defRPr/>
            </a:pPr>
            <a:fld id="{9F4E30CE-2FD8-4FCE-AA6F-0A022E1F327A}" type="slidenum">
              <a:rPr lang="en-US" altLang="ja-JP"/>
              <a:pPr>
                <a:defRPr/>
              </a:pPr>
              <a:t>‹#›</a:t>
            </a:fld>
            <a:endParaRPr lang="en-US" altLang="ja-JP" dirty="0"/>
          </a:p>
        </p:txBody>
      </p:sp>
    </p:spTree>
  </p:cSld>
  <p:clrMapOvr>
    <a:masterClrMapping/>
  </p:clrMapOvr>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Text Box 4"/>
          <p:cNvSpPr txBox="1">
            <a:spLocks noGrp="1" noChangeArrowheads="1"/>
          </p:cNvSpPr>
          <p:nvPr>
            <p:ph type="sldNum" sz="quarter" idx="10"/>
          </p:nvPr>
        </p:nvSpPr>
        <p:spPr>
          <a:ln/>
        </p:spPr>
        <p:txBody>
          <a:bodyPr/>
          <a:lstStyle>
            <a:lvl1pPr>
              <a:defRPr/>
            </a:lvl1pPr>
          </a:lstStyle>
          <a:p>
            <a:pPr>
              <a:defRPr/>
            </a:pPr>
            <a:fld id="{8E6F3D73-38E7-4A02-864C-8211AC17A3A3}" type="slidenum">
              <a:rPr lang="en-US" altLang="ja-JP"/>
              <a:pPr>
                <a:defRPr/>
              </a:pPr>
              <a:t>‹#›</a:t>
            </a:fld>
            <a:endParaRPr lang="en-US" altLang="ja-JP" dirty="0"/>
          </a:p>
        </p:txBody>
      </p:sp>
    </p:spTree>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Tree>
  </p:cSld>
  <p:clrMapOvr>
    <a:masterClrMapping/>
  </p:clrMapOvr>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Text Box 4"/>
          <p:cNvSpPr txBox="1">
            <a:spLocks noGrp="1" noChangeArrowheads="1"/>
          </p:cNvSpPr>
          <p:nvPr>
            <p:ph type="sldNum" sz="quarter" idx="10"/>
          </p:nvPr>
        </p:nvSpPr>
        <p:spPr>
          <a:ln/>
        </p:spPr>
        <p:txBody>
          <a:bodyPr/>
          <a:lstStyle>
            <a:lvl1pPr>
              <a:defRPr/>
            </a:lvl1pPr>
          </a:lstStyle>
          <a:p>
            <a:pPr>
              <a:defRPr/>
            </a:pPr>
            <a:fld id="{135C4633-874A-4495-900B-5A412567652C}" type="slidenum">
              <a:rPr lang="en-US" altLang="ja-JP"/>
              <a:pPr>
                <a:defRPr/>
              </a:pPr>
              <a:t>‹#›</a:t>
            </a:fld>
            <a:endParaRPr lang="en-US" altLang="ja-JP" dirty="0"/>
          </a:p>
        </p:txBody>
      </p:sp>
    </p:spTree>
  </p:cSld>
  <p:clrMapOvr>
    <a:masterClrMapping/>
  </p:clrMapOvr>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sym typeface="Lucida Grande" charset="0"/>
            </a:endParaRPr>
          </a:p>
        </p:txBody>
      </p:sp>
      <p:sp>
        <p:nvSpPr>
          <p:cNvPr id="4"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Text Box 4"/>
          <p:cNvSpPr txBox="1">
            <a:spLocks noGrp="1" noChangeArrowheads="1"/>
          </p:cNvSpPr>
          <p:nvPr>
            <p:ph type="sldNum" sz="quarter" idx="10"/>
          </p:nvPr>
        </p:nvSpPr>
        <p:spPr>
          <a:ln/>
        </p:spPr>
        <p:txBody>
          <a:bodyPr/>
          <a:lstStyle>
            <a:lvl1pPr>
              <a:defRPr/>
            </a:lvl1pPr>
          </a:lstStyle>
          <a:p>
            <a:pPr>
              <a:defRPr/>
            </a:pPr>
            <a:fld id="{3C34788C-A4C0-4E9C-B55E-1F26E8B312E5}" type="slidenum">
              <a:rPr lang="en-US" altLang="ja-JP"/>
              <a:pPr>
                <a:defRPr/>
              </a:pPr>
              <a:t>‹#›</a:t>
            </a:fld>
            <a:endParaRPr lang="en-US" altLang="ja-JP" dirty="0"/>
          </a:p>
        </p:txBody>
      </p:sp>
    </p:spTree>
  </p:cSld>
  <p:clrMapOvr>
    <a:masterClrMapping/>
  </p:clrMapOvr>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Text Box 4"/>
          <p:cNvSpPr txBox="1">
            <a:spLocks noGrp="1" noChangeArrowheads="1"/>
          </p:cNvSpPr>
          <p:nvPr>
            <p:ph type="sldNum" sz="quarter" idx="10"/>
          </p:nvPr>
        </p:nvSpPr>
        <p:spPr>
          <a:ln/>
        </p:spPr>
        <p:txBody>
          <a:bodyPr/>
          <a:lstStyle>
            <a:lvl1pPr>
              <a:defRPr/>
            </a:lvl1pPr>
          </a:lstStyle>
          <a:p>
            <a:pPr>
              <a:defRPr/>
            </a:pPr>
            <a:fld id="{23294DB8-0ABD-40AA-B862-DB27CECFD8FE}" type="slidenum">
              <a:rPr lang="en-US" altLang="ja-JP"/>
              <a:pPr>
                <a:defRPr/>
              </a:pPr>
              <a:t>‹#›</a:t>
            </a:fld>
            <a:endParaRPr lang="en-US" altLang="ja-JP" dirty="0"/>
          </a:p>
        </p:txBody>
      </p:sp>
    </p:spTree>
  </p:cSld>
  <p:clrMapOvr>
    <a:masterClrMapping/>
  </p:clrMapOvr>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90488"/>
            <a:ext cx="2057400" cy="6767512"/>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457200" y="90488"/>
            <a:ext cx="6019800" cy="6767512"/>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Text Box 4"/>
          <p:cNvSpPr txBox="1">
            <a:spLocks noGrp="1" noChangeArrowheads="1"/>
          </p:cNvSpPr>
          <p:nvPr>
            <p:ph type="sldNum" sz="quarter" idx="10"/>
          </p:nvPr>
        </p:nvSpPr>
        <p:spPr>
          <a:ln/>
        </p:spPr>
        <p:txBody>
          <a:bodyPr/>
          <a:lstStyle>
            <a:lvl1pPr>
              <a:defRPr/>
            </a:lvl1pPr>
          </a:lstStyle>
          <a:p>
            <a:pPr>
              <a:defRPr/>
            </a:pPr>
            <a:fld id="{CDBAA05A-C78C-4E75-80F4-BCA44B0C4399}" type="slidenum">
              <a:rPr lang="en-US" altLang="ja-JP"/>
              <a:pPr>
                <a:defRPr/>
              </a:pPr>
              <a:t>‹#›</a:t>
            </a:fld>
            <a:endParaRPr lang="en-US" altLang="ja-JP" dirty="0"/>
          </a:p>
        </p:txBody>
      </p:sp>
    </p:spTree>
  </p:cSld>
  <p:clrMapOvr>
    <a:masterClrMapping/>
  </p:clrMapOvr>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Tree>
  </p:cSld>
  <p:clrMapOvr>
    <a:masterClrMapping/>
  </p:clrMapOvr>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Tree>
  </p:cSld>
  <p:clrMapOvr>
    <a:masterClrMapping/>
  </p:clrMapOvr>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254000" y="2235200"/>
            <a:ext cx="2000250" cy="4102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2406650" y="2235200"/>
            <a:ext cx="2000250" cy="4102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Tree>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304800" y="3378200"/>
            <a:ext cx="2235200" cy="2324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2692400" y="3378200"/>
            <a:ext cx="2235200" cy="2324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cSld>
  <p:clrMapOvr>
    <a:masterClrMapping/>
  </p:clrMapOvr>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sym typeface="Gill Sans Light" charset="0"/>
            </a:endParaRPr>
          </a:p>
        </p:txBody>
      </p:sp>
      <p:sp>
        <p:nvSpPr>
          <p:cNvPr id="4"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731000" y="177800"/>
            <a:ext cx="2159000" cy="6159500"/>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254000" y="177800"/>
            <a:ext cx="6324600" cy="6159500"/>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Tree>
  </p:cSld>
  <p:clrMapOvr>
    <a:masterClrMapping/>
  </p:clrMapOvr>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Tree>
  </p:cSld>
  <p:clrMapOvr>
    <a:masterClrMapping/>
  </p:clrMapOvr>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254000" y="2235200"/>
            <a:ext cx="2000250" cy="4102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2406650" y="2235200"/>
            <a:ext cx="2000250" cy="4102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Tree>
  </p:cSld>
  <p:clrMapOvr>
    <a:masterClrMapping/>
  </p:clrMapOvr>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cSld>
  <p:clrMapOvr>
    <a:masterClrMapping/>
  </p:clrMapOvr>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sym typeface="Gill Sans Light" charset="0"/>
            </a:endParaRPr>
          </a:p>
        </p:txBody>
      </p:sp>
      <p:sp>
        <p:nvSpPr>
          <p:cNvPr id="4"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731000" y="177800"/>
            <a:ext cx="2159000" cy="6159500"/>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254000" y="177800"/>
            <a:ext cx="6324600" cy="6159500"/>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
        <p:nvSpPr>
          <p:cNvPr id="4" name="Text Box 4"/>
          <p:cNvSpPr txBox="1">
            <a:spLocks noGrp="1" noChangeArrowheads="1"/>
          </p:cNvSpPr>
          <p:nvPr>
            <p:ph type="sldNum" sz="quarter" idx="10"/>
          </p:nvPr>
        </p:nvSpPr>
        <p:spPr>
          <a:ln/>
        </p:spPr>
        <p:txBody>
          <a:bodyPr/>
          <a:lstStyle>
            <a:lvl1pPr>
              <a:defRPr/>
            </a:lvl1pPr>
          </a:lstStyle>
          <a:p>
            <a:pPr>
              <a:defRPr/>
            </a:pPr>
            <a:fld id="{BFECF040-BA16-4BED-8D9E-3CCE6A7A3AA5}" type="slidenum">
              <a:rPr lang="en-US" altLang="ja-JP"/>
              <a:pPr>
                <a:defRPr/>
              </a:pPr>
              <a:t>‹#›</a:t>
            </a:fld>
            <a:endParaRPr lang="en-US" altLang="ja-JP" dirty="0"/>
          </a:p>
        </p:txBody>
      </p:sp>
    </p:spTree>
  </p:cSld>
  <p:clrMapOvr>
    <a:masterClrMapping/>
  </p:clrMapOvr>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Text Box 4"/>
          <p:cNvSpPr txBox="1">
            <a:spLocks noGrp="1" noChangeArrowheads="1"/>
          </p:cNvSpPr>
          <p:nvPr>
            <p:ph type="sldNum" sz="quarter" idx="10"/>
          </p:nvPr>
        </p:nvSpPr>
        <p:spPr>
          <a:ln/>
        </p:spPr>
        <p:txBody>
          <a:bodyPr/>
          <a:lstStyle>
            <a:lvl1pPr>
              <a:defRPr/>
            </a:lvl1pPr>
          </a:lstStyle>
          <a:p>
            <a:pPr>
              <a:defRPr/>
            </a:pPr>
            <a:fld id="{63C54AF6-A64B-4D11-AAAB-3F00F069E182}" type="slidenum">
              <a:rPr lang="en-US" altLang="ja-JP"/>
              <a:pPr>
                <a:defRPr/>
              </a:pPr>
              <a:t>‹#›</a:t>
            </a:fld>
            <a:endParaRPr lang="en-US" altLang="ja-JP" dirty="0"/>
          </a:p>
        </p:txBody>
      </p:sp>
    </p:spTree>
  </p:cSld>
  <p:clrMapOvr>
    <a:masterClrMapping/>
  </p:clrMapOvr>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
        <p:nvSpPr>
          <p:cNvPr id="4" name="Text Box 4"/>
          <p:cNvSpPr txBox="1">
            <a:spLocks noGrp="1" noChangeArrowheads="1"/>
          </p:cNvSpPr>
          <p:nvPr>
            <p:ph type="sldNum" sz="quarter" idx="10"/>
          </p:nvPr>
        </p:nvSpPr>
        <p:spPr>
          <a:ln/>
        </p:spPr>
        <p:txBody>
          <a:bodyPr/>
          <a:lstStyle>
            <a:lvl1pPr>
              <a:defRPr/>
            </a:lvl1pPr>
          </a:lstStyle>
          <a:p>
            <a:pPr>
              <a:defRPr/>
            </a:pPr>
            <a:fld id="{4F0F17CC-4877-4996-957A-0475FADF49CE}" type="slidenum">
              <a:rPr lang="en-US" altLang="ja-JP"/>
              <a:pPr>
                <a:defRPr/>
              </a:pPr>
              <a:t>‹#›</a:t>
            </a:fld>
            <a:endParaRPr lang="en-US" altLang="ja-JP" dirty="0"/>
          </a:p>
        </p:txBody>
      </p:sp>
    </p:spTree>
  </p:cSld>
  <p:clrMapOvr>
    <a:masterClrMapping/>
  </p:clrMapOvr>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457200" y="1600200"/>
            <a:ext cx="4038600" cy="5257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4648200" y="1600200"/>
            <a:ext cx="4038600" cy="5257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Text Box 4"/>
          <p:cNvSpPr txBox="1">
            <a:spLocks noGrp="1" noChangeArrowheads="1"/>
          </p:cNvSpPr>
          <p:nvPr>
            <p:ph type="sldNum" sz="quarter" idx="10"/>
          </p:nvPr>
        </p:nvSpPr>
        <p:spPr>
          <a:ln/>
        </p:spPr>
        <p:txBody>
          <a:bodyPr/>
          <a:lstStyle>
            <a:lvl1pPr>
              <a:defRPr/>
            </a:lvl1pPr>
          </a:lstStyle>
          <a:p>
            <a:pPr>
              <a:defRPr/>
            </a:pPr>
            <a:fld id="{AFF732F7-CE0E-4465-A17B-4CF113A90BC8}" type="slidenum">
              <a:rPr lang="en-US" altLang="ja-JP"/>
              <a:pPr>
                <a:defRPr/>
              </a:pPr>
              <a:t>‹#›</a:t>
            </a:fld>
            <a:endParaRPr lang="en-US" altLang="ja-JP" dirty="0"/>
          </a:p>
        </p:txBody>
      </p:sp>
    </p:spTree>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Tree>
  </p:cSld>
  <p:clrMapOvr>
    <a:masterClrMapping/>
  </p:clrMapOvr>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7" name="Text Box 4"/>
          <p:cNvSpPr txBox="1">
            <a:spLocks noGrp="1" noChangeArrowheads="1"/>
          </p:cNvSpPr>
          <p:nvPr>
            <p:ph type="sldNum" sz="quarter" idx="10"/>
          </p:nvPr>
        </p:nvSpPr>
        <p:spPr>
          <a:ln/>
        </p:spPr>
        <p:txBody>
          <a:bodyPr/>
          <a:lstStyle>
            <a:lvl1pPr>
              <a:defRPr/>
            </a:lvl1pPr>
          </a:lstStyle>
          <a:p>
            <a:pPr>
              <a:defRPr/>
            </a:pPr>
            <a:fld id="{019F37F2-3143-43DE-93A5-7DBAC80E10A8}" type="slidenum">
              <a:rPr lang="en-US" altLang="ja-JP"/>
              <a:pPr>
                <a:defRPr/>
              </a:pPr>
              <a:t>‹#›</a:t>
            </a:fld>
            <a:endParaRPr lang="en-US" altLang="ja-JP" dirty="0"/>
          </a:p>
        </p:txBody>
      </p:sp>
    </p:spTree>
  </p:cSld>
  <p:clrMapOvr>
    <a:masterClrMapping/>
  </p:clrMapOvr>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Text Box 4"/>
          <p:cNvSpPr txBox="1">
            <a:spLocks noGrp="1" noChangeArrowheads="1"/>
          </p:cNvSpPr>
          <p:nvPr>
            <p:ph type="sldNum" sz="quarter" idx="10"/>
          </p:nvPr>
        </p:nvSpPr>
        <p:spPr>
          <a:ln/>
        </p:spPr>
        <p:txBody>
          <a:bodyPr/>
          <a:lstStyle>
            <a:lvl1pPr>
              <a:defRPr/>
            </a:lvl1pPr>
          </a:lstStyle>
          <a:p>
            <a:pPr>
              <a:defRPr/>
            </a:pPr>
            <a:fld id="{0B10C2C0-AF1F-4A12-A995-C9231ED506DF}" type="slidenum">
              <a:rPr lang="en-US" altLang="ja-JP"/>
              <a:pPr>
                <a:defRPr/>
              </a:pPr>
              <a:t>‹#›</a:t>
            </a:fld>
            <a:endParaRPr lang="en-US" altLang="ja-JP" dirty="0"/>
          </a:p>
        </p:txBody>
      </p:sp>
    </p:spTree>
  </p:cSld>
  <p:clrMapOvr>
    <a:masterClrMapping/>
  </p:clrMapOvr>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Text Box 4"/>
          <p:cNvSpPr txBox="1">
            <a:spLocks noGrp="1" noChangeArrowheads="1"/>
          </p:cNvSpPr>
          <p:nvPr>
            <p:ph type="sldNum" sz="quarter" idx="10"/>
          </p:nvPr>
        </p:nvSpPr>
        <p:spPr>
          <a:ln/>
        </p:spPr>
        <p:txBody>
          <a:bodyPr/>
          <a:lstStyle>
            <a:lvl1pPr>
              <a:defRPr/>
            </a:lvl1pPr>
          </a:lstStyle>
          <a:p>
            <a:pPr>
              <a:defRPr/>
            </a:pPr>
            <a:fld id="{BC9A7266-CCC9-4E83-9A1B-F96641496273}" type="slidenum">
              <a:rPr lang="en-US" altLang="ja-JP"/>
              <a:pPr>
                <a:defRPr/>
              </a:pPr>
              <a:t>‹#›</a:t>
            </a:fld>
            <a:endParaRPr lang="en-US" altLang="ja-JP" dirty="0"/>
          </a:p>
        </p:txBody>
      </p:sp>
    </p:spTree>
  </p:cSld>
  <p:clrMapOvr>
    <a:masterClrMapping/>
  </p:clrMapOvr>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Text Box 4"/>
          <p:cNvSpPr txBox="1">
            <a:spLocks noGrp="1" noChangeArrowheads="1"/>
          </p:cNvSpPr>
          <p:nvPr>
            <p:ph type="sldNum" sz="quarter" idx="10"/>
          </p:nvPr>
        </p:nvSpPr>
        <p:spPr>
          <a:ln/>
        </p:spPr>
        <p:txBody>
          <a:bodyPr/>
          <a:lstStyle>
            <a:lvl1pPr>
              <a:defRPr/>
            </a:lvl1pPr>
          </a:lstStyle>
          <a:p>
            <a:pPr>
              <a:defRPr/>
            </a:pPr>
            <a:fld id="{FDE76CA9-F106-456D-8CCD-1DFA379BC909}" type="slidenum">
              <a:rPr lang="en-US" altLang="ja-JP"/>
              <a:pPr>
                <a:defRPr/>
              </a:pPr>
              <a:t>‹#›</a:t>
            </a:fld>
            <a:endParaRPr lang="en-US" altLang="ja-JP" dirty="0"/>
          </a:p>
        </p:txBody>
      </p:sp>
    </p:spTree>
  </p:cSld>
  <p:clrMapOvr>
    <a:masterClrMapping/>
  </p:clrMapOvr>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sym typeface="Lucida Grande" charset="0"/>
            </a:endParaRPr>
          </a:p>
        </p:txBody>
      </p:sp>
      <p:sp>
        <p:nvSpPr>
          <p:cNvPr id="4"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5" name="Text Box 4"/>
          <p:cNvSpPr txBox="1">
            <a:spLocks noGrp="1" noChangeArrowheads="1"/>
          </p:cNvSpPr>
          <p:nvPr>
            <p:ph type="sldNum" sz="quarter" idx="10"/>
          </p:nvPr>
        </p:nvSpPr>
        <p:spPr>
          <a:ln/>
        </p:spPr>
        <p:txBody>
          <a:bodyPr/>
          <a:lstStyle>
            <a:lvl1pPr>
              <a:defRPr/>
            </a:lvl1pPr>
          </a:lstStyle>
          <a:p>
            <a:pPr>
              <a:defRPr/>
            </a:pPr>
            <a:fld id="{B3169D60-3BE0-4FEB-B65A-389D76C8CCCD}" type="slidenum">
              <a:rPr lang="en-US" altLang="ja-JP"/>
              <a:pPr>
                <a:defRPr/>
              </a:pPr>
              <a:t>‹#›</a:t>
            </a:fld>
            <a:endParaRPr lang="en-US" altLang="ja-JP" dirty="0"/>
          </a:p>
        </p:txBody>
      </p:sp>
    </p:spTree>
  </p:cSld>
  <p:clrMapOvr>
    <a:masterClrMapping/>
  </p:clrMapOvr>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Text Box 4"/>
          <p:cNvSpPr txBox="1">
            <a:spLocks noGrp="1" noChangeArrowheads="1"/>
          </p:cNvSpPr>
          <p:nvPr>
            <p:ph type="sldNum" sz="quarter" idx="10"/>
          </p:nvPr>
        </p:nvSpPr>
        <p:spPr>
          <a:ln/>
        </p:spPr>
        <p:txBody>
          <a:bodyPr/>
          <a:lstStyle>
            <a:lvl1pPr>
              <a:defRPr/>
            </a:lvl1pPr>
          </a:lstStyle>
          <a:p>
            <a:pPr>
              <a:defRPr/>
            </a:pPr>
            <a:fld id="{5C5E1BA0-0B98-44FB-B30A-D6C80BF6BA4D}" type="slidenum">
              <a:rPr lang="en-US" altLang="ja-JP"/>
              <a:pPr>
                <a:defRPr/>
              </a:pPr>
              <a:t>‹#›</a:t>
            </a:fld>
            <a:endParaRPr lang="en-US" altLang="ja-JP" dirty="0"/>
          </a:p>
        </p:txBody>
      </p:sp>
    </p:spTree>
  </p:cSld>
  <p:clrMapOvr>
    <a:masterClrMapping/>
  </p:clrMapOvr>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90488"/>
            <a:ext cx="2057400" cy="6767512"/>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457200" y="90488"/>
            <a:ext cx="6019800" cy="6767512"/>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Text Box 4"/>
          <p:cNvSpPr txBox="1">
            <a:spLocks noGrp="1" noChangeArrowheads="1"/>
          </p:cNvSpPr>
          <p:nvPr>
            <p:ph type="sldNum" sz="quarter" idx="10"/>
          </p:nvPr>
        </p:nvSpPr>
        <p:spPr>
          <a:ln/>
        </p:spPr>
        <p:txBody>
          <a:bodyPr/>
          <a:lstStyle>
            <a:lvl1pPr>
              <a:defRPr/>
            </a:lvl1pPr>
          </a:lstStyle>
          <a:p>
            <a:pPr>
              <a:defRPr/>
            </a:pPr>
            <a:fld id="{D232B78B-1302-448D-B126-F4B8ACA3018C}" type="slidenum">
              <a:rPr lang="en-US" altLang="ja-JP"/>
              <a:pPr>
                <a:defRPr/>
              </a:pPr>
              <a:t>‹#›</a:t>
            </a:fld>
            <a:endParaRPr lang="en-US" altLang="ja-JP" dirty="0"/>
          </a:p>
        </p:txBody>
      </p:sp>
    </p:spTree>
  </p:cSld>
  <p:clrMapOvr>
    <a:masterClrMapping/>
  </p:clrMapOvr>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a:prstGeom prst="rect">
            <a:avLst/>
          </a:prstGeo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Tree>
  </p:cSld>
  <p:clrMapOvr>
    <a:masterClrMapping/>
  </p:clrMapOvr>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a:prstGeom prst="rect">
            <a:avLst/>
          </a:prstGeom>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457200" y="1600200"/>
            <a:ext cx="8229600" cy="4525963"/>
          </a:xfrm>
          <a:prstGeom prst="rect">
            <a:avLst/>
          </a:prstGeom>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Tree>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cSld>
  <p:clrMapOvr>
    <a:masterClrMapping/>
  </p:clrMapOvr>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a:prstGeom prst="rect">
            <a:avLst/>
          </a:prstGeom>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a:prstGeom prst="rect">
            <a:avLst/>
          </a:prstGeom>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a:prstGeom prst="rect">
            <a:avLst/>
          </a:prstGeom>
        </p:spPr>
        <p:txBody>
          <a:bodyPr/>
          <a:lstStyle/>
          <a:p>
            <a:r>
              <a:rPr lang="ja-JP" altLang="en-US" smtClean="0"/>
              <a:t>マスタ タイトルの書式設定</a:t>
            </a:r>
            <a:endParaRPr lang="ja-JP" altLang="en-US"/>
          </a:p>
        </p:txBody>
      </p:sp>
    </p:spTree>
  </p:cSld>
  <p:clrMapOvr>
    <a:masterClrMapping/>
  </p:clrMapOvr>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cSld>
  <p:clrMapOvr>
    <a:masterClrMapping/>
  </p:clrMapOvr>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a:prstGeom prst="rect">
            <a:avLst/>
          </a:prstGeom>
        </p:spPr>
        <p:txBody>
          <a:bodyPr anchor="b"/>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a:prstGeom prst="rect">
            <a:avLst/>
          </a:prstGeom>
        </p:spPr>
        <p:txBody>
          <a:bodyPr anchor="b"/>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sym typeface="Gill Sans Light" charset="0"/>
            </a:endParaRPr>
          </a:p>
        </p:txBody>
      </p:sp>
      <p:sp>
        <p:nvSpPr>
          <p:cNvPr id="4" name="テキスト プレースホルダ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a:prstGeom prst="rect">
            <a:avLst/>
          </a:prstGeom>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457200" y="1600200"/>
            <a:ext cx="8229600" cy="4525963"/>
          </a:xfrm>
          <a:prstGeom prst="rect">
            <a:avLst/>
          </a:prstGeo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274638"/>
            <a:ext cx="2057400" cy="5851525"/>
          </a:xfrm>
          <a:prstGeom prst="rect">
            <a:avLst/>
          </a:prstGeo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457200" y="274638"/>
            <a:ext cx="6019800" cy="5851525"/>
          </a:xfrm>
          <a:prstGeom prst="rect">
            <a:avLst/>
          </a:prstGeo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a:prstGeom prst="rect">
            <a:avLst/>
          </a:prstGeo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Tree>
  </p:cSld>
  <p:clrMapOvr>
    <a:masterClrMapping/>
  </p:clrMapOvr>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a:prstGeom prst="rect">
            <a:avLst/>
          </a:prstGeom>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457200" y="1600200"/>
            <a:ext cx="8229600" cy="4525963"/>
          </a:xfrm>
          <a:prstGeom prst="rect">
            <a:avLst/>
          </a:prstGeom>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Tree>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Tree>
  </p:cSld>
  <p:clrMapOvr>
    <a:masterClrMapping/>
  </p:clrMapOvr>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a:prstGeom prst="rect">
            <a:avLst/>
          </a:prstGeom>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a:prstGeom prst="rect">
            <a:avLst/>
          </a:prstGeom>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a:prstGeom prst="rect">
            <a:avLst/>
          </a:prstGeom>
        </p:spPr>
        <p:txBody>
          <a:bodyPr/>
          <a:lstStyle/>
          <a:p>
            <a:r>
              <a:rPr lang="ja-JP" altLang="en-US" smtClean="0"/>
              <a:t>マスタ タイトルの書式設定</a:t>
            </a:r>
            <a:endParaRPr lang="ja-JP" altLang="en-US"/>
          </a:p>
        </p:txBody>
      </p:sp>
    </p:spTree>
  </p:cSld>
  <p:clrMapOvr>
    <a:masterClrMapping/>
  </p:clrMapOvr>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cSld>
  <p:clrMapOvr>
    <a:masterClrMapping/>
  </p:clrMapOvr>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a:prstGeom prst="rect">
            <a:avLst/>
          </a:prstGeom>
        </p:spPr>
        <p:txBody>
          <a:bodyPr anchor="b"/>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a:prstGeom prst="rect">
            <a:avLst/>
          </a:prstGeom>
        </p:spPr>
        <p:txBody>
          <a:bodyPr anchor="b"/>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sym typeface="Gill Sans Light" charset="0"/>
            </a:endParaRPr>
          </a:p>
        </p:txBody>
      </p:sp>
      <p:sp>
        <p:nvSpPr>
          <p:cNvPr id="4" name="テキスト プレースホルダ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a:prstGeom prst="rect">
            <a:avLst/>
          </a:prstGeom>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457200" y="1600200"/>
            <a:ext cx="8229600" cy="4525963"/>
          </a:xfrm>
          <a:prstGeom prst="rect">
            <a:avLst/>
          </a:prstGeo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274638"/>
            <a:ext cx="2057400" cy="5851525"/>
          </a:xfrm>
          <a:prstGeom prst="rect">
            <a:avLst/>
          </a:prstGeo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457200" y="274638"/>
            <a:ext cx="6019800" cy="5851525"/>
          </a:xfrm>
          <a:prstGeom prst="rect">
            <a:avLst/>
          </a:prstGeo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Tree>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sym typeface="Palatino" charset="0"/>
            </a:endParaRPr>
          </a:p>
        </p:txBody>
      </p:sp>
      <p:sp>
        <p:nvSpPr>
          <p:cNvPr id="4"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457200" y="1600200"/>
            <a:ext cx="8229600" cy="4525963"/>
          </a:xfrm>
          <a:prstGeom prst="rect">
            <a:avLst/>
          </a:prstGeom>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Tree>
  </p:cSld>
  <p:clrMapOvr>
    <a:masterClrMapping/>
  </p:clrMapOvr>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Tree>
  </p:cSld>
  <p:clrMapOvr>
    <a:masterClrMapping/>
  </p:clrMapOvr>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cSld>
  <p:clrMapOvr>
    <a:masterClrMapping/>
  </p:clrMapOvr>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sym typeface="Gill Sans Light" charset="0"/>
            </a:endParaRPr>
          </a:p>
        </p:txBody>
      </p:sp>
      <p:sp>
        <p:nvSpPr>
          <p:cNvPr id="4" name="テキスト プレースホルダ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457200" y="1600200"/>
            <a:ext cx="8229600" cy="4525963"/>
          </a:xfrm>
          <a:prstGeom prst="rect">
            <a:avLst/>
          </a:prstGeo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731000" y="177800"/>
            <a:ext cx="2159000" cy="5948363"/>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254000" y="177800"/>
            <a:ext cx="6324600" cy="5948363"/>
          </a:xfrm>
          <a:prstGeom prst="rect">
            <a:avLst/>
          </a:prstGeo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Tree>
  </p:cSld>
  <p:clrMapOvr>
    <a:masterClrMapping/>
  </p:clrMapOvr>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457200" y="1600200"/>
            <a:ext cx="8229600" cy="4525963"/>
          </a:xfrm>
          <a:prstGeom prst="rect">
            <a:avLst/>
          </a:prstGeom>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Tree>
  </p:cSld>
  <p:clrMapOvr>
    <a:masterClrMapping/>
  </p:clrMapOvr>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Tree>
  </p:cSld>
  <p:clrMapOvr>
    <a:masterClrMapping/>
  </p:clrMapOvr>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cSld>
  <p:clrMapOvr>
    <a:masterClrMapping/>
  </p:clrMapOvr>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sym typeface="Gill Sans Light" charset="0"/>
            </a:endParaRPr>
          </a:p>
        </p:txBody>
      </p:sp>
      <p:sp>
        <p:nvSpPr>
          <p:cNvPr id="4" name="テキスト プレースホルダ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457200" y="1600200"/>
            <a:ext cx="8229600" cy="4525963"/>
          </a:xfrm>
          <a:prstGeom prst="rect">
            <a:avLst/>
          </a:prstGeo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3771900" y="990600"/>
            <a:ext cx="1155700" cy="4711700"/>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304800" y="990600"/>
            <a:ext cx="3314700" cy="4711700"/>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731000" y="177800"/>
            <a:ext cx="2159000" cy="5948363"/>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254000" y="177800"/>
            <a:ext cx="6324600" cy="5948363"/>
          </a:xfrm>
          <a:prstGeom prst="rect">
            <a:avLst/>
          </a:prstGeo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Rectangle 6"/>
          <p:cNvSpPr/>
          <p:nvPr/>
        </p:nvSpPr>
        <p:spPr>
          <a:xfrm>
            <a:off x="1328166" y="1295400"/>
            <a:ext cx="6487668" cy="3152887"/>
          </a:xfrm>
          <a:prstGeom prst="rect">
            <a:avLst/>
          </a:prstGeom>
          <a:ln w="3175">
            <a:solidFill>
              <a:schemeClr val="bg1"/>
            </a:solidFill>
          </a:ln>
          <a:effectLst>
            <a:outerShdw blurRad="63500" sx="100500" sy="100500" algn="ctr" rotWithShape="0">
              <a:prstClr val="black">
                <a:alpha val="50000"/>
              </a:prstClr>
            </a:outerShdw>
          </a:effectLst>
        </p:spPr>
        <p:txBody>
          <a:bodyPr vert="horz" lIns="91440" tIns="45720" rIns="91440" bIns="45720" rtlCol="0">
            <a:normAutofit/>
          </a:bodyPr>
          <a:lstStyle/>
          <a:p>
            <a:pPr marL="0" indent="0" algn="l" defTabSz="914400" rtl="0" eaLnBrk="1" latinLnBrk="0" hangingPunct="1">
              <a:spcBef>
                <a:spcPts val="2000"/>
              </a:spcBef>
              <a:buClr>
                <a:schemeClr val="accent1">
                  <a:lumMod val="60000"/>
                  <a:lumOff val="40000"/>
                </a:schemeClr>
              </a:buClr>
              <a:buSzPct val="110000"/>
              <a:buFont typeface="Wingdings 2" pitchFamily="18" charset="2"/>
              <a:buNone/>
            </a:pPr>
            <a:endParaRPr sz="3200" kern="1200">
              <a:solidFill>
                <a:schemeClr val="tx1">
                  <a:lumMod val="65000"/>
                  <a:lumOff val="35000"/>
                </a:schemeClr>
              </a:solidFill>
              <a:latin typeface="+mn-lt"/>
              <a:ea typeface="+mn-ea"/>
              <a:cs typeface="+mn-cs"/>
            </a:endParaRPr>
          </a:p>
        </p:txBody>
      </p:sp>
      <p:sp>
        <p:nvSpPr>
          <p:cNvPr id="2" name="Title 1"/>
          <p:cNvSpPr>
            <a:spLocks noGrp="1"/>
          </p:cNvSpPr>
          <p:nvPr>
            <p:ph type="ctrTitle"/>
          </p:nvPr>
        </p:nvSpPr>
        <p:spPr>
          <a:xfrm>
            <a:off x="1322921" y="1523999"/>
            <a:ext cx="6498158" cy="1724867"/>
          </a:xfrm>
        </p:spPr>
        <p:txBody>
          <a:bodyPr vert="horz" lIns="91440" tIns="45720" rIns="91440" bIns="45720" rtlCol="0" anchor="b" anchorCtr="0">
            <a:noAutofit/>
          </a:bodyPr>
          <a:lstStyle>
            <a:lvl1pPr marL="0" indent="0" algn="ctr" defTabSz="914400" rtl="0" eaLnBrk="1" latinLnBrk="0" hangingPunct="1">
              <a:spcBef>
                <a:spcPct val="0"/>
              </a:spcBef>
              <a:buClr>
                <a:schemeClr val="accent1">
                  <a:lumMod val="60000"/>
                  <a:lumOff val="40000"/>
                </a:schemeClr>
              </a:buClr>
              <a:buSzPct val="110000"/>
              <a:buFont typeface="Wingdings 2" pitchFamily="18" charset="2"/>
              <a:buNone/>
              <a:defRPr sz="4600" kern="1200">
                <a:solidFill>
                  <a:schemeClr val="accent1"/>
                </a:solidFill>
                <a:latin typeface="+mj-lt"/>
                <a:ea typeface="+mj-ea"/>
                <a:cs typeface="+mj-cs"/>
              </a:defRPr>
            </a:lvl1pPr>
          </a:lstStyle>
          <a:p>
            <a:r>
              <a:rPr lang="ja-JP" altLang="en-US" smtClean="0"/>
              <a:t>マスター タイトルの書式設定</a:t>
            </a:r>
            <a:endParaRPr/>
          </a:p>
        </p:txBody>
      </p:sp>
      <p:sp>
        <p:nvSpPr>
          <p:cNvPr id="3" name="Subtitle 2"/>
          <p:cNvSpPr>
            <a:spLocks noGrp="1"/>
          </p:cNvSpPr>
          <p:nvPr>
            <p:ph type="subTitle" idx="1"/>
          </p:nvPr>
        </p:nvSpPr>
        <p:spPr>
          <a:xfrm>
            <a:off x="1322921" y="3299012"/>
            <a:ext cx="6498159" cy="916641"/>
          </a:xfrm>
        </p:spPr>
        <p:txBody>
          <a:bodyPr vert="horz" lIns="91440" tIns="45720" rIns="91440" bIns="45720" rtlCol="0">
            <a:normAutofit/>
          </a:bodyPr>
          <a:lstStyle>
            <a:lvl1pPr marL="0" indent="0" algn="ctr" defTabSz="914400" rtl="0" eaLnBrk="1" latinLnBrk="0" hangingPunct="1">
              <a:spcBef>
                <a:spcPts val="300"/>
              </a:spcBef>
              <a:buClr>
                <a:schemeClr val="accent1">
                  <a:lumMod val="60000"/>
                  <a:lumOff val="40000"/>
                </a:schemeClr>
              </a:buClr>
              <a:buSzPct val="110000"/>
              <a:buFont typeface="Wingdings 2" pitchFamily="18" charset="2"/>
              <a:buNone/>
              <a:defRPr sz="1800" kern="1200">
                <a:solidFill>
                  <a:schemeClr val="tx1">
                    <a:tint val="75000"/>
                  </a:schemeClr>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ja-JP" altLang="en-US" smtClean="0"/>
              <a:t>マスター サブタイトルの書式設定</a:t>
            </a:r>
            <a:endParaRPr dirty="0"/>
          </a:p>
        </p:txBody>
      </p:sp>
      <p:sp>
        <p:nvSpPr>
          <p:cNvPr id="4" name="Date Placeholder 3"/>
          <p:cNvSpPr>
            <a:spLocks noGrp="1"/>
          </p:cNvSpPr>
          <p:nvPr>
            <p:ph type="dt" sz="half" idx="10"/>
          </p:nvPr>
        </p:nvSpPr>
        <p:spPr/>
        <p:txBody>
          <a:bodyPr/>
          <a:lstStyle/>
          <a:p>
            <a:r>
              <a:rPr lang="en-US" smtClean="0"/>
              <a:t>2013/05/16</a:t>
            </a:r>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5CE407-6216-4202-80E4-A30DC2F709B2}" type="slidenum">
              <a:rPr lang="en-US" smtClean="0"/>
              <a:pPr/>
              <a:t>‹#›</a:t>
            </a:fld>
            <a:endParaRPr lang="en-US"/>
          </a:p>
        </p:txBody>
      </p:sp>
    </p:spTree>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a:p>
        </p:txBody>
      </p:sp>
      <p:sp>
        <p:nvSpPr>
          <p:cNvPr id="3" name="Content Placeholder 2"/>
          <p:cNvSpPr>
            <a:spLocks noGrp="1"/>
          </p:cNvSpPr>
          <p:nvPr>
            <p:ph idx="1"/>
          </p:nvPr>
        </p:nvSpPr>
        <p:spPr/>
        <p:txBody>
          <a:bodyPr/>
          <a:lstStyle>
            <a:lvl5pPr>
              <a:defRPr/>
            </a:lvl5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dirty="0"/>
          </a:p>
        </p:txBody>
      </p:sp>
      <p:sp>
        <p:nvSpPr>
          <p:cNvPr id="4" name="Date Placeholder 3"/>
          <p:cNvSpPr>
            <a:spLocks noGrp="1"/>
          </p:cNvSpPr>
          <p:nvPr>
            <p:ph type="dt" sz="half" idx="10"/>
          </p:nvPr>
        </p:nvSpPr>
        <p:spPr/>
        <p:txBody>
          <a:bodyPr/>
          <a:lstStyle/>
          <a:p>
            <a:r>
              <a:rPr lang="en-US" smtClean="0"/>
              <a:t>2013/05/16</a:t>
            </a:r>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5CE407-6216-4202-80E4-A30DC2F709B2}" type="slidenum">
              <a:rPr lang="en-US" smtClean="0"/>
              <a:pPr/>
              <a:t>‹#›</a:t>
            </a:fld>
            <a:endParaRPr lang="en-US"/>
          </a:p>
        </p:txBody>
      </p:sp>
    </p:spTree>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図付き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363538" y="3352801"/>
            <a:ext cx="8416925" cy="1470025"/>
          </a:xfrm>
        </p:spPr>
        <p:txBody>
          <a:bodyPr/>
          <a:lstStyle/>
          <a:p>
            <a:r>
              <a:rPr lang="ja-JP" altLang="en-US" smtClean="0"/>
              <a:t>マスター タイトルの書式設定</a:t>
            </a:r>
            <a:endParaRPr dirty="0"/>
          </a:p>
        </p:txBody>
      </p:sp>
      <p:sp>
        <p:nvSpPr>
          <p:cNvPr id="3" name="Subtitle 2"/>
          <p:cNvSpPr>
            <a:spLocks noGrp="1"/>
          </p:cNvSpPr>
          <p:nvPr>
            <p:ph type="subTitle" idx="1"/>
          </p:nvPr>
        </p:nvSpPr>
        <p:spPr>
          <a:xfrm>
            <a:off x="363538" y="4771029"/>
            <a:ext cx="8416925" cy="972671"/>
          </a:xfrm>
        </p:spPr>
        <p:txBody>
          <a:bodyPr>
            <a:normAutofit/>
          </a:bodyPr>
          <a:lstStyle>
            <a:lvl1pPr marL="0" indent="0" algn="ctr">
              <a:spcBef>
                <a:spcPts val="300"/>
              </a:spcBef>
              <a:buNone/>
              <a:defRPr sz="18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ja-JP" altLang="en-US" smtClean="0"/>
              <a:t>マスター サブタイトルの書式設定</a:t>
            </a:r>
            <a:endParaRPr dirty="0"/>
          </a:p>
        </p:txBody>
      </p:sp>
      <p:sp>
        <p:nvSpPr>
          <p:cNvPr id="4" name="Date Placeholder 3"/>
          <p:cNvSpPr>
            <a:spLocks noGrp="1"/>
          </p:cNvSpPr>
          <p:nvPr>
            <p:ph type="dt" sz="half" idx="10"/>
          </p:nvPr>
        </p:nvSpPr>
        <p:spPr/>
        <p:txBody>
          <a:bodyPr/>
          <a:lstStyle/>
          <a:p>
            <a:pPr algn="r" eaLnBrk="1" latinLnBrk="0" hangingPunct="1"/>
            <a:r>
              <a:rPr lang="en-US" smtClean="0"/>
              <a:t>2013/05/16</a:t>
            </a:r>
            <a:endParaRPr lang="en-US" sz="1400" dirty="0">
              <a:solidFill>
                <a:srgbClr val="FFFFFF"/>
              </a:solidFill>
            </a:endParaRPr>
          </a:p>
        </p:txBody>
      </p:sp>
      <p:sp>
        <p:nvSpPr>
          <p:cNvPr id="5" name="Footer Placeholder 4"/>
          <p:cNvSpPr>
            <a:spLocks noGrp="1"/>
          </p:cNvSpPr>
          <p:nvPr>
            <p:ph type="ftr" sz="quarter" idx="11"/>
          </p:nvPr>
        </p:nvSpPr>
        <p:spPr/>
        <p:txBody>
          <a:bodyPr/>
          <a:lstStyle/>
          <a:p>
            <a:pPr algn="l" eaLnBrk="1" latinLnBrk="0" hangingPunct="1"/>
            <a:endParaRPr kumimoji="0" lang="en-US" dirty="0">
              <a:solidFill>
                <a:srgbClr val="FFFFFF"/>
              </a:solidFill>
            </a:endParaRPr>
          </a:p>
        </p:txBody>
      </p:sp>
      <p:sp>
        <p:nvSpPr>
          <p:cNvPr id="6" name="Slide Number Placeholder 5"/>
          <p:cNvSpPr>
            <a:spLocks noGrp="1"/>
          </p:cNvSpPr>
          <p:nvPr>
            <p:ph type="sldNum" sz="quarter" idx="12"/>
          </p:nvPr>
        </p:nvSpPr>
        <p:spPr/>
        <p:txBody>
          <a:bodyPr/>
          <a:lstStyle/>
          <a:p>
            <a:pPr algn="ctr" eaLnBrk="1" latinLnBrk="0" hangingPunct="1"/>
            <a:fld id="{2C6B1FF6-39B9-40F5-8B67-33C6354A3D4F}" type="slidenum">
              <a:rPr kumimoji="0" lang="en-US" smtClean="0"/>
              <a:pPr algn="ctr" eaLnBrk="1" latinLnBrk="0" hangingPunct="1"/>
              <a:t>‹#›</a:t>
            </a:fld>
            <a:endParaRPr kumimoji="0" lang="en-US" sz="1600" dirty="0">
              <a:solidFill>
                <a:schemeClr val="accent3">
                  <a:shade val="75000"/>
                </a:schemeClr>
              </a:solidFill>
            </a:endParaRPr>
          </a:p>
        </p:txBody>
      </p:sp>
      <p:sp>
        <p:nvSpPr>
          <p:cNvPr id="9" name="Picture Placeholder 2"/>
          <p:cNvSpPr>
            <a:spLocks noGrp="1"/>
          </p:cNvSpPr>
          <p:nvPr>
            <p:ph type="pic" idx="13"/>
          </p:nvPr>
        </p:nvSpPr>
        <p:spPr>
          <a:xfrm>
            <a:off x="370980" y="363538"/>
            <a:ext cx="8402040" cy="2836862"/>
          </a:xfrm>
          <a:ln w="3175">
            <a:solidFill>
              <a:schemeClr val="bg1"/>
            </a:solidFill>
          </a:ln>
          <a:effectLst>
            <a:outerShdw blurRad="63500" sx="100500" sy="100500" algn="ctr" rotWithShape="0">
              <a:prstClr val="black">
                <a:alpha val="50000"/>
              </a:prstClr>
            </a:outerShdw>
          </a:effectLst>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ja-JP" altLang="en-US" smtClean="0"/>
              <a:t>プレースホルダーまでドラッグするかアイコンをクリックして図を追加</a:t>
            </a:r>
            <a:endParaRPr/>
          </a:p>
        </p:txBody>
      </p:sp>
    </p:spTree>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549275" y="2403144"/>
            <a:ext cx="8056563" cy="1362075"/>
          </a:xfrm>
        </p:spPr>
        <p:txBody>
          <a:bodyPr anchor="b" anchorCtr="0"/>
          <a:lstStyle>
            <a:lvl1pPr algn="ctr">
              <a:defRPr sz="4600" b="0" cap="none" baseline="0"/>
            </a:lvl1pPr>
          </a:lstStyle>
          <a:p>
            <a:r>
              <a:rPr lang="ja-JP" altLang="en-US" smtClean="0"/>
              <a:t>マスター タイトルの書式設定</a:t>
            </a:r>
            <a:endParaRPr/>
          </a:p>
        </p:txBody>
      </p:sp>
      <p:sp>
        <p:nvSpPr>
          <p:cNvPr id="3" name="Text Placeholder 2"/>
          <p:cNvSpPr>
            <a:spLocks noGrp="1"/>
          </p:cNvSpPr>
          <p:nvPr>
            <p:ph type="body" idx="1"/>
          </p:nvPr>
        </p:nvSpPr>
        <p:spPr>
          <a:xfrm>
            <a:off x="549275" y="3736005"/>
            <a:ext cx="8056563" cy="1500187"/>
          </a:xfrm>
        </p:spPr>
        <p:txBody>
          <a:bodyPr anchor="t" anchorCtr="0">
            <a:normAutofit/>
          </a:bodyPr>
          <a:lstStyle>
            <a:lvl1pPr marL="0" indent="0" algn="ctr">
              <a:spcBef>
                <a:spcPts val="300"/>
              </a:spcBef>
              <a:buNone/>
              <a:defRPr sz="18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ja-JP" altLang="en-US" smtClean="0"/>
              <a:t>マスター テキストの書式設定</a:t>
            </a:r>
          </a:p>
        </p:txBody>
      </p:sp>
      <p:sp>
        <p:nvSpPr>
          <p:cNvPr id="4" name="Date Placeholder 3"/>
          <p:cNvSpPr>
            <a:spLocks noGrp="1"/>
          </p:cNvSpPr>
          <p:nvPr>
            <p:ph type="dt" sz="half" idx="10"/>
          </p:nvPr>
        </p:nvSpPr>
        <p:spPr/>
        <p:txBody>
          <a:bodyPr/>
          <a:lstStyle/>
          <a:p>
            <a:r>
              <a:rPr lang="en-US" smtClean="0"/>
              <a:t>2013/05/16</a:t>
            </a:r>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5CE407-6216-4202-80E4-A30DC2F709B2}" type="slidenum">
              <a:rPr lang="en-US" smtClean="0"/>
              <a:pPr/>
              <a:t>‹#›</a:t>
            </a:fld>
            <a:endParaRPr lang="en-US"/>
          </a:p>
        </p:txBody>
      </p:sp>
    </p:spTree>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549275" y="107576"/>
            <a:ext cx="8042276" cy="1336956"/>
          </a:xfrm>
        </p:spPr>
        <p:txBody>
          <a:bodyPr/>
          <a:lstStyle/>
          <a:p>
            <a:r>
              <a:rPr lang="ja-JP" altLang="en-US" smtClean="0"/>
              <a:t>マスター タイトルの書式設定</a:t>
            </a:r>
            <a:endParaRPr/>
          </a:p>
        </p:txBody>
      </p:sp>
      <p:sp>
        <p:nvSpPr>
          <p:cNvPr id="3" name="Content Placeholder 2"/>
          <p:cNvSpPr>
            <a:spLocks noGrp="1"/>
          </p:cNvSpPr>
          <p:nvPr>
            <p:ph sz="half" idx="1"/>
          </p:nvPr>
        </p:nvSpPr>
        <p:spPr>
          <a:xfrm>
            <a:off x="549275" y="1600201"/>
            <a:ext cx="3840480" cy="4343400"/>
          </a:xfrm>
        </p:spPr>
        <p:txBody>
          <a:bodyPr>
            <a:normAutofit/>
          </a:bodyPr>
          <a:lstStyle>
            <a:lvl1pPr>
              <a:spcBef>
                <a:spcPts val="1600"/>
              </a:spcBef>
              <a:defRPr sz="20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dirty="0"/>
          </a:p>
        </p:txBody>
      </p:sp>
      <p:sp>
        <p:nvSpPr>
          <p:cNvPr id="4" name="Content Placeholder 3"/>
          <p:cNvSpPr>
            <a:spLocks noGrp="1"/>
          </p:cNvSpPr>
          <p:nvPr>
            <p:ph sz="half" idx="2"/>
          </p:nvPr>
        </p:nvSpPr>
        <p:spPr>
          <a:xfrm>
            <a:off x="4751071" y="1600201"/>
            <a:ext cx="3840480" cy="4343400"/>
          </a:xfrm>
        </p:spPr>
        <p:txBody>
          <a:bodyPr>
            <a:normAutofit/>
          </a:bodyPr>
          <a:lstStyle>
            <a:lvl1pPr>
              <a:spcBef>
                <a:spcPts val="1600"/>
              </a:spcBef>
              <a:defRPr sz="20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dirty="0"/>
          </a:p>
        </p:txBody>
      </p:sp>
      <p:sp>
        <p:nvSpPr>
          <p:cNvPr id="5" name="Date Placeholder 4"/>
          <p:cNvSpPr>
            <a:spLocks noGrp="1"/>
          </p:cNvSpPr>
          <p:nvPr>
            <p:ph type="dt" sz="half" idx="10"/>
          </p:nvPr>
        </p:nvSpPr>
        <p:spPr/>
        <p:txBody>
          <a:bodyPr/>
          <a:lstStyle/>
          <a:p>
            <a:r>
              <a:rPr lang="en-US" smtClean="0"/>
              <a:t>2013/05/16</a:t>
            </a:r>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5CE407-6216-4202-80E4-A30DC2F709B2}" type="slidenum">
              <a:rPr lang="en-US" smtClean="0"/>
              <a:pPr/>
              <a:t>‹#›</a:t>
            </a:fld>
            <a:endParaRPr lang="en-US"/>
          </a:p>
        </p:txBody>
      </p:sp>
    </p:spTree>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549274" y="107576"/>
            <a:ext cx="8042276" cy="1336956"/>
          </a:xfrm>
        </p:spPr>
        <p:txBody>
          <a:bodyPr/>
          <a:lstStyle>
            <a:lvl1pPr>
              <a:defRPr/>
            </a:lvl1pPr>
          </a:lstStyle>
          <a:p>
            <a:r>
              <a:rPr lang="ja-JP" altLang="en-US" smtClean="0"/>
              <a:t>マスター タイトルの書式設定</a:t>
            </a:r>
            <a:endParaRPr/>
          </a:p>
        </p:txBody>
      </p:sp>
      <p:sp>
        <p:nvSpPr>
          <p:cNvPr id="3" name="Text Placeholder 2"/>
          <p:cNvSpPr>
            <a:spLocks noGrp="1"/>
          </p:cNvSpPr>
          <p:nvPr>
            <p:ph type="body" idx="1"/>
          </p:nvPr>
        </p:nvSpPr>
        <p:spPr>
          <a:xfrm>
            <a:off x="549274" y="1453224"/>
            <a:ext cx="3840480" cy="750887"/>
          </a:xfrm>
        </p:spPr>
        <p:txBody>
          <a:bodyPr anchor="b">
            <a:noAutofit/>
          </a:bodyPr>
          <a:lstStyle>
            <a:lvl1pPr marL="0" indent="0" algn="ctr">
              <a:spcBef>
                <a:spcPts val="0"/>
              </a:spcBef>
              <a:buNone/>
              <a:defRPr sz="2400" b="0">
                <a:solidFill>
                  <a:schemeClr val="accent1">
                    <a:lumMod val="60000"/>
                    <a:lumOff val="4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ー テキストの書式設定</a:t>
            </a:r>
          </a:p>
        </p:txBody>
      </p:sp>
      <p:sp>
        <p:nvSpPr>
          <p:cNvPr id="4" name="Content Placeholder 3"/>
          <p:cNvSpPr>
            <a:spLocks noGrp="1"/>
          </p:cNvSpPr>
          <p:nvPr>
            <p:ph sz="half" idx="2"/>
          </p:nvPr>
        </p:nvSpPr>
        <p:spPr>
          <a:xfrm>
            <a:off x="549274" y="2347415"/>
            <a:ext cx="3840480" cy="3596185"/>
          </a:xfrm>
        </p:spPr>
        <p:txBody>
          <a:bodyPr>
            <a:normAutofit/>
          </a:bodyPr>
          <a:lstStyle>
            <a:lvl1pPr>
              <a:spcBef>
                <a:spcPts val="1600"/>
              </a:spcBef>
              <a:defRPr sz="20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dirty="0"/>
          </a:p>
        </p:txBody>
      </p:sp>
      <p:sp>
        <p:nvSpPr>
          <p:cNvPr id="5" name="Text Placeholder 4"/>
          <p:cNvSpPr>
            <a:spLocks noGrp="1"/>
          </p:cNvSpPr>
          <p:nvPr>
            <p:ph type="body" sz="quarter" idx="3"/>
          </p:nvPr>
        </p:nvSpPr>
        <p:spPr>
          <a:xfrm>
            <a:off x="4751070" y="1453224"/>
            <a:ext cx="3840480" cy="750887"/>
          </a:xfrm>
        </p:spPr>
        <p:txBody>
          <a:bodyPr anchor="b">
            <a:noAutofit/>
          </a:bodyPr>
          <a:lstStyle>
            <a:lvl1pPr marL="0" indent="0" algn="ctr">
              <a:spcBef>
                <a:spcPts val="0"/>
              </a:spcBef>
              <a:buNone/>
              <a:defRPr sz="2400" b="0">
                <a:solidFill>
                  <a:schemeClr val="accent1">
                    <a:lumMod val="60000"/>
                    <a:lumOff val="4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ー テキストの書式設定</a:t>
            </a:r>
          </a:p>
        </p:txBody>
      </p:sp>
      <p:sp>
        <p:nvSpPr>
          <p:cNvPr id="6" name="Content Placeholder 5"/>
          <p:cNvSpPr>
            <a:spLocks noGrp="1"/>
          </p:cNvSpPr>
          <p:nvPr>
            <p:ph sz="quarter" idx="4"/>
          </p:nvPr>
        </p:nvSpPr>
        <p:spPr>
          <a:xfrm>
            <a:off x="4751070" y="2347415"/>
            <a:ext cx="3840480" cy="3596185"/>
          </a:xfrm>
        </p:spPr>
        <p:txBody>
          <a:bodyPr>
            <a:normAutofit/>
          </a:bodyPr>
          <a:lstStyle>
            <a:lvl1pPr>
              <a:spcBef>
                <a:spcPts val="1600"/>
              </a:spcBef>
              <a:defRPr sz="20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dirty="0"/>
          </a:p>
        </p:txBody>
      </p:sp>
      <p:sp>
        <p:nvSpPr>
          <p:cNvPr id="7" name="Date Placeholder 6"/>
          <p:cNvSpPr>
            <a:spLocks noGrp="1"/>
          </p:cNvSpPr>
          <p:nvPr>
            <p:ph type="dt" sz="half" idx="10"/>
          </p:nvPr>
        </p:nvSpPr>
        <p:spPr/>
        <p:txBody>
          <a:bodyPr/>
          <a:lstStyle/>
          <a:p>
            <a:r>
              <a:rPr lang="en-US" smtClean="0"/>
              <a:t>2013/05/16</a:t>
            </a:r>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F5CE407-6216-4202-80E4-A30DC2F709B2}" type="slidenum">
              <a:rPr lang="en-US" smtClean="0"/>
              <a:pPr/>
              <a:t>‹#›</a:t>
            </a:fld>
            <a:endParaRPr lang="en-US"/>
          </a:p>
        </p:txBody>
      </p:sp>
    </p:spTree>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a:p>
        </p:txBody>
      </p:sp>
      <p:sp>
        <p:nvSpPr>
          <p:cNvPr id="3" name="Date Placeholder 2"/>
          <p:cNvSpPr>
            <a:spLocks noGrp="1"/>
          </p:cNvSpPr>
          <p:nvPr>
            <p:ph type="dt" sz="half" idx="10"/>
          </p:nvPr>
        </p:nvSpPr>
        <p:spPr/>
        <p:txBody>
          <a:bodyPr/>
          <a:lstStyle/>
          <a:p>
            <a:r>
              <a:rPr lang="en-US" smtClean="0"/>
              <a:t>2013/05/16</a:t>
            </a:r>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7F5CE407-6216-4202-80E4-A30DC2F709B2}" type="slidenum">
              <a:rPr lang="en-US" smtClean="0"/>
              <a:pPr/>
              <a:t>‹#›</a:t>
            </a:fld>
            <a:endParaRPr lang="en-US"/>
          </a:p>
        </p:txBody>
      </p:sp>
    </p:spTree>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smtClean="0"/>
              <a:t>2013/05/16</a:t>
            </a:r>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F5CE407-6216-4202-80E4-A30DC2F709B2}" type="slidenum">
              <a:rPr lang="en-US" smtClean="0"/>
              <a:pPr/>
              <a:t>‹#›</a:t>
            </a:fld>
            <a:endParaRPr lang="en-US"/>
          </a:p>
        </p:txBody>
      </p:sp>
    </p:spTree>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533399" y="611872"/>
            <a:ext cx="3840480" cy="1162050"/>
          </a:xfrm>
        </p:spPr>
        <p:txBody>
          <a:bodyPr anchor="b"/>
          <a:lstStyle>
            <a:lvl1pPr algn="ctr">
              <a:defRPr sz="3600" b="0"/>
            </a:lvl1pPr>
          </a:lstStyle>
          <a:p>
            <a:r>
              <a:rPr lang="ja-JP" altLang="en-US" smtClean="0"/>
              <a:t>マスター タイトルの書式設定</a:t>
            </a:r>
            <a:endParaRPr/>
          </a:p>
        </p:txBody>
      </p:sp>
      <p:sp>
        <p:nvSpPr>
          <p:cNvPr id="3" name="Content Placeholder 2"/>
          <p:cNvSpPr>
            <a:spLocks noGrp="1"/>
          </p:cNvSpPr>
          <p:nvPr>
            <p:ph idx="1"/>
          </p:nvPr>
        </p:nvSpPr>
        <p:spPr>
          <a:xfrm>
            <a:off x="4742824" y="368300"/>
            <a:ext cx="3840480" cy="5575300"/>
          </a:xfrm>
        </p:spPr>
        <p:txBody>
          <a:bodyPr>
            <a:normAutofit/>
          </a:bodyPr>
          <a:lstStyle>
            <a:lvl1pPr>
              <a:spcBef>
                <a:spcPts val="2000"/>
              </a:spcBef>
              <a:defRPr sz="2200"/>
            </a:lvl1pPr>
            <a:lvl2pPr>
              <a:defRPr sz="2000"/>
            </a:lvl2pPr>
            <a:lvl3pPr>
              <a:defRPr sz="1800"/>
            </a:lvl3pPr>
            <a:lvl4pPr>
              <a:defRPr sz="1800"/>
            </a:lvl4pPr>
            <a:lvl5pPr>
              <a:defRPr sz="1800"/>
            </a:lvl5pPr>
            <a:lvl6pPr>
              <a:defRPr sz="2000"/>
            </a:lvl6pPr>
            <a:lvl7pPr>
              <a:defRPr sz="2000"/>
            </a:lvl7pPr>
            <a:lvl8pPr>
              <a:defRPr sz="2000"/>
            </a:lvl8pPr>
            <a:lvl9pPr>
              <a:defRPr sz="20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dirty="0"/>
          </a:p>
        </p:txBody>
      </p:sp>
      <p:sp>
        <p:nvSpPr>
          <p:cNvPr id="4" name="Text Placeholder 3"/>
          <p:cNvSpPr>
            <a:spLocks noGrp="1"/>
          </p:cNvSpPr>
          <p:nvPr>
            <p:ph type="body" sz="half" idx="2"/>
          </p:nvPr>
        </p:nvSpPr>
        <p:spPr>
          <a:xfrm>
            <a:off x="533399" y="1787856"/>
            <a:ext cx="3840480" cy="3720152"/>
          </a:xfrm>
        </p:spPr>
        <p:txBody>
          <a:bodyPr>
            <a:normAutofit/>
          </a:bodyPr>
          <a:lstStyle>
            <a:lvl1pPr marL="0" indent="0" algn="ctr">
              <a:spcBef>
                <a:spcPts val="600"/>
              </a:spcBef>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ー テキストの書式設定</a:t>
            </a:r>
          </a:p>
        </p:txBody>
      </p:sp>
      <p:sp>
        <p:nvSpPr>
          <p:cNvPr id="5" name="Date Placeholder 4"/>
          <p:cNvSpPr>
            <a:spLocks noGrp="1"/>
          </p:cNvSpPr>
          <p:nvPr>
            <p:ph type="dt" sz="half" idx="10"/>
          </p:nvPr>
        </p:nvSpPr>
        <p:spPr/>
        <p:txBody>
          <a:bodyPr/>
          <a:lstStyle/>
          <a:p>
            <a:r>
              <a:rPr lang="en-US" smtClean="0"/>
              <a:t>2013/05/16</a:t>
            </a:r>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5CE407-6216-4202-80E4-A30DC2F709B2}" type="slidenum">
              <a:rPr lang="en-US" smtClean="0"/>
              <a:pPr/>
              <a:t>‹#›</a:t>
            </a:fld>
            <a:endParaRPr lang="en-US"/>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Tree>
  </p:cSld>
  <p:clrMapOvr>
    <a:masterClrMapping/>
  </p:clrMapOvr>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533398" y="611872"/>
            <a:ext cx="4079545" cy="1162050"/>
          </a:xfrm>
        </p:spPr>
        <p:txBody>
          <a:bodyPr anchor="b"/>
          <a:lstStyle>
            <a:lvl1pPr algn="ctr">
              <a:defRPr sz="3600" b="0"/>
            </a:lvl1pPr>
          </a:lstStyle>
          <a:p>
            <a:r>
              <a:rPr lang="ja-JP" altLang="en-US" smtClean="0"/>
              <a:t>マスター タイトルの書式設定</a:t>
            </a:r>
            <a:endParaRPr/>
          </a:p>
        </p:txBody>
      </p:sp>
      <p:sp>
        <p:nvSpPr>
          <p:cNvPr id="4" name="Text Placeholder 3"/>
          <p:cNvSpPr>
            <a:spLocks noGrp="1"/>
          </p:cNvSpPr>
          <p:nvPr>
            <p:ph type="body" sz="half" idx="2"/>
          </p:nvPr>
        </p:nvSpPr>
        <p:spPr>
          <a:xfrm>
            <a:off x="533398" y="1787856"/>
            <a:ext cx="4079545" cy="3720152"/>
          </a:xfrm>
        </p:spPr>
        <p:txBody>
          <a:bodyPr>
            <a:normAutofit/>
          </a:bodyPr>
          <a:lstStyle>
            <a:lvl1pPr marL="0" indent="0" algn="ctr">
              <a:spcBef>
                <a:spcPts val="600"/>
              </a:spcBef>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ー テキストの書式設定</a:t>
            </a:r>
          </a:p>
        </p:txBody>
      </p:sp>
      <p:sp>
        <p:nvSpPr>
          <p:cNvPr id="5" name="Date Placeholder 4"/>
          <p:cNvSpPr>
            <a:spLocks noGrp="1"/>
          </p:cNvSpPr>
          <p:nvPr>
            <p:ph type="dt" sz="half" idx="10"/>
          </p:nvPr>
        </p:nvSpPr>
        <p:spPr/>
        <p:txBody>
          <a:bodyPr/>
          <a:lstStyle/>
          <a:p>
            <a:r>
              <a:rPr lang="en-US" smtClean="0"/>
              <a:t>2013/05/16</a:t>
            </a:r>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5CE407-6216-4202-80E4-A30DC2F709B2}" type="slidenum">
              <a:rPr lang="en-US" smtClean="0"/>
              <a:pPr/>
              <a:t>‹#›</a:t>
            </a:fld>
            <a:endParaRPr lang="en-US"/>
          </a:p>
        </p:txBody>
      </p:sp>
      <p:sp>
        <p:nvSpPr>
          <p:cNvPr id="8" name="Picture Placeholder 2"/>
          <p:cNvSpPr>
            <a:spLocks noGrp="1"/>
          </p:cNvSpPr>
          <p:nvPr>
            <p:ph type="pic" idx="1"/>
          </p:nvPr>
        </p:nvSpPr>
        <p:spPr>
          <a:xfrm>
            <a:off x="5090617" y="359392"/>
            <a:ext cx="3657600" cy="5318077"/>
          </a:xfrm>
          <a:ln w="3175">
            <a:solidFill>
              <a:schemeClr val="bg1"/>
            </a:solidFill>
          </a:ln>
          <a:effectLst>
            <a:outerShdw blurRad="63500" sx="100500" sy="100500" algn="ctr" rotWithShape="0">
              <a:prstClr val="black">
                <a:alpha val="50000"/>
              </a:prstClr>
            </a:outerShdw>
          </a:effectLst>
        </p:spPr>
        <p:txBody>
          <a:bodyPr vert="horz" lIns="91440" tIns="45720" rIns="91440" bIns="45720" rtlCol="0">
            <a:normAutofit/>
          </a:bodyPr>
          <a:lstStyle>
            <a:lvl1pPr marL="0" indent="0" algn="l" defTabSz="914400" rtl="0" eaLnBrk="1" latinLnBrk="0" hangingPunct="1">
              <a:spcBef>
                <a:spcPts val="2000"/>
              </a:spcBef>
              <a:buClr>
                <a:schemeClr val="accent1">
                  <a:lumMod val="60000"/>
                  <a:lumOff val="40000"/>
                </a:schemeClr>
              </a:buClr>
              <a:buSzPct val="110000"/>
              <a:buFont typeface="Wingdings 2" pitchFamily="18" charset="2"/>
              <a:buNone/>
              <a:defRPr sz="3200" kern="1200">
                <a:solidFill>
                  <a:schemeClr val="tx1">
                    <a:lumMod val="65000"/>
                    <a:lumOff val="35000"/>
                  </a:schemeClr>
                </a:solidFill>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ja-JP" altLang="en-US" smtClean="0"/>
              <a:t>プレースホルダーまでドラッグするかアイコンをクリックして図を追加</a:t>
            </a:r>
            <a:endParaRPr/>
          </a:p>
        </p:txBody>
      </p:sp>
    </p:spTree>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a:p>
        </p:txBody>
      </p:sp>
      <p:sp>
        <p:nvSpPr>
          <p:cNvPr id="3" name="Vertical Text Placeholder 2"/>
          <p:cNvSpPr>
            <a:spLocks noGrp="1"/>
          </p:cNvSpPr>
          <p:nvPr>
            <p:ph type="body" orient="vert" idx="1"/>
          </p:nvPr>
        </p:nvSpPr>
        <p:spPr/>
        <p:txBody>
          <a:bodyPr vert="eaVert"/>
          <a:lstStyle>
            <a:lvl5pPr>
              <a:defRPr/>
            </a:lvl5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dirty="0"/>
          </a:p>
        </p:txBody>
      </p:sp>
      <p:sp>
        <p:nvSpPr>
          <p:cNvPr id="4" name="Date Placeholder 3"/>
          <p:cNvSpPr>
            <a:spLocks noGrp="1"/>
          </p:cNvSpPr>
          <p:nvPr>
            <p:ph type="dt" sz="half" idx="10"/>
          </p:nvPr>
        </p:nvSpPr>
        <p:spPr/>
        <p:txBody>
          <a:bodyPr/>
          <a:lstStyle/>
          <a:p>
            <a:r>
              <a:rPr lang="en-US" smtClean="0"/>
              <a:t>2013/05/16</a:t>
            </a:r>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5CE407-6216-4202-80E4-A30DC2F709B2}" type="slidenum">
              <a:rPr lang="en-US" smtClean="0"/>
              <a:pPr/>
              <a:t>‹#›</a:t>
            </a:fld>
            <a:endParaRPr lang="en-US"/>
          </a:p>
        </p:txBody>
      </p:sp>
    </p:spTree>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369792" y="368301"/>
            <a:ext cx="1524000" cy="5575300"/>
          </a:xfrm>
        </p:spPr>
        <p:txBody>
          <a:bodyPr vert="eaVert"/>
          <a:lstStyle/>
          <a:p>
            <a:r>
              <a:rPr lang="ja-JP" altLang="en-US" smtClean="0"/>
              <a:t>マスター タイトルの書式設定</a:t>
            </a:r>
            <a:endParaRPr/>
          </a:p>
        </p:txBody>
      </p:sp>
      <p:sp>
        <p:nvSpPr>
          <p:cNvPr id="3" name="Vertical Text Placeholder 2"/>
          <p:cNvSpPr>
            <a:spLocks noGrp="1"/>
          </p:cNvSpPr>
          <p:nvPr>
            <p:ph type="body" orient="vert" idx="1"/>
          </p:nvPr>
        </p:nvSpPr>
        <p:spPr>
          <a:xfrm>
            <a:off x="549274" y="368301"/>
            <a:ext cx="6689726" cy="5575300"/>
          </a:xfrm>
        </p:spPr>
        <p:txBody>
          <a:bodyPr vert="eaVert"/>
          <a:lstStyle>
            <a:lvl5pPr>
              <a:defRPr/>
            </a:lvl5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dirty="0"/>
          </a:p>
        </p:txBody>
      </p:sp>
      <p:sp>
        <p:nvSpPr>
          <p:cNvPr id="4" name="Date Placeholder 3"/>
          <p:cNvSpPr>
            <a:spLocks noGrp="1"/>
          </p:cNvSpPr>
          <p:nvPr>
            <p:ph type="dt" sz="half" idx="10"/>
          </p:nvPr>
        </p:nvSpPr>
        <p:spPr/>
        <p:txBody>
          <a:bodyPr/>
          <a:lstStyle/>
          <a:p>
            <a:r>
              <a:rPr lang="en-US" smtClean="0"/>
              <a:t>2013/05/16</a:t>
            </a:r>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5CE407-6216-4202-80E4-A30DC2F709B2}" type="slidenum">
              <a:rPr lang="en-US" smtClean="0"/>
              <a:pPr/>
              <a:t>‹#›</a:t>
            </a:fld>
            <a:endParaRPr lang="en-US"/>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457200" y="1600200"/>
            <a:ext cx="8229600" cy="4525963"/>
          </a:xfrm>
          <a:prstGeom prst="rect">
            <a:avLst/>
          </a:prstGeom>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Tree>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Tree>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304800" y="1663700"/>
            <a:ext cx="4184650" cy="4572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4641850" y="1663700"/>
            <a:ext cx="4184650" cy="4572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sym typeface="Palatino" charset="0"/>
            </a:endParaRPr>
          </a:p>
        </p:txBody>
      </p:sp>
      <p:sp>
        <p:nvSpPr>
          <p:cNvPr id="4" name="テキスト プレースホルダ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457200" y="1600200"/>
            <a:ext cx="8229600" cy="4525963"/>
          </a:xfrm>
          <a:prstGeom prst="rect">
            <a:avLst/>
          </a:prstGeo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96075" y="1600200"/>
            <a:ext cx="2130425" cy="4559300"/>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304800" y="1600200"/>
            <a:ext cx="6238875" cy="4559300"/>
          </a:xfrm>
          <a:prstGeom prst="rect">
            <a:avLst/>
          </a:prstGeo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Tree>
  </p:cSld>
  <p:clrMapOvr>
    <a:masterClrMapping/>
  </p:clrMapOv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457200" y="1600200"/>
            <a:ext cx="8229600" cy="4525963"/>
          </a:xfrm>
          <a:prstGeom prst="rect">
            <a:avLst/>
          </a:prstGeom>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Tree>
  </p:cSld>
  <p:clrMapOvr>
    <a:masterClrMapping/>
  </p:clrMapOv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Tree>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sym typeface="Palatino" charset="0"/>
            </a:endParaRPr>
          </a:p>
        </p:txBody>
      </p:sp>
      <p:sp>
        <p:nvSpPr>
          <p:cNvPr id="4" name="テキスト プレースホルダ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457200" y="1600200"/>
            <a:ext cx="8229600" cy="4525963"/>
          </a:xfrm>
          <a:prstGeom prst="rect">
            <a:avLst/>
          </a:prstGeo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96075" y="1600200"/>
            <a:ext cx="2130425" cy="4525963"/>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304800" y="1600200"/>
            <a:ext cx="6238875" cy="4525963"/>
          </a:xfrm>
          <a:prstGeom prst="rect">
            <a:avLst/>
          </a:prstGeo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Tree>
  </p:cSld>
  <p:clrMapOvr>
    <a:masterClrMapping/>
  </p:clrMapOv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Tree>
  </p:cSld>
  <p:clrMapOvr>
    <a:masterClrMapping/>
  </p:clrMapOv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304800" y="3759200"/>
            <a:ext cx="4184650" cy="863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4641850" y="3759200"/>
            <a:ext cx="4184650" cy="863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Tree>
  </p:cSld>
  <p:clrMapOvr>
    <a:masterClrMapping/>
  </p:clrMapOv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Tree>
  </p:cSld>
  <p:clrMapOvr>
    <a:masterClrMapping/>
  </p:clrMapOv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cSld>
  <p:clrMapOvr>
    <a:masterClrMapping/>
  </p:clrMapOv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sym typeface="Palatino" charset="0"/>
            </a:endParaRPr>
          </a:p>
        </p:txBody>
      </p:sp>
      <p:sp>
        <p:nvSpPr>
          <p:cNvPr id="4"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96075" y="2235200"/>
            <a:ext cx="2130425" cy="2387600"/>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304800" y="2235200"/>
            <a:ext cx="6238875" cy="2387600"/>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a:prstGeom prst="rect">
            <a:avLst/>
          </a:prstGeo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Tree>
  </p:cSld>
  <p:clrMapOvr>
    <a:masterClrMapping/>
  </p:clrMapOvr>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a:prstGeom prst="rect">
            <a:avLst/>
          </a:prstGeom>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Tree>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cSld>
  <p:clrMapOvr>
    <a:masterClrMapping/>
  </p:clrMapOv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a:prstGeom prst="rect">
            <a:avLst/>
          </a:prstGeom>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304800" y="889000"/>
            <a:ext cx="4184650" cy="5080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4641850" y="889000"/>
            <a:ext cx="4184650" cy="5080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a:prstGeom prst="rect">
            <a:avLst/>
          </a:prstGeom>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a:prstGeom prst="rect">
            <a:avLst/>
          </a:prstGeom>
        </p:spPr>
        <p:txBody>
          <a:bodyPr/>
          <a:lstStyle/>
          <a:p>
            <a:r>
              <a:rPr lang="ja-JP" altLang="en-US" smtClean="0"/>
              <a:t>マスタ タイトルの書式設定</a:t>
            </a:r>
            <a:endParaRPr lang="ja-JP" altLang="en-US"/>
          </a:p>
        </p:txBody>
      </p:sp>
    </p:spTree>
  </p:cSld>
  <p:clrMapOvr>
    <a:masterClrMapping/>
  </p:clrMapOv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cSld>
  <p:clrMapOvr>
    <a:masterClrMapping/>
  </p:clrMapOv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a:prstGeom prst="rect">
            <a:avLst/>
          </a:prstGeom>
        </p:spPr>
        <p:txBody>
          <a:bodyPr anchor="b"/>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a:prstGeom prst="rect">
            <a:avLst/>
          </a:prstGeom>
        </p:spPr>
        <p:txBody>
          <a:bodyPr anchor="b"/>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sym typeface="Palatino" charset="0"/>
            </a:endParaRPr>
          </a:p>
        </p:txBody>
      </p:sp>
      <p:sp>
        <p:nvSpPr>
          <p:cNvPr id="4"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a:prstGeom prst="rect">
            <a:avLst/>
          </a:prstGeom>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96075" y="274638"/>
            <a:ext cx="2130425" cy="5694362"/>
          </a:xfrm>
          <a:prstGeom prst="rect">
            <a:avLst/>
          </a:prstGeo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304800" y="274638"/>
            <a:ext cx="6238875" cy="5694362"/>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Tree>
  </p:cSld>
  <p:clrMapOvr>
    <a:masterClrMapping/>
  </p:clrMapOvr>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457200" y="1600200"/>
            <a:ext cx="8229600" cy="4525963"/>
          </a:xfrm>
          <a:prstGeom prst="rect">
            <a:avLst/>
          </a:prstGeom>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Tree>
  </p:cSld>
  <p:clrMapOvr>
    <a:masterClrMapping/>
  </p:clrMapOv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Tree>
  </p:cSld>
  <p:clrMapOvr>
    <a:masterClrMapping/>
  </p:clrMapOvr>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cSld>
  <p:clrMapOvr>
    <a:masterClrMapping/>
  </p:clrMapOv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sym typeface="Palatino" charset="0"/>
            </a:endParaRPr>
          </a:p>
        </p:txBody>
      </p:sp>
      <p:sp>
        <p:nvSpPr>
          <p:cNvPr id="4" name="テキスト プレースホルダ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457200" y="1600200"/>
            <a:ext cx="8229600" cy="4525963"/>
          </a:xfrm>
          <a:prstGeom prst="rect">
            <a:avLst/>
          </a:prstGeo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96075" y="101600"/>
            <a:ext cx="2130425" cy="6024563"/>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304800" y="101600"/>
            <a:ext cx="6238875" cy="6024563"/>
          </a:xfrm>
          <a:prstGeom prst="rect">
            <a:avLst/>
          </a:prstGeo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lang="ja-JP" altLang="en-US" smtClean="0"/>
              <a:t>マスタ タイトルの書式設定</a:t>
            </a:r>
            <a:endParaRPr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Tree>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sym typeface="Palatino" charset="0"/>
            </a:endParaRPr>
          </a:p>
        </p:txBody>
      </p:sp>
      <p:sp>
        <p:nvSpPr>
          <p:cNvPr id="4"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Tree>
  </p:cSld>
  <p:clrMapOvr>
    <a:masterClrMapping/>
  </p:clrMapOvr>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コンテンツ プレースホルダ 2"/>
          <p:cNvSpPr>
            <a:spLocks noGrp="1"/>
          </p:cNvSpPr>
          <p:nvPr>
            <p:ph sz="half" idx="1"/>
          </p:nvPr>
        </p:nvSpPr>
        <p:spPr>
          <a:xfrm>
            <a:off x="304800" y="1663700"/>
            <a:ext cx="2235200" cy="4572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 3"/>
          <p:cNvSpPr>
            <a:spLocks noGrp="1"/>
          </p:cNvSpPr>
          <p:nvPr>
            <p:ph sz="half" idx="2"/>
          </p:nvPr>
        </p:nvSpPr>
        <p:spPr>
          <a:xfrm>
            <a:off x="2692400" y="1663700"/>
            <a:ext cx="2235200" cy="4572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p:spPr>
        <p:txBody>
          <a:bodyPr/>
          <a:lstStyle>
            <a:lvl1pPr>
              <a:defRPr/>
            </a:lvl1pPr>
          </a:lstStyle>
          <a:p>
            <a:r>
              <a:rPr lang="ja-JP" altLang="en-US" smtClean="0"/>
              <a:t>マスタ タイトルの書式設定</a:t>
            </a:r>
            <a:endParaRPr lang="ja-JP" altLang="en-US"/>
          </a:p>
        </p:txBody>
      </p:sp>
      <p:sp>
        <p:nvSpPr>
          <p:cNvPr id="3"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4"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6"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Tree>
  </p:cSld>
  <p:clrMapOvr>
    <a:masterClrMapping/>
  </p:clrMapOvr>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cSld>
  <p:clrMapOvr>
    <a:masterClrMapping/>
  </p:clrMapOvr>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lang="ja-JP" altLang="en-US" smtClean="0"/>
              <a:t>マスタ タイトルの書式設定</a:t>
            </a:r>
            <a:endParaRPr lang="ja-JP" altLang="en-US"/>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sym typeface="Palatino" charset="0"/>
            </a:endParaRPr>
          </a:p>
        </p:txBody>
      </p:sp>
      <p:sp>
        <p:nvSpPr>
          <p:cNvPr id="4"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Tree>
  </p:cSld>
  <p:clrMapOvr>
    <a:masterClrMapping/>
  </p:clrMapOvr>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96075" y="101600"/>
            <a:ext cx="2130425" cy="6134100"/>
          </a:xfrm>
        </p:spPr>
        <p:txBody>
          <a:bodyPr vert="eaVert"/>
          <a:lstStyle/>
          <a:p>
            <a:r>
              <a:rPr lang="ja-JP" altLang="en-US" smtClean="0"/>
              <a:t>マスタ タイトルの書式設定</a:t>
            </a:r>
            <a:endParaRPr lang="ja-JP" altLang="en-US"/>
          </a:p>
        </p:txBody>
      </p:sp>
      <p:sp>
        <p:nvSpPr>
          <p:cNvPr id="3" name="縦書きテキスト プレースホルダ 2"/>
          <p:cNvSpPr>
            <a:spLocks noGrp="1"/>
          </p:cNvSpPr>
          <p:nvPr>
            <p:ph type="body" orient="vert" idx="1"/>
          </p:nvPr>
        </p:nvSpPr>
        <p:spPr>
          <a:xfrm>
            <a:off x="304800" y="101600"/>
            <a:ext cx="6238875" cy="6134100"/>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image" Target="../media/image1.jpeg"/><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theme" Target="../theme/theme10.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0" Type="http://schemas.openxmlformats.org/officeDocument/2006/relationships/slideLayout" Target="../slideLayouts/slideLayout109.xml"/><Relationship Id="rId4" Type="http://schemas.openxmlformats.org/officeDocument/2006/relationships/slideLayout" Target="../slideLayouts/slideLayout103.xml"/><Relationship Id="rId9" Type="http://schemas.openxmlformats.org/officeDocument/2006/relationships/slideLayout" Target="../slideLayouts/slideLayout10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image" Target="../media/image1.jpeg"/><Relationship Id="rId3" Type="http://schemas.openxmlformats.org/officeDocument/2006/relationships/slideLayout" Target="../slideLayouts/slideLayout113.xml"/><Relationship Id="rId7" Type="http://schemas.openxmlformats.org/officeDocument/2006/relationships/slideLayout" Target="../slideLayouts/slideLayout117.xml"/><Relationship Id="rId12" Type="http://schemas.openxmlformats.org/officeDocument/2006/relationships/theme" Target="../theme/theme11.xml"/><Relationship Id="rId2" Type="http://schemas.openxmlformats.org/officeDocument/2006/relationships/slideLayout" Target="../slideLayouts/slideLayout112.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5" Type="http://schemas.openxmlformats.org/officeDocument/2006/relationships/slideLayout" Target="../slideLayouts/slideLayout115.xml"/><Relationship Id="rId10" Type="http://schemas.openxmlformats.org/officeDocument/2006/relationships/slideLayout" Target="../slideLayouts/slideLayout120.xml"/><Relationship Id="rId4" Type="http://schemas.openxmlformats.org/officeDocument/2006/relationships/slideLayout" Target="../slideLayouts/slideLayout114.xml"/><Relationship Id="rId9" Type="http://schemas.openxmlformats.org/officeDocument/2006/relationships/slideLayout" Target="../slideLayouts/slideLayout11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image" Target="../media/image1.jpeg"/><Relationship Id="rId3" Type="http://schemas.openxmlformats.org/officeDocument/2006/relationships/slideLayout" Target="../slideLayouts/slideLayout124.xml"/><Relationship Id="rId7" Type="http://schemas.openxmlformats.org/officeDocument/2006/relationships/slideLayout" Target="../slideLayouts/slideLayout128.xml"/><Relationship Id="rId12" Type="http://schemas.openxmlformats.org/officeDocument/2006/relationships/theme" Target="../theme/theme12.xml"/><Relationship Id="rId2" Type="http://schemas.openxmlformats.org/officeDocument/2006/relationships/slideLayout" Target="../slideLayouts/slideLayout123.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0" Type="http://schemas.openxmlformats.org/officeDocument/2006/relationships/slideLayout" Target="../slideLayouts/slideLayout131.xml"/><Relationship Id="rId4" Type="http://schemas.openxmlformats.org/officeDocument/2006/relationships/slideLayout" Target="../slideLayouts/slideLayout125.xml"/><Relationship Id="rId9" Type="http://schemas.openxmlformats.org/officeDocument/2006/relationships/slideLayout" Target="../slideLayouts/slideLayout130.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40.xml"/><Relationship Id="rId3" Type="http://schemas.openxmlformats.org/officeDocument/2006/relationships/slideLayout" Target="../slideLayouts/slideLayout135.xml"/><Relationship Id="rId7" Type="http://schemas.openxmlformats.org/officeDocument/2006/relationships/slideLayout" Target="../slideLayouts/slideLayout139.xml"/><Relationship Id="rId12" Type="http://schemas.openxmlformats.org/officeDocument/2006/relationships/theme" Target="../theme/theme13.xml"/><Relationship Id="rId2" Type="http://schemas.openxmlformats.org/officeDocument/2006/relationships/slideLayout" Target="../slideLayouts/slideLayout134.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5" Type="http://schemas.openxmlformats.org/officeDocument/2006/relationships/slideLayout" Target="../slideLayouts/slideLayout137.xml"/><Relationship Id="rId10" Type="http://schemas.openxmlformats.org/officeDocument/2006/relationships/slideLayout" Target="../slideLayouts/slideLayout142.xml"/><Relationship Id="rId4" Type="http://schemas.openxmlformats.org/officeDocument/2006/relationships/slideLayout" Target="../slideLayouts/slideLayout136.xml"/><Relationship Id="rId9" Type="http://schemas.openxmlformats.org/officeDocument/2006/relationships/slideLayout" Target="../slideLayouts/slideLayout141.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image" Target="../media/image4.jpeg"/><Relationship Id="rId3" Type="http://schemas.openxmlformats.org/officeDocument/2006/relationships/slideLayout" Target="../slideLayouts/slideLayout146.xml"/><Relationship Id="rId7" Type="http://schemas.openxmlformats.org/officeDocument/2006/relationships/slideLayout" Target="../slideLayouts/slideLayout150.xml"/><Relationship Id="rId12" Type="http://schemas.openxmlformats.org/officeDocument/2006/relationships/theme" Target="../theme/theme14.xml"/><Relationship Id="rId2" Type="http://schemas.openxmlformats.org/officeDocument/2006/relationships/slideLayout" Target="../slideLayouts/slideLayout145.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5" Type="http://schemas.openxmlformats.org/officeDocument/2006/relationships/slideLayout" Target="../slideLayouts/slideLayout148.xml"/><Relationship Id="rId10" Type="http://schemas.openxmlformats.org/officeDocument/2006/relationships/slideLayout" Target="../slideLayouts/slideLayout153.xml"/><Relationship Id="rId4" Type="http://schemas.openxmlformats.org/officeDocument/2006/relationships/slideLayout" Target="../slideLayouts/slideLayout147.xml"/><Relationship Id="rId9" Type="http://schemas.openxmlformats.org/officeDocument/2006/relationships/slideLayout" Target="../slideLayouts/slideLayout152.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image" Target="../media/image4.jpeg"/><Relationship Id="rId3" Type="http://schemas.openxmlformats.org/officeDocument/2006/relationships/slideLayout" Target="../slideLayouts/slideLayout157.xml"/><Relationship Id="rId7" Type="http://schemas.openxmlformats.org/officeDocument/2006/relationships/slideLayout" Target="../slideLayouts/slideLayout161.xml"/><Relationship Id="rId12" Type="http://schemas.openxmlformats.org/officeDocument/2006/relationships/theme" Target="../theme/theme15.xml"/><Relationship Id="rId2" Type="http://schemas.openxmlformats.org/officeDocument/2006/relationships/slideLayout" Target="../slideLayouts/slideLayout156.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5" Type="http://schemas.openxmlformats.org/officeDocument/2006/relationships/slideLayout" Target="../slideLayouts/slideLayout159.xml"/><Relationship Id="rId10" Type="http://schemas.openxmlformats.org/officeDocument/2006/relationships/slideLayout" Target="../slideLayouts/slideLayout164.xml"/><Relationship Id="rId4" Type="http://schemas.openxmlformats.org/officeDocument/2006/relationships/slideLayout" Target="../slideLayouts/slideLayout158.xml"/><Relationship Id="rId9" Type="http://schemas.openxmlformats.org/officeDocument/2006/relationships/slideLayout" Target="../slideLayouts/slideLayout163.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73.xml"/><Relationship Id="rId13" Type="http://schemas.openxmlformats.org/officeDocument/2006/relationships/image" Target="../media/image5.jpeg"/><Relationship Id="rId3" Type="http://schemas.openxmlformats.org/officeDocument/2006/relationships/slideLayout" Target="../slideLayouts/slideLayout168.xml"/><Relationship Id="rId7" Type="http://schemas.openxmlformats.org/officeDocument/2006/relationships/slideLayout" Target="../slideLayouts/slideLayout172.xml"/><Relationship Id="rId12" Type="http://schemas.openxmlformats.org/officeDocument/2006/relationships/theme" Target="../theme/theme16.xml"/><Relationship Id="rId2" Type="http://schemas.openxmlformats.org/officeDocument/2006/relationships/slideLayout" Target="../slideLayouts/slideLayout167.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5" Type="http://schemas.openxmlformats.org/officeDocument/2006/relationships/slideLayout" Target="../slideLayouts/slideLayout170.xml"/><Relationship Id="rId10" Type="http://schemas.openxmlformats.org/officeDocument/2006/relationships/slideLayout" Target="../slideLayouts/slideLayout175.xml"/><Relationship Id="rId4" Type="http://schemas.openxmlformats.org/officeDocument/2006/relationships/slideLayout" Target="../slideLayouts/slideLayout169.xml"/><Relationship Id="rId9" Type="http://schemas.openxmlformats.org/officeDocument/2006/relationships/slideLayout" Target="../slideLayouts/slideLayout174.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84.xml"/><Relationship Id="rId13" Type="http://schemas.openxmlformats.org/officeDocument/2006/relationships/image" Target="../media/image4.jpeg"/><Relationship Id="rId3" Type="http://schemas.openxmlformats.org/officeDocument/2006/relationships/slideLayout" Target="../slideLayouts/slideLayout179.xml"/><Relationship Id="rId7" Type="http://schemas.openxmlformats.org/officeDocument/2006/relationships/slideLayout" Target="../slideLayouts/slideLayout183.xml"/><Relationship Id="rId12" Type="http://schemas.openxmlformats.org/officeDocument/2006/relationships/theme" Target="../theme/theme17.xml"/><Relationship Id="rId2" Type="http://schemas.openxmlformats.org/officeDocument/2006/relationships/slideLayout" Target="../slideLayouts/slideLayout178.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11" Type="http://schemas.openxmlformats.org/officeDocument/2006/relationships/slideLayout" Target="../slideLayouts/slideLayout187.xml"/><Relationship Id="rId5" Type="http://schemas.openxmlformats.org/officeDocument/2006/relationships/slideLayout" Target="../slideLayouts/slideLayout181.xml"/><Relationship Id="rId10" Type="http://schemas.openxmlformats.org/officeDocument/2006/relationships/slideLayout" Target="../slideLayouts/slideLayout186.xml"/><Relationship Id="rId4" Type="http://schemas.openxmlformats.org/officeDocument/2006/relationships/slideLayout" Target="../slideLayouts/slideLayout180.xml"/><Relationship Id="rId9" Type="http://schemas.openxmlformats.org/officeDocument/2006/relationships/slideLayout" Target="../slideLayouts/slideLayout185.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95.xml"/><Relationship Id="rId13" Type="http://schemas.openxmlformats.org/officeDocument/2006/relationships/image" Target="../media/image4.jpeg"/><Relationship Id="rId3" Type="http://schemas.openxmlformats.org/officeDocument/2006/relationships/slideLayout" Target="../slideLayouts/slideLayout190.xml"/><Relationship Id="rId7" Type="http://schemas.openxmlformats.org/officeDocument/2006/relationships/slideLayout" Target="../slideLayouts/slideLayout194.xml"/><Relationship Id="rId12" Type="http://schemas.openxmlformats.org/officeDocument/2006/relationships/theme" Target="../theme/theme18.xml"/><Relationship Id="rId2" Type="http://schemas.openxmlformats.org/officeDocument/2006/relationships/slideLayout" Target="../slideLayouts/slideLayout189.xml"/><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slideLayout" Target="../slideLayouts/slideLayout198.xml"/><Relationship Id="rId5" Type="http://schemas.openxmlformats.org/officeDocument/2006/relationships/slideLayout" Target="../slideLayouts/slideLayout192.xml"/><Relationship Id="rId10" Type="http://schemas.openxmlformats.org/officeDocument/2006/relationships/slideLayout" Target="../slideLayouts/slideLayout197.xml"/><Relationship Id="rId4" Type="http://schemas.openxmlformats.org/officeDocument/2006/relationships/slideLayout" Target="../slideLayouts/slideLayout191.xml"/><Relationship Id="rId9" Type="http://schemas.openxmlformats.org/officeDocument/2006/relationships/slideLayout" Target="../slideLayouts/slideLayout196.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06.xml"/><Relationship Id="rId13" Type="http://schemas.openxmlformats.org/officeDocument/2006/relationships/image" Target="../media/image5.jpeg"/><Relationship Id="rId3" Type="http://schemas.openxmlformats.org/officeDocument/2006/relationships/slideLayout" Target="../slideLayouts/slideLayout201.xml"/><Relationship Id="rId7" Type="http://schemas.openxmlformats.org/officeDocument/2006/relationships/slideLayout" Target="../slideLayouts/slideLayout205.xml"/><Relationship Id="rId12" Type="http://schemas.openxmlformats.org/officeDocument/2006/relationships/theme" Target="../theme/theme19.xml"/><Relationship Id="rId2" Type="http://schemas.openxmlformats.org/officeDocument/2006/relationships/slideLayout" Target="../slideLayouts/slideLayout200.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11" Type="http://schemas.openxmlformats.org/officeDocument/2006/relationships/slideLayout" Target="../slideLayouts/slideLayout209.xml"/><Relationship Id="rId5" Type="http://schemas.openxmlformats.org/officeDocument/2006/relationships/slideLayout" Target="../slideLayouts/slideLayout203.xml"/><Relationship Id="rId10" Type="http://schemas.openxmlformats.org/officeDocument/2006/relationships/slideLayout" Target="../slideLayouts/slideLayout208.xml"/><Relationship Id="rId4" Type="http://schemas.openxmlformats.org/officeDocument/2006/relationships/slideLayout" Target="../slideLayouts/slideLayout202.xml"/><Relationship Id="rId9" Type="http://schemas.openxmlformats.org/officeDocument/2006/relationships/slideLayout" Target="../slideLayouts/slideLayout20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2.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217.xml"/><Relationship Id="rId13" Type="http://schemas.openxmlformats.org/officeDocument/2006/relationships/image" Target="../media/image4.jpeg"/><Relationship Id="rId3" Type="http://schemas.openxmlformats.org/officeDocument/2006/relationships/slideLayout" Target="../slideLayouts/slideLayout212.xml"/><Relationship Id="rId7" Type="http://schemas.openxmlformats.org/officeDocument/2006/relationships/slideLayout" Target="../slideLayouts/slideLayout216.xml"/><Relationship Id="rId12" Type="http://schemas.openxmlformats.org/officeDocument/2006/relationships/theme" Target="../theme/theme20.xml"/><Relationship Id="rId2" Type="http://schemas.openxmlformats.org/officeDocument/2006/relationships/slideLayout" Target="../slideLayouts/slideLayout211.xml"/><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5" Type="http://schemas.openxmlformats.org/officeDocument/2006/relationships/slideLayout" Target="../slideLayouts/slideLayout214.xml"/><Relationship Id="rId10" Type="http://schemas.openxmlformats.org/officeDocument/2006/relationships/slideLayout" Target="../slideLayouts/slideLayout219.xml"/><Relationship Id="rId4" Type="http://schemas.openxmlformats.org/officeDocument/2006/relationships/slideLayout" Target="../slideLayouts/slideLayout213.xml"/><Relationship Id="rId9" Type="http://schemas.openxmlformats.org/officeDocument/2006/relationships/slideLayout" Target="../slideLayouts/slideLayout218.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228.xml"/><Relationship Id="rId13" Type="http://schemas.openxmlformats.org/officeDocument/2006/relationships/image" Target="../media/image5.jpeg"/><Relationship Id="rId3" Type="http://schemas.openxmlformats.org/officeDocument/2006/relationships/slideLayout" Target="../slideLayouts/slideLayout223.xml"/><Relationship Id="rId7" Type="http://schemas.openxmlformats.org/officeDocument/2006/relationships/slideLayout" Target="../slideLayouts/slideLayout227.xml"/><Relationship Id="rId12" Type="http://schemas.openxmlformats.org/officeDocument/2006/relationships/theme" Target="../theme/theme21.xml"/><Relationship Id="rId2" Type="http://schemas.openxmlformats.org/officeDocument/2006/relationships/slideLayout" Target="../slideLayouts/slideLayout222.xml"/><Relationship Id="rId1" Type="http://schemas.openxmlformats.org/officeDocument/2006/relationships/slideLayout" Target="../slideLayouts/slideLayout221.xml"/><Relationship Id="rId6" Type="http://schemas.openxmlformats.org/officeDocument/2006/relationships/slideLayout" Target="../slideLayouts/slideLayout226.xml"/><Relationship Id="rId11" Type="http://schemas.openxmlformats.org/officeDocument/2006/relationships/slideLayout" Target="../slideLayouts/slideLayout231.xml"/><Relationship Id="rId5" Type="http://schemas.openxmlformats.org/officeDocument/2006/relationships/slideLayout" Target="../slideLayouts/slideLayout225.xml"/><Relationship Id="rId10" Type="http://schemas.openxmlformats.org/officeDocument/2006/relationships/slideLayout" Target="../slideLayouts/slideLayout230.xml"/><Relationship Id="rId4" Type="http://schemas.openxmlformats.org/officeDocument/2006/relationships/slideLayout" Target="../slideLayouts/slideLayout224.xml"/><Relationship Id="rId9" Type="http://schemas.openxmlformats.org/officeDocument/2006/relationships/slideLayout" Target="../slideLayouts/slideLayout229.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239.xml"/><Relationship Id="rId13" Type="http://schemas.openxmlformats.org/officeDocument/2006/relationships/image" Target="../media/image4.jpeg"/><Relationship Id="rId3" Type="http://schemas.openxmlformats.org/officeDocument/2006/relationships/slideLayout" Target="../slideLayouts/slideLayout234.xml"/><Relationship Id="rId7" Type="http://schemas.openxmlformats.org/officeDocument/2006/relationships/slideLayout" Target="../slideLayouts/slideLayout238.xml"/><Relationship Id="rId12" Type="http://schemas.openxmlformats.org/officeDocument/2006/relationships/theme" Target="../theme/theme22.xml"/><Relationship Id="rId2" Type="http://schemas.openxmlformats.org/officeDocument/2006/relationships/slideLayout" Target="../slideLayouts/slideLayout233.xml"/><Relationship Id="rId1" Type="http://schemas.openxmlformats.org/officeDocument/2006/relationships/slideLayout" Target="../slideLayouts/slideLayout232.xml"/><Relationship Id="rId6" Type="http://schemas.openxmlformats.org/officeDocument/2006/relationships/slideLayout" Target="../slideLayouts/slideLayout237.xml"/><Relationship Id="rId11" Type="http://schemas.openxmlformats.org/officeDocument/2006/relationships/slideLayout" Target="../slideLayouts/slideLayout242.xml"/><Relationship Id="rId5" Type="http://schemas.openxmlformats.org/officeDocument/2006/relationships/slideLayout" Target="../slideLayouts/slideLayout236.xml"/><Relationship Id="rId10" Type="http://schemas.openxmlformats.org/officeDocument/2006/relationships/slideLayout" Target="../slideLayouts/slideLayout241.xml"/><Relationship Id="rId4" Type="http://schemas.openxmlformats.org/officeDocument/2006/relationships/slideLayout" Target="../slideLayouts/slideLayout235.xml"/><Relationship Id="rId9" Type="http://schemas.openxmlformats.org/officeDocument/2006/relationships/slideLayout" Target="../slideLayouts/slideLayout240.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50.xml"/><Relationship Id="rId3" Type="http://schemas.openxmlformats.org/officeDocument/2006/relationships/slideLayout" Target="../slideLayouts/slideLayout245.xml"/><Relationship Id="rId7" Type="http://schemas.openxmlformats.org/officeDocument/2006/relationships/slideLayout" Target="../slideLayouts/slideLayout249.xml"/><Relationship Id="rId12" Type="http://schemas.openxmlformats.org/officeDocument/2006/relationships/theme" Target="../theme/theme23.xml"/><Relationship Id="rId2" Type="http://schemas.openxmlformats.org/officeDocument/2006/relationships/slideLayout" Target="../slideLayouts/slideLayout244.xml"/><Relationship Id="rId1" Type="http://schemas.openxmlformats.org/officeDocument/2006/relationships/slideLayout" Target="../slideLayouts/slideLayout243.xml"/><Relationship Id="rId6" Type="http://schemas.openxmlformats.org/officeDocument/2006/relationships/slideLayout" Target="../slideLayouts/slideLayout248.xml"/><Relationship Id="rId11" Type="http://schemas.openxmlformats.org/officeDocument/2006/relationships/slideLayout" Target="../slideLayouts/slideLayout253.xml"/><Relationship Id="rId5" Type="http://schemas.openxmlformats.org/officeDocument/2006/relationships/slideLayout" Target="../slideLayouts/slideLayout247.xml"/><Relationship Id="rId10" Type="http://schemas.openxmlformats.org/officeDocument/2006/relationships/slideLayout" Target="../slideLayouts/slideLayout252.xml"/><Relationship Id="rId4" Type="http://schemas.openxmlformats.org/officeDocument/2006/relationships/slideLayout" Target="../slideLayouts/slideLayout246.xml"/><Relationship Id="rId9" Type="http://schemas.openxmlformats.org/officeDocument/2006/relationships/slideLayout" Target="../slideLayouts/slideLayout251.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61.xml"/><Relationship Id="rId13" Type="http://schemas.openxmlformats.org/officeDocument/2006/relationships/image" Target="../media/image4.jpeg"/><Relationship Id="rId3" Type="http://schemas.openxmlformats.org/officeDocument/2006/relationships/slideLayout" Target="../slideLayouts/slideLayout256.xml"/><Relationship Id="rId7" Type="http://schemas.openxmlformats.org/officeDocument/2006/relationships/slideLayout" Target="../slideLayouts/slideLayout260.xml"/><Relationship Id="rId12" Type="http://schemas.openxmlformats.org/officeDocument/2006/relationships/theme" Target="../theme/theme24.xml"/><Relationship Id="rId2" Type="http://schemas.openxmlformats.org/officeDocument/2006/relationships/slideLayout" Target="../slideLayouts/slideLayout255.xml"/><Relationship Id="rId1" Type="http://schemas.openxmlformats.org/officeDocument/2006/relationships/slideLayout" Target="../slideLayouts/slideLayout254.xml"/><Relationship Id="rId6" Type="http://schemas.openxmlformats.org/officeDocument/2006/relationships/slideLayout" Target="../slideLayouts/slideLayout259.xml"/><Relationship Id="rId11" Type="http://schemas.openxmlformats.org/officeDocument/2006/relationships/slideLayout" Target="../slideLayouts/slideLayout264.xml"/><Relationship Id="rId5" Type="http://schemas.openxmlformats.org/officeDocument/2006/relationships/slideLayout" Target="../slideLayouts/slideLayout258.xml"/><Relationship Id="rId10" Type="http://schemas.openxmlformats.org/officeDocument/2006/relationships/slideLayout" Target="../slideLayouts/slideLayout263.xml"/><Relationship Id="rId4" Type="http://schemas.openxmlformats.org/officeDocument/2006/relationships/slideLayout" Target="../slideLayouts/slideLayout257.xml"/><Relationship Id="rId9" Type="http://schemas.openxmlformats.org/officeDocument/2006/relationships/slideLayout" Target="../slideLayouts/slideLayout262.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72.xml"/><Relationship Id="rId13" Type="http://schemas.openxmlformats.org/officeDocument/2006/relationships/image" Target="../media/image4.jpeg"/><Relationship Id="rId3" Type="http://schemas.openxmlformats.org/officeDocument/2006/relationships/slideLayout" Target="../slideLayouts/slideLayout267.xml"/><Relationship Id="rId7" Type="http://schemas.openxmlformats.org/officeDocument/2006/relationships/slideLayout" Target="../slideLayouts/slideLayout271.xml"/><Relationship Id="rId12" Type="http://schemas.openxmlformats.org/officeDocument/2006/relationships/theme" Target="../theme/theme25.xml"/><Relationship Id="rId2" Type="http://schemas.openxmlformats.org/officeDocument/2006/relationships/slideLayout" Target="../slideLayouts/slideLayout266.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slideLayout" Target="../slideLayouts/slideLayout275.xml"/><Relationship Id="rId5" Type="http://schemas.openxmlformats.org/officeDocument/2006/relationships/slideLayout" Target="../slideLayouts/slideLayout269.xml"/><Relationship Id="rId10" Type="http://schemas.openxmlformats.org/officeDocument/2006/relationships/slideLayout" Target="../slideLayouts/slideLayout274.xml"/><Relationship Id="rId4" Type="http://schemas.openxmlformats.org/officeDocument/2006/relationships/slideLayout" Target="../slideLayouts/slideLayout268.xml"/><Relationship Id="rId9" Type="http://schemas.openxmlformats.org/officeDocument/2006/relationships/slideLayout" Target="../slideLayouts/slideLayout273.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83.xml"/><Relationship Id="rId3" Type="http://schemas.openxmlformats.org/officeDocument/2006/relationships/slideLayout" Target="../slideLayouts/slideLayout278.xml"/><Relationship Id="rId7" Type="http://schemas.openxmlformats.org/officeDocument/2006/relationships/slideLayout" Target="../slideLayouts/slideLayout282.xml"/><Relationship Id="rId12" Type="http://schemas.openxmlformats.org/officeDocument/2006/relationships/theme" Target="../theme/theme26.xml"/><Relationship Id="rId2" Type="http://schemas.openxmlformats.org/officeDocument/2006/relationships/slideLayout" Target="../slideLayouts/slideLayout277.xml"/><Relationship Id="rId1" Type="http://schemas.openxmlformats.org/officeDocument/2006/relationships/slideLayout" Target="../slideLayouts/slideLayout276.xml"/><Relationship Id="rId6" Type="http://schemas.openxmlformats.org/officeDocument/2006/relationships/slideLayout" Target="../slideLayouts/slideLayout281.xml"/><Relationship Id="rId11" Type="http://schemas.openxmlformats.org/officeDocument/2006/relationships/slideLayout" Target="../slideLayouts/slideLayout286.xml"/><Relationship Id="rId5" Type="http://schemas.openxmlformats.org/officeDocument/2006/relationships/slideLayout" Target="../slideLayouts/slideLayout280.xml"/><Relationship Id="rId10" Type="http://schemas.openxmlformats.org/officeDocument/2006/relationships/slideLayout" Target="../slideLayouts/slideLayout285.xml"/><Relationship Id="rId4" Type="http://schemas.openxmlformats.org/officeDocument/2006/relationships/slideLayout" Target="../slideLayouts/slideLayout279.xml"/><Relationship Id="rId9" Type="http://schemas.openxmlformats.org/officeDocument/2006/relationships/slideLayout" Target="../slideLayouts/slideLayout284.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94.xml"/><Relationship Id="rId13" Type="http://schemas.openxmlformats.org/officeDocument/2006/relationships/image" Target="../media/image4.jpeg"/><Relationship Id="rId3" Type="http://schemas.openxmlformats.org/officeDocument/2006/relationships/slideLayout" Target="../slideLayouts/slideLayout289.xml"/><Relationship Id="rId7" Type="http://schemas.openxmlformats.org/officeDocument/2006/relationships/slideLayout" Target="../slideLayouts/slideLayout293.xml"/><Relationship Id="rId12" Type="http://schemas.openxmlformats.org/officeDocument/2006/relationships/theme" Target="../theme/theme27.xml"/><Relationship Id="rId2" Type="http://schemas.openxmlformats.org/officeDocument/2006/relationships/slideLayout" Target="../slideLayouts/slideLayout288.xml"/><Relationship Id="rId1" Type="http://schemas.openxmlformats.org/officeDocument/2006/relationships/slideLayout" Target="../slideLayouts/slideLayout287.xml"/><Relationship Id="rId6" Type="http://schemas.openxmlformats.org/officeDocument/2006/relationships/slideLayout" Target="../slideLayouts/slideLayout292.xml"/><Relationship Id="rId11" Type="http://schemas.openxmlformats.org/officeDocument/2006/relationships/slideLayout" Target="../slideLayouts/slideLayout297.xml"/><Relationship Id="rId5" Type="http://schemas.openxmlformats.org/officeDocument/2006/relationships/slideLayout" Target="../slideLayouts/slideLayout291.xml"/><Relationship Id="rId10" Type="http://schemas.openxmlformats.org/officeDocument/2006/relationships/slideLayout" Target="../slideLayouts/slideLayout296.xml"/><Relationship Id="rId4" Type="http://schemas.openxmlformats.org/officeDocument/2006/relationships/slideLayout" Target="../slideLayouts/slideLayout290.xml"/><Relationship Id="rId9" Type="http://schemas.openxmlformats.org/officeDocument/2006/relationships/slideLayout" Target="../slideLayouts/slideLayout295.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305.xml"/><Relationship Id="rId13" Type="http://schemas.openxmlformats.org/officeDocument/2006/relationships/image" Target="../media/image5.jpeg"/><Relationship Id="rId3" Type="http://schemas.openxmlformats.org/officeDocument/2006/relationships/slideLayout" Target="../slideLayouts/slideLayout300.xml"/><Relationship Id="rId7" Type="http://schemas.openxmlformats.org/officeDocument/2006/relationships/slideLayout" Target="../slideLayouts/slideLayout304.xml"/><Relationship Id="rId12" Type="http://schemas.openxmlformats.org/officeDocument/2006/relationships/theme" Target="../theme/theme28.xml"/><Relationship Id="rId2" Type="http://schemas.openxmlformats.org/officeDocument/2006/relationships/slideLayout" Target="../slideLayouts/slideLayout299.xml"/><Relationship Id="rId1" Type="http://schemas.openxmlformats.org/officeDocument/2006/relationships/slideLayout" Target="../slideLayouts/slideLayout298.xml"/><Relationship Id="rId6" Type="http://schemas.openxmlformats.org/officeDocument/2006/relationships/slideLayout" Target="../slideLayouts/slideLayout303.xml"/><Relationship Id="rId11" Type="http://schemas.openxmlformats.org/officeDocument/2006/relationships/slideLayout" Target="../slideLayouts/slideLayout308.xml"/><Relationship Id="rId5" Type="http://schemas.openxmlformats.org/officeDocument/2006/relationships/slideLayout" Target="../slideLayouts/slideLayout302.xml"/><Relationship Id="rId10" Type="http://schemas.openxmlformats.org/officeDocument/2006/relationships/slideLayout" Target="../slideLayouts/slideLayout307.xml"/><Relationship Id="rId4" Type="http://schemas.openxmlformats.org/officeDocument/2006/relationships/slideLayout" Target="../slideLayouts/slideLayout301.xml"/><Relationship Id="rId9" Type="http://schemas.openxmlformats.org/officeDocument/2006/relationships/slideLayout" Target="../slideLayouts/slideLayout306.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316.xml"/><Relationship Id="rId13" Type="http://schemas.openxmlformats.org/officeDocument/2006/relationships/image" Target="../media/image4.jpeg"/><Relationship Id="rId3" Type="http://schemas.openxmlformats.org/officeDocument/2006/relationships/slideLayout" Target="../slideLayouts/slideLayout311.xml"/><Relationship Id="rId7" Type="http://schemas.openxmlformats.org/officeDocument/2006/relationships/slideLayout" Target="../slideLayouts/slideLayout315.xml"/><Relationship Id="rId12" Type="http://schemas.openxmlformats.org/officeDocument/2006/relationships/theme" Target="../theme/theme29.xml"/><Relationship Id="rId2" Type="http://schemas.openxmlformats.org/officeDocument/2006/relationships/slideLayout" Target="../slideLayouts/slideLayout310.xml"/><Relationship Id="rId1" Type="http://schemas.openxmlformats.org/officeDocument/2006/relationships/slideLayout" Target="../slideLayouts/slideLayout309.xml"/><Relationship Id="rId6" Type="http://schemas.openxmlformats.org/officeDocument/2006/relationships/slideLayout" Target="../slideLayouts/slideLayout314.xml"/><Relationship Id="rId11" Type="http://schemas.openxmlformats.org/officeDocument/2006/relationships/slideLayout" Target="../slideLayouts/slideLayout319.xml"/><Relationship Id="rId5" Type="http://schemas.openxmlformats.org/officeDocument/2006/relationships/slideLayout" Target="../slideLayouts/slideLayout313.xml"/><Relationship Id="rId10" Type="http://schemas.openxmlformats.org/officeDocument/2006/relationships/slideLayout" Target="../slideLayouts/slideLayout318.xml"/><Relationship Id="rId4" Type="http://schemas.openxmlformats.org/officeDocument/2006/relationships/slideLayout" Target="../slideLayouts/slideLayout312.xml"/><Relationship Id="rId9" Type="http://schemas.openxmlformats.org/officeDocument/2006/relationships/slideLayout" Target="../slideLayouts/slideLayout31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2.jpe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327.xml"/><Relationship Id="rId13" Type="http://schemas.openxmlformats.org/officeDocument/2006/relationships/image" Target="../media/image5.jpeg"/><Relationship Id="rId3" Type="http://schemas.openxmlformats.org/officeDocument/2006/relationships/slideLayout" Target="../slideLayouts/slideLayout322.xml"/><Relationship Id="rId7" Type="http://schemas.openxmlformats.org/officeDocument/2006/relationships/slideLayout" Target="../slideLayouts/slideLayout326.xml"/><Relationship Id="rId12" Type="http://schemas.openxmlformats.org/officeDocument/2006/relationships/theme" Target="../theme/theme30.xml"/><Relationship Id="rId2" Type="http://schemas.openxmlformats.org/officeDocument/2006/relationships/slideLayout" Target="../slideLayouts/slideLayout321.xml"/><Relationship Id="rId1" Type="http://schemas.openxmlformats.org/officeDocument/2006/relationships/slideLayout" Target="../slideLayouts/slideLayout320.xml"/><Relationship Id="rId6" Type="http://schemas.openxmlformats.org/officeDocument/2006/relationships/slideLayout" Target="../slideLayouts/slideLayout325.xml"/><Relationship Id="rId11" Type="http://schemas.openxmlformats.org/officeDocument/2006/relationships/slideLayout" Target="../slideLayouts/slideLayout330.xml"/><Relationship Id="rId5" Type="http://schemas.openxmlformats.org/officeDocument/2006/relationships/slideLayout" Target="../slideLayouts/slideLayout324.xml"/><Relationship Id="rId10" Type="http://schemas.openxmlformats.org/officeDocument/2006/relationships/slideLayout" Target="../slideLayouts/slideLayout329.xml"/><Relationship Id="rId4" Type="http://schemas.openxmlformats.org/officeDocument/2006/relationships/slideLayout" Target="../slideLayouts/slideLayout323.xml"/><Relationship Id="rId9" Type="http://schemas.openxmlformats.org/officeDocument/2006/relationships/slideLayout" Target="../slideLayouts/slideLayout328.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338.xml"/><Relationship Id="rId13" Type="http://schemas.openxmlformats.org/officeDocument/2006/relationships/theme" Target="../theme/theme31.xml"/><Relationship Id="rId3" Type="http://schemas.openxmlformats.org/officeDocument/2006/relationships/slideLayout" Target="../slideLayouts/slideLayout333.xml"/><Relationship Id="rId7" Type="http://schemas.openxmlformats.org/officeDocument/2006/relationships/slideLayout" Target="../slideLayouts/slideLayout337.xml"/><Relationship Id="rId12" Type="http://schemas.openxmlformats.org/officeDocument/2006/relationships/slideLayout" Target="../slideLayouts/slideLayout342.xml"/><Relationship Id="rId2" Type="http://schemas.openxmlformats.org/officeDocument/2006/relationships/slideLayout" Target="../slideLayouts/slideLayout332.xml"/><Relationship Id="rId1" Type="http://schemas.openxmlformats.org/officeDocument/2006/relationships/slideLayout" Target="../slideLayouts/slideLayout331.xml"/><Relationship Id="rId6" Type="http://schemas.openxmlformats.org/officeDocument/2006/relationships/slideLayout" Target="../slideLayouts/slideLayout336.xml"/><Relationship Id="rId11" Type="http://schemas.openxmlformats.org/officeDocument/2006/relationships/slideLayout" Target="../slideLayouts/slideLayout341.xml"/><Relationship Id="rId5" Type="http://schemas.openxmlformats.org/officeDocument/2006/relationships/slideLayout" Target="../slideLayouts/slideLayout335.xml"/><Relationship Id="rId10" Type="http://schemas.openxmlformats.org/officeDocument/2006/relationships/slideLayout" Target="../slideLayouts/slideLayout340.xml"/><Relationship Id="rId4" Type="http://schemas.openxmlformats.org/officeDocument/2006/relationships/slideLayout" Target="../slideLayouts/slideLayout334.xml"/><Relationship Id="rId9" Type="http://schemas.openxmlformats.org/officeDocument/2006/relationships/slideLayout" Target="../slideLayouts/slideLayout3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image" Target="../media/image2.jpeg"/><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image" Target="../media/image3.jpeg"/><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5.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image" Target="../media/image3.jpeg"/><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theme" Target="../theme/theme6.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image" Target="../media/image2.jpeg"/><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theme" Target="../theme/theme7.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image" Target="../media/image1.jpeg"/><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theme" Target="../theme/theme8.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image" Target="../media/image1.jpeg"/><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theme" Target="../theme/theme9.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0" Type="http://schemas.openxmlformats.org/officeDocument/2006/relationships/slideLayout" Target="../slideLayouts/slideLayout98.xml"/><Relationship Id="rId4" Type="http://schemas.openxmlformats.org/officeDocument/2006/relationships/slideLayout" Target="../slideLayouts/slideLayout92.xml"/><Relationship Id="rId9" Type="http://schemas.openxmlformats.org/officeDocument/2006/relationships/slideLayout" Target="../slideLayouts/slideLayout9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13314" name="Rectangle 1"/>
          <p:cNvSpPr>
            <a:spLocks noGrp="1" noChangeArrowheads="1"/>
          </p:cNvSpPr>
          <p:nvPr>
            <p:ph type="title"/>
          </p:nvPr>
        </p:nvSpPr>
        <p:spPr bwMode="auto">
          <a:xfrm>
            <a:off x="304800" y="101600"/>
            <a:ext cx="8521700" cy="965200"/>
          </a:xfrm>
          <a:prstGeom prst="rect">
            <a:avLst/>
          </a:prstGeom>
          <a:noFill/>
          <a:ln w="12700">
            <a:noFill/>
            <a:miter lim="800000"/>
            <a:headEnd/>
            <a:tailEnd/>
          </a:ln>
        </p:spPr>
        <p:txBody>
          <a:bodyPr vert="horz" wrap="square" lIns="38100" tIns="38100" rIns="38100" bIns="38100" numCol="1" anchor="ctr" anchorCtr="0" compatLnSpc="1">
            <a:prstTxWarp prst="textNoShape">
              <a:avLst/>
            </a:prstTxWarp>
          </a:bodyPr>
          <a:lstStyle/>
          <a:p>
            <a:pPr lvl="0"/>
            <a:r>
              <a:rPr lang="en-US" altLang="ja-JP" smtClean="0">
                <a:sym typeface="Herculanum"/>
              </a:rPr>
              <a:t>Click to edit Master title style</a:t>
            </a:r>
          </a:p>
        </p:txBody>
      </p:sp>
      <p:sp>
        <p:nvSpPr>
          <p:cNvPr id="13315" name="Rectangle 2"/>
          <p:cNvSpPr>
            <a:spLocks noGrp="1" noChangeArrowheads="1"/>
          </p:cNvSpPr>
          <p:nvPr>
            <p:ph type="body" idx="1"/>
          </p:nvPr>
        </p:nvSpPr>
        <p:spPr bwMode="auto">
          <a:xfrm>
            <a:off x="304800" y="1663700"/>
            <a:ext cx="8521700" cy="4572000"/>
          </a:xfrm>
          <a:prstGeom prst="rect">
            <a:avLst/>
          </a:prstGeom>
          <a:noFill/>
          <a:ln w="12700">
            <a:noFill/>
            <a:miter lim="800000"/>
            <a:headEnd/>
            <a:tailEnd/>
          </a:ln>
        </p:spPr>
        <p:txBody>
          <a:bodyPr vert="horz" wrap="square" lIns="38100" tIns="38100" rIns="38100" bIns="38100" numCol="1" anchor="ctr" anchorCtr="0" compatLnSpc="1">
            <a:prstTxWarp prst="textNoShape">
              <a:avLst/>
            </a:prstTxWarp>
          </a:bodyPr>
          <a:lstStyle/>
          <a:p>
            <a:pPr lvl="0"/>
            <a:r>
              <a:rPr lang="en-US" altLang="ja-JP" smtClean="0">
                <a:sym typeface="Palatino"/>
              </a:rPr>
              <a:t>Click to edit Master text styles</a:t>
            </a:r>
          </a:p>
          <a:p>
            <a:pPr lvl="1"/>
            <a:r>
              <a:rPr lang="en-US" altLang="ja-JP" smtClean="0">
                <a:sym typeface="Palatino"/>
              </a:rPr>
              <a:t>Second level</a:t>
            </a:r>
          </a:p>
          <a:p>
            <a:pPr lvl="2"/>
            <a:r>
              <a:rPr lang="en-US" altLang="ja-JP" smtClean="0">
                <a:sym typeface="Palatino"/>
              </a:rPr>
              <a:t>Third level</a:t>
            </a:r>
          </a:p>
          <a:p>
            <a:pPr lvl="3"/>
            <a:r>
              <a:rPr lang="en-US" altLang="ja-JP" smtClean="0">
                <a:sym typeface="Palatino"/>
              </a:rPr>
              <a:t>Fourth level</a:t>
            </a:r>
          </a:p>
          <a:p>
            <a:pPr lvl="4"/>
            <a:r>
              <a:rPr lang="en-US" altLang="ja-JP" smtClean="0">
                <a:sym typeface="Palatino"/>
              </a:rPr>
              <a:t>Fifth level</a:t>
            </a:r>
          </a:p>
        </p:txBody>
      </p:sp>
    </p:spTree>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Lst>
  <p:transition/>
  <p:hf hdr="0" ftr="0" dt="0"/>
  <p:txStyles>
    <p:titleStyle>
      <a:lvl1pPr algn="ctr" rtl="0" eaLnBrk="0" fontAlgn="base" hangingPunct="0">
        <a:spcBef>
          <a:spcPct val="0"/>
        </a:spcBef>
        <a:spcAft>
          <a:spcPct val="0"/>
        </a:spcAft>
        <a:defRPr sz="5400">
          <a:solidFill>
            <a:srgbClr val="3F3F3F"/>
          </a:solidFill>
          <a:latin typeface="+mj-lt"/>
          <a:ea typeface="+mj-ea"/>
          <a:cs typeface="+mj-cs"/>
          <a:sym typeface="Herculanum"/>
        </a:defRPr>
      </a:lvl1pPr>
      <a:lvl2pPr algn="ctr" rtl="0" eaLnBrk="0" fontAlgn="base" hangingPunct="0">
        <a:spcBef>
          <a:spcPct val="0"/>
        </a:spcBef>
        <a:spcAft>
          <a:spcPct val="0"/>
        </a:spcAft>
        <a:defRPr sz="5400">
          <a:solidFill>
            <a:srgbClr val="3F3F3F"/>
          </a:solidFill>
          <a:latin typeface="Herculanum" charset="0"/>
          <a:ea typeface="ヒラギノ明朝 ProN W3" charset="0"/>
          <a:cs typeface="ヒラギノ明朝 ProN W3" charset="0"/>
          <a:sym typeface="Herculanum"/>
        </a:defRPr>
      </a:lvl2pPr>
      <a:lvl3pPr algn="ctr" rtl="0" eaLnBrk="0" fontAlgn="base" hangingPunct="0">
        <a:spcBef>
          <a:spcPct val="0"/>
        </a:spcBef>
        <a:spcAft>
          <a:spcPct val="0"/>
        </a:spcAft>
        <a:defRPr sz="5400">
          <a:solidFill>
            <a:srgbClr val="3F3F3F"/>
          </a:solidFill>
          <a:latin typeface="Herculanum" charset="0"/>
          <a:ea typeface="ヒラギノ明朝 ProN W3" charset="0"/>
          <a:cs typeface="ヒラギノ明朝 ProN W3" charset="0"/>
          <a:sym typeface="Herculanum"/>
        </a:defRPr>
      </a:lvl3pPr>
      <a:lvl4pPr algn="ctr" rtl="0" eaLnBrk="0" fontAlgn="base" hangingPunct="0">
        <a:spcBef>
          <a:spcPct val="0"/>
        </a:spcBef>
        <a:spcAft>
          <a:spcPct val="0"/>
        </a:spcAft>
        <a:defRPr sz="5400">
          <a:solidFill>
            <a:srgbClr val="3F3F3F"/>
          </a:solidFill>
          <a:latin typeface="Herculanum" charset="0"/>
          <a:ea typeface="ヒラギノ明朝 ProN W3" charset="0"/>
          <a:cs typeface="ヒラギノ明朝 ProN W3" charset="0"/>
          <a:sym typeface="Herculanum"/>
        </a:defRPr>
      </a:lvl4pPr>
      <a:lvl5pPr algn="ctr" rtl="0" eaLnBrk="0" fontAlgn="base" hangingPunct="0">
        <a:spcBef>
          <a:spcPct val="0"/>
        </a:spcBef>
        <a:spcAft>
          <a:spcPct val="0"/>
        </a:spcAft>
        <a:defRPr sz="5400">
          <a:solidFill>
            <a:srgbClr val="3F3F3F"/>
          </a:solidFill>
          <a:latin typeface="Herculanum" charset="0"/>
          <a:ea typeface="ヒラギノ明朝 ProN W3" charset="0"/>
          <a:cs typeface="ヒラギノ明朝 ProN W3" charset="0"/>
          <a:sym typeface="Herculanum"/>
        </a:defRPr>
      </a:lvl5pPr>
      <a:lvl6pPr marL="457200" algn="ctr" rtl="0" fontAlgn="base">
        <a:spcBef>
          <a:spcPct val="0"/>
        </a:spcBef>
        <a:spcAft>
          <a:spcPct val="0"/>
        </a:spcAft>
        <a:defRPr sz="5400">
          <a:solidFill>
            <a:srgbClr val="3F3F3F"/>
          </a:solidFill>
          <a:latin typeface="Herculanum" charset="0"/>
          <a:ea typeface="ヒラギノ明朝 ProN W3" charset="0"/>
          <a:cs typeface="ヒラギノ明朝 ProN W3" charset="0"/>
          <a:sym typeface="Herculanum" charset="0"/>
        </a:defRPr>
      </a:lvl6pPr>
      <a:lvl7pPr marL="914400" algn="ctr" rtl="0" fontAlgn="base">
        <a:spcBef>
          <a:spcPct val="0"/>
        </a:spcBef>
        <a:spcAft>
          <a:spcPct val="0"/>
        </a:spcAft>
        <a:defRPr sz="5400">
          <a:solidFill>
            <a:srgbClr val="3F3F3F"/>
          </a:solidFill>
          <a:latin typeface="Herculanum" charset="0"/>
          <a:ea typeface="ヒラギノ明朝 ProN W3" charset="0"/>
          <a:cs typeface="ヒラギノ明朝 ProN W3" charset="0"/>
          <a:sym typeface="Herculanum" charset="0"/>
        </a:defRPr>
      </a:lvl7pPr>
      <a:lvl8pPr marL="1371600" algn="ctr" rtl="0" fontAlgn="base">
        <a:spcBef>
          <a:spcPct val="0"/>
        </a:spcBef>
        <a:spcAft>
          <a:spcPct val="0"/>
        </a:spcAft>
        <a:defRPr sz="5400">
          <a:solidFill>
            <a:srgbClr val="3F3F3F"/>
          </a:solidFill>
          <a:latin typeface="Herculanum" charset="0"/>
          <a:ea typeface="ヒラギノ明朝 ProN W3" charset="0"/>
          <a:cs typeface="ヒラギノ明朝 ProN W3" charset="0"/>
          <a:sym typeface="Herculanum" charset="0"/>
        </a:defRPr>
      </a:lvl8pPr>
      <a:lvl9pPr marL="1828800" algn="ctr" rtl="0" fontAlgn="base">
        <a:spcBef>
          <a:spcPct val="0"/>
        </a:spcBef>
        <a:spcAft>
          <a:spcPct val="0"/>
        </a:spcAft>
        <a:defRPr sz="5400">
          <a:solidFill>
            <a:srgbClr val="3F3F3F"/>
          </a:solidFill>
          <a:latin typeface="Herculanum" charset="0"/>
          <a:ea typeface="ヒラギノ明朝 ProN W3" charset="0"/>
          <a:cs typeface="ヒラギノ明朝 ProN W3" charset="0"/>
          <a:sym typeface="Herculanum" charset="0"/>
        </a:defRPr>
      </a:lvl9pPr>
    </p:titleStyle>
    <p:bodyStyle>
      <a:lvl1pPr marL="650875" indent="-307975" algn="l" rtl="0" eaLnBrk="0" fontAlgn="base" hangingPunct="0">
        <a:spcBef>
          <a:spcPts val="2500"/>
        </a:spcBef>
        <a:spcAft>
          <a:spcPct val="0"/>
        </a:spcAft>
        <a:buSzPct val="52000"/>
        <a:buChar char="•"/>
        <a:defRPr sz="2800">
          <a:solidFill>
            <a:schemeClr val="tx1"/>
          </a:solidFill>
          <a:latin typeface="+mn-lt"/>
          <a:ea typeface="+mn-ea"/>
          <a:cs typeface="+mn-cs"/>
          <a:sym typeface="Palatino"/>
        </a:defRPr>
      </a:lvl1pPr>
      <a:lvl2pPr marL="1006475" indent="-307975" algn="l" rtl="0" eaLnBrk="0" fontAlgn="base" hangingPunct="0">
        <a:spcBef>
          <a:spcPts val="2500"/>
        </a:spcBef>
        <a:spcAft>
          <a:spcPct val="0"/>
        </a:spcAft>
        <a:buSzPct val="52000"/>
        <a:buChar char="•"/>
        <a:defRPr sz="2800">
          <a:solidFill>
            <a:schemeClr val="tx1"/>
          </a:solidFill>
          <a:latin typeface="+mn-lt"/>
          <a:ea typeface="+mn-ea"/>
          <a:cs typeface="+mn-cs"/>
          <a:sym typeface="Palatino"/>
        </a:defRPr>
      </a:lvl2pPr>
      <a:lvl3pPr marL="1349375" indent="-307975" algn="l" rtl="0" eaLnBrk="0" fontAlgn="base" hangingPunct="0">
        <a:spcBef>
          <a:spcPts val="2500"/>
        </a:spcBef>
        <a:spcAft>
          <a:spcPct val="0"/>
        </a:spcAft>
        <a:buSzPct val="52000"/>
        <a:buChar char="•"/>
        <a:defRPr sz="2800">
          <a:solidFill>
            <a:schemeClr val="tx1"/>
          </a:solidFill>
          <a:latin typeface="+mn-lt"/>
          <a:ea typeface="+mn-ea"/>
          <a:cs typeface="+mn-cs"/>
          <a:sym typeface="Palatino"/>
        </a:defRPr>
      </a:lvl3pPr>
      <a:lvl4pPr marL="1704975" indent="-307975" algn="l" rtl="0" eaLnBrk="0" fontAlgn="base" hangingPunct="0">
        <a:spcBef>
          <a:spcPts val="2500"/>
        </a:spcBef>
        <a:spcAft>
          <a:spcPct val="0"/>
        </a:spcAft>
        <a:buSzPct val="52000"/>
        <a:buChar char="•"/>
        <a:defRPr sz="2800">
          <a:solidFill>
            <a:schemeClr val="tx1"/>
          </a:solidFill>
          <a:latin typeface="+mn-lt"/>
          <a:ea typeface="+mn-ea"/>
          <a:cs typeface="+mn-cs"/>
          <a:sym typeface="Palatino"/>
        </a:defRPr>
      </a:lvl4pPr>
      <a:lvl5pPr marL="2060575" indent="-307975" algn="l" rtl="0" eaLnBrk="0" fontAlgn="base" hangingPunct="0">
        <a:spcBef>
          <a:spcPts val="2500"/>
        </a:spcBef>
        <a:spcAft>
          <a:spcPct val="0"/>
        </a:spcAft>
        <a:buSzPct val="52000"/>
        <a:buChar char="•"/>
        <a:defRPr sz="2800">
          <a:solidFill>
            <a:schemeClr val="tx1"/>
          </a:solidFill>
          <a:latin typeface="+mn-lt"/>
          <a:ea typeface="+mn-ea"/>
          <a:cs typeface="+mn-cs"/>
          <a:sym typeface="Palatino"/>
        </a:defRPr>
      </a:lvl5pPr>
      <a:lvl6pPr marL="2517775" indent="-307975" algn="l" rtl="0" fontAlgn="base">
        <a:spcBef>
          <a:spcPts val="2500"/>
        </a:spcBef>
        <a:spcAft>
          <a:spcPct val="0"/>
        </a:spcAft>
        <a:buSzPct val="52000"/>
        <a:buChar char="•"/>
        <a:defRPr sz="2800">
          <a:solidFill>
            <a:schemeClr val="tx1"/>
          </a:solidFill>
          <a:latin typeface="+mn-lt"/>
          <a:ea typeface="+mn-ea"/>
          <a:cs typeface="+mn-cs"/>
          <a:sym typeface="Palatino" charset="0"/>
        </a:defRPr>
      </a:lvl6pPr>
      <a:lvl7pPr marL="2974975" indent="-307975" algn="l" rtl="0" fontAlgn="base">
        <a:spcBef>
          <a:spcPts val="2500"/>
        </a:spcBef>
        <a:spcAft>
          <a:spcPct val="0"/>
        </a:spcAft>
        <a:buSzPct val="52000"/>
        <a:buChar char="•"/>
        <a:defRPr sz="2800">
          <a:solidFill>
            <a:schemeClr val="tx1"/>
          </a:solidFill>
          <a:latin typeface="+mn-lt"/>
          <a:ea typeface="+mn-ea"/>
          <a:cs typeface="+mn-cs"/>
          <a:sym typeface="Palatino" charset="0"/>
        </a:defRPr>
      </a:lvl7pPr>
      <a:lvl8pPr marL="3432175" indent="-307975" algn="l" rtl="0" fontAlgn="base">
        <a:spcBef>
          <a:spcPts val="2500"/>
        </a:spcBef>
        <a:spcAft>
          <a:spcPct val="0"/>
        </a:spcAft>
        <a:buSzPct val="52000"/>
        <a:buChar char="•"/>
        <a:defRPr sz="2800">
          <a:solidFill>
            <a:schemeClr val="tx1"/>
          </a:solidFill>
          <a:latin typeface="+mn-lt"/>
          <a:ea typeface="+mn-ea"/>
          <a:cs typeface="+mn-cs"/>
          <a:sym typeface="Palatino" charset="0"/>
        </a:defRPr>
      </a:lvl8pPr>
      <a:lvl9pPr marL="3889375" indent="-307975" algn="l" rtl="0" fontAlgn="base">
        <a:spcBef>
          <a:spcPts val="2500"/>
        </a:spcBef>
        <a:spcAft>
          <a:spcPct val="0"/>
        </a:spcAft>
        <a:buSzPct val="52000"/>
        <a:buChar char="•"/>
        <a:defRPr sz="2800">
          <a:solidFill>
            <a:schemeClr val="tx1"/>
          </a:solidFill>
          <a:latin typeface="+mn-lt"/>
          <a:ea typeface="+mn-ea"/>
          <a:cs typeface="+mn-cs"/>
          <a:sym typeface="Palatino" charset="0"/>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123906" name="Rectangle 1"/>
          <p:cNvSpPr>
            <a:spLocks noGrp="1" noChangeArrowheads="1"/>
          </p:cNvSpPr>
          <p:nvPr>
            <p:ph type="title"/>
          </p:nvPr>
        </p:nvSpPr>
        <p:spPr bwMode="auto">
          <a:xfrm>
            <a:off x="304800" y="101600"/>
            <a:ext cx="8521700" cy="965200"/>
          </a:xfrm>
          <a:prstGeom prst="rect">
            <a:avLst/>
          </a:prstGeom>
          <a:noFill/>
          <a:ln w="12700">
            <a:noFill/>
            <a:miter lim="800000"/>
            <a:headEnd/>
            <a:tailEnd/>
          </a:ln>
        </p:spPr>
        <p:txBody>
          <a:bodyPr vert="horz" wrap="square" lIns="38100" tIns="38100" rIns="38100" bIns="38100" numCol="1" anchor="ctr" anchorCtr="0" compatLnSpc="1">
            <a:prstTxWarp prst="textNoShape">
              <a:avLst/>
            </a:prstTxWarp>
          </a:bodyPr>
          <a:lstStyle/>
          <a:p>
            <a:pPr lvl="0"/>
            <a:r>
              <a:rPr lang="en-US" altLang="ja-JP" smtClean="0">
                <a:sym typeface="Herculanum"/>
              </a:rPr>
              <a:t>Click to edit Master title style</a:t>
            </a:r>
          </a:p>
        </p:txBody>
      </p:sp>
      <p:sp>
        <p:nvSpPr>
          <p:cNvPr id="123907" name="Rectangle 2"/>
          <p:cNvSpPr>
            <a:spLocks noGrp="1" noChangeArrowheads="1"/>
          </p:cNvSpPr>
          <p:nvPr>
            <p:ph type="body" idx="1"/>
          </p:nvPr>
        </p:nvSpPr>
        <p:spPr bwMode="auto">
          <a:xfrm>
            <a:off x="304800" y="1663700"/>
            <a:ext cx="8521700" cy="4572000"/>
          </a:xfrm>
          <a:prstGeom prst="rect">
            <a:avLst/>
          </a:prstGeom>
          <a:noFill/>
          <a:ln w="12700">
            <a:noFill/>
            <a:miter lim="800000"/>
            <a:headEnd/>
            <a:tailEnd/>
          </a:ln>
        </p:spPr>
        <p:txBody>
          <a:bodyPr vert="horz" wrap="square" lIns="38100" tIns="38100" rIns="38100" bIns="38100" numCol="1" anchor="t" anchorCtr="0" compatLnSpc="1">
            <a:prstTxWarp prst="textNoShape">
              <a:avLst/>
            </a:prstTxWarp>
          </a:bodyPr>
          <a:lstStyle/>
          <a:p>
            <a:pPr lvl="0"/>
            <a:r>
              <a:rPr lang="en-US" altLang="ja-JP" smtClean="0">
                <a:sym typeface="Palatino"/>
              </a:rPr>
              <a:t>Click to edit Master text styles</a:t>
            </a:r>
          </a:p>
          <a:p>
            <a:pPr lvl="1"/>
            <a:r>
              <a:rPr lang="en-US" altLang="ja-JP" smtClean="0">
                <a:sym typeface="Palatino"/>
              </a:rPr>
              <a:t>Second level</a:t>
            </a:r>
          </a:p>
          <a:p>
            <a:pPr lvl="2"/>
            <a:r>
              <a:rPr lang="en-US" altLang="ja-JP" smtClean="0">
                <a:sym typeface="Palatino"/>
              </a:rPr>
              <a:t>Third level</a:t>
            </a:r>
          </a:p>
          <a:p>
            <a:pPr lvl="3"/>
            <a:r>
              <a:rPr lang="en-US" altLang="ja-JP" smtClean="0">
                <a:sym typeface="Palatino"/>
              </a:rPr>
              <a:t>Fourth level</a:t>
            </a:r>
          </a:p>
          <a:p>
            <a:pPr lvl="4"/>
            <a:r>
              <a:rPr lang="en-US" altLang="ja-JP" smtClean="0">
                <a:sym typeface="Palatino"/>
              </a:rPr>
              <a:t>Fifth level</a:t>
            </a:r>
          </a:p>
        </p:txBody>
      </p:sp>
    </p:spTree>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Lst>
  <p:transition/>
  <p:hf hdr="0" ftr="0" dt="0"/>
  <p:txStyles>
    <p:titleStyle>
      <a:lvl1pPr algn="ctr" rtl="0" eaLnBrk="0" fontAlgn="base" hangingPunct="0">
        <a:spcBef>
          <a:spcPct val="0"/>
        </a:spcBef>
        <a:spcAft>
          <a:spcPct val="0"/>
        </a:spcAft>
        <a:defRPr sz="5400">
          <a:solidFill>
            <a:srgbClr val="3F3F3F"/>
          </a:solidFill>
          <a:latin typeface="+mj-lt"/>
          <a:ea typeface="+mj-ea"/>
          <a:cs typeface="+mj-cs"/>
          <a:sym typeface="Herculanum"/>
        </a:defRPr>
      </a:lvl1pPr>
      <a:lvl2pPr algn="ctr" rtl="0" eaLnBrk="0" fontAlgn="base" hangingPunct="0">
        <a:spcBef>
          <a:spcPct val="0"/>
        </a:spcBef>
        <a:spcAft>
          <a:spcPct val="0"/>
        </a:spcAft>
        <a:defRPr sz="5400">
          <a:solidFill>
            <a:srgbClr val="3F3F3F"/>
          </a:solidFill>
          <a:latin typeface="Herculanum" charset="0"/>
          <a:ea typeface="ヒラギノ明朝 ProN W3" charset="0"/>
          <a:cs typeface="ヒラギノ明朝 ProN W3" charset="0"/>
          <a:sym typeface="Herculanum"/>
        </a:defRPr>
      </a:lvl2pPr>
      <a:lvl3pPr algn="ctr" rtl="0" eaLnBrk="0" fontAlgn="base" hangingPunct="0">
        <a:spcBef>
          <a:spcPct val="0"/>
        </a:spcBef>
        <a:spcAft>
          <a:spcPct val="0"/>
        </a:spcAft>
        <a:defRPr sz="5400">
          <a:solidFill>
            <a:srgbClr val="3F3F3F"/>
          </a:solidFill>
          <a:latin typeface="Herculanum" charset="0"/>
          <a:ea typeface="ヒラギノ明朝 ProN W3" charset="0"/>
          <a:cs typeface="ヒラギノ明朝 ProN W3" charset="0"/>
          <a:sym typeface="Herculanum"/>
        </a:defRPr>
      </a:lvl3pPr>
      <a:lvl4pPr algn="ctr" rtl="0" eaLnBrk="0" fontAlgn="base" hangingPunct="0">
        <a:spcBef>
          <a:spcPct val="0"/>
        </a:spcBef>
        <a:spcAft>
          <a:spcPct val="0"/>
        </a:spcAft>
        <a:defRPr sz="5400">
          <a:solidFill>
            <a:srgbClr val="3F3F3F"/>
          </a:solidFill>
          <a:latin typeface="Herculanum" charset="0"/>
          <a:ea typeface="ヒラギノ明朝 ProN W3" charset="0"/>
          <a:cs typeface="ヒラギノ明朝 ProN W3" charset="0"/>
          <a:sym typeface="Herculanum"/>
        </a:defRPr>
      </a:lvl4pPr>
      <a:lvl5pPr algn="ctr" rtl="0" eaLnBrk="0" fontAlgn="base" hangingPunct="0">
        <a:spcBef>
          <a:spcPct val="0"/>
        </a:spcBef>
        <a:spcAft>
          <a:spcPct val="0"/>
        </a:spcAft>
        <a:defRPr sz="5400">
          <a:solidFill>
            <a:srgbClr val="3F3F3F"/>
          </a:solidFill>
          <a:latin typeface="Herculanum" charset="0"/>
          <a:ea typeface="ヒラギノ明朝 ProN W3" charset="0"/>
          <a:cs typeface="ヒラギノ明朝 ProN W3" charset="0"/>
          <a:sym typeface="Herculanum"/>
        </a:defRPr>
      </a:lvl5pPr>
      <a:lvl6pPr marL="457200" algn="ctr" rtl="0" fontAlgn="base">
        <a:spcBef>
          <a:spcPct val="0"/>
        </a:spcBef>
        <a:spcAft>
          <a:spcPct val="0"/>
        </a:spcAft>
        <a:defRPr sz="5400">
          <a:solidFill>
            <a:srgbClr val="3F3F3F"/>
          </a:solidFill>
          <a:latin typeface="Herculanum" charset="0"/>
          <a:ea typeface="ヒラギノ明朝 ProN W3" charset="0"/>
          <a:cs typeface="ヒラギノ明朝 ProN W3" charset="0"/>
          <a:sym typeface="Herculanum" charset="0"/>
        </a:defRPr>
      </a:lvl6pPr>
      <a:lvl7pPr marL="914400" algn="ctr" rtl="0" fontAlgn="base">
        <a:spcBef>
          <a:spcPct val="0"/>
        </a:spcBef>
        <a:spcAft>
          <a:spcPct val="0"/>
        </a:spcAft>
        <a:defRPr sz="5400">
          <a:solidFill>
            <a:srgbClr val="3F3F3F"/>
          </a:solidFill>
          <a:latin typeface="Herculanum" charset="0"/>
          <a:ea typeface="ヒラギノ明朝 ProN W3" charset="0"/>
          <a:cs typeface="ヒラギノ明朝 ProN W3" charset="0"/>
          <a:sym typeface="Herculanum" charset="0"/>
        </a:defRPr>
      </a:lvl7pPr>
      <a:lvl8pPr marL="1371600" algn="ctr" rtl="0" fontAlgn="base">
        <a:spcBef>
          <a:spcPct val="0"/>
        </a:spcBef>
        <a:spcAft>
          <a:spcPct val="0"/>
        </a:spcAft>
        <a:defRPr sz="5400">
          <a:solidFill>
            <a:srgbClr val="3F3F3F"/>
          </a:solidFill>
          <a:latin typeface="Herculanum" charset="0"/>
          <a:ea typeface="ヒラギノ明朝 ProN W3" charset="0"/>
          <a:cs typeface="ヒラギノ明朝 ProN W3" charset="0"/>
          <a:sym typeface="Herculanum" charset="0"/>
        </a:defRPr>
      </a:lvl8pPr>
      <a:lvl9pPr marL="1828800" algn="ctr" rtl="0" fontAlgn="base">
        <a:spcBef>
          <a:spcPct val="0"/>
        </a:spcBef>
        <a:spcAft>
          <a:spcPct val="0"/>
        </a:spcAft>
        <a:defRPr sz="5400">
          <a:solidFill>
            <a:srgbClr val="3F3F3F"/>
          </a:solidFill>
          <a:latin typeface="Herculanum" charset="0"/>
          <a:ea typeface="ヒラギノ明朝 ProN W3" charset="0"/>
          <a:cs typeface="ヒラギノ明朝 ProN W3" charset="0"/>
          <a:sym typeface="Herculanum" charset="0"/>
        </a:defRPr>
      </a:lvl9pPr>
    </p:titleStyle>
    <p:bodyStyle>
      <a:lvl1pPr marL="620713" indent="-277813" algn="l" rtl="0" eaLnBrk="0" fontAlgn="base" hangingPunct="0">
        <a:spcBef>
          <a:spcPts val="3200"/>
        </a:spcBef>
        <a:spcAft>
          <a:spcPct val="0"/>
        </a:spcAft>
        <a:buSzPct val="52000"/>
        <a:buChar char="•"/>
        <a:defRPr sz="2200">
          <a:solidFill>
            <a:schemeClr val="tx1"/>
          </a:solidFill>
          <a:latin typeface="+mn-lt"/>
          <a:ea typeface="+mn-ea"/>
          <a:cs typeface="+mn-cs"/>
          <a:sym typeface="Palatino"/>
        </a:defRPr>
      </a:lvl1pPr>
      <a:lvl2pPr marL="976313" indent="-277813" algn="l" rtl="0" eaLnBrk="0" fontAlgn="base" hangingPunct="0">
        <a:spcBef>
          <a:spcPts val="3200"/>
        </a:spcBef>
        <a:spcAft>
          <a:spcPct val="0"/>
        </a:spcAft>
        <a:buSzPct val="52000"/>
        <a:buChar char="•"/>
        <a:defRPr sz="2200">
          <a:solidFill>
            <a:schemeClr val="tx1"/>
          </a:solidFill>
          <a:latin typeface="+mn-lt"/>
          <a:ea typeface="+mn-ea"/>
          <a:cs typeface="+mn-cs"/>
          <a:sym typeface="Palatino"/>
        </a:defRPr>
      </a:lvl2pPr>
      <a:lvl3pPr marL="1319213" indent="-277813" algn="l" rtl="0" eaLnBrk="0" fontAlgn="base" hangingPunct="0">
        <a:spcBef>
          <a:spcPts val="3200"/>
        </a:spcBef>
        <a:spcAft>
          <a:spcPct val="0"/>
        </a:spcAft>
        <a:buSzPct val="52000"/>
        <a:buChar char="•"/>
        <a:defRPr sz="2200">
          <a:solidFill>
            <a:schemeClr val="tx1"/>
          </a:solidFill>
          <a:latin typeface="+mn-lt"/>
          <a:ea typeface="+mn-ea"/>
          <a:cs typeface="+mn-cs"/>
          <a:sym typeface="Palatino"/>
        </a:defRPr>
      </a:lvl3pPr>
      <a:lvl4pPr marL="1674813" indent="-277813" algn="l" rtl="0" eaLnBrk="0" fontAlgn="base" hangingPunct="0">
        <a:spcBef>
          <a:spcPts val="3200"/>
        </a:spcBef>
        <a:spcAft>
          <a:spcPct val="0"/>
        </a:spcAft>
        <a:buSzPct val="52000"/>
        <a:buChar char="•"/>
        <a:defRPr sz="2200">
          <a:solidFill>
            <a:schemeClr val="tx1"/>
          </a:solidFill>
          <a:latin typeface="+mn-lt"/>
          <a:ea typeface="+mn-ea"/>
          <a:cs typeface="+mn-cs"/>
          <a:sym typeface="Palatino"/>
        </a:defRPr>
      </a:lvl4pPr>
      <a:lvl5pPr marL="2030413" indent="-277813" algn="l" rtl="0" eaLnBrk="0" fontAlgn="base" hangingPunct="0">
        <a:spcBef>
          <a:spcPts val="3200"/>
        </a:spcBef>
        <a:spcAft>
          <a:spcPct val="0"/>
        </a:spcAft>
        <a:buSzPct val="52000"/>
        <a:buChar char="•"/>
        <a:defRPr sz="2200">
          <a:solidFill>
            <a:schemeClr val="tx1"/>
          </a:solidFill>
          <a:latin typeface="+mn-lt"/>
          <a:ea typeface="+mn-ea"/>
          <a:cs typeface="+mn-cs"/>
          <a:sym typeface="Palatino"/>
        </a:defRPr>
      </a:lvl5pPr>
      <a:lvl6pPr marL="2487613" indent="-277813" algn="l" rtl="0" fontAlgn="base">
        <a:spcBef>
          <a:spcPts val="3200"/>
        </a:spcBef>
        <a:spcAft>
          <a:spcPct val="0"/>
        </a:spcAft>
        <a:buSzPct val="52000"/>
        <a:buChar char="•"/>
        <a:defRPr sz="2200">
          <a:solidFill>
            <a:schemeClr val="tx1"/>
          </a:solidFill>
          <a:latin typeface="+mn-lt"/>
          <a:ea typeface="+mn-ea"/>
          <a:cs typeface="+mn-cs"/>
          <a:sym typeface="Palatino" charset="0"/>
        </a:defRPr>
      </a:lvl6pPr>
      <a:lvl7pPr marL="2944813" indent="-277813" algn="l" rtl="0" fontAlgn="base">
        <a:spcBef>
          <a:spcPts val="3200"/>
        </a:spcBef>
        <a:spcAft>
          <a:spcPct val="0"/>
        </a:spcAft>
        <a:buSzPct val="52000"/>
        <a:buChar char="•"/>
        <a:defRPr sz="2200">
          <a:solidFill>
            <a:schemeClr val="tx1"/>
          </a:solidFill>
          <a:latin typeface="+mn-lt"/>
          <a:ea typeface="+mn-ea"/>
          <a:cs typeface="+mn-cs"/>
          <a:sym typeface="Palatino" charset="0"/>
        </a:defRPr>
      </a:lvl7pPr>
      <a:lvl8pPr marL="3402013" indent="-277813" algn="l" rtl="0" fontAlgn="base">
        <a:spcBef>
          <a:spcPts val="3200"/>
        </a:spcBef>
        <a:spcAft>
          <a:spcPct val="0"/>
        </a:spcAft>
        <a:buSzPct val="52000"/>
        <a:buChar char="•"/>
        <a:defRPr sz="2200">
          <a:solidFill>
            <a:schemeClr val="tx1"/>
          </a:solidFill>
          <a:latin typeface="+mn-lt"/>
          <a:ea typeface="+mn-ea"/>
          <a:cs typeface="+mn-cs"/>
          <a:sym typeface="Palatino" charset="0"/>
        </a:defRPr>
      </a:lvl8pPr>
      <a:lvl9pPr marL="3859213" indent="-277813" algn="l" rtl="0" fontAlgn="base">
        <a:spcBef>
          <a:spcPts val="3200"/>
        </a:spcBef>
        <a:spcAft>
          <a:spcPct val="0"/>
        </a:spcAft>
        <a:buSzPct val="52000"/>
        <a:buChar char="•"/>
        <a:defRPr sz="2200">
          <a:solidFill>
            <a:schemeClr val="tx1"/>
          </a:solidFill>
          <a:latin typeface="+mn-lt"/>
          <a:ea typeface="+mn-ea"/>
          <a:cs typeface="+mn-cs"/>
          <a:sym typeface="Palatino" charset="0"/>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136194" name="Rectangle 1"/>
          <p:cNvSpPr>
            <a:spLocks noGrp="1" noChangeArrowheads="1"/>
          </p:cNvSpPr>
          <p:nvPr>
            <p:ph type="title"/>
          </p:nvPr>
        </p:nvSpPr>
        <p:spPr bwMode="auto">
          <a:xfrm>
            <a:off x="304800" y="101600"/>
            <a:ext cx="8521700" cy="965200"/>
          </a:xfrm>
          <a:prstGeom prst="rect">
            <a:avLst/>
          </a:prstGeom>
          <a:noFill/>
          <a:ln w="12700">
            <a:noFill/>
            <a:miter lim="800000"/>
            <a:headEnd/>
            <a:tailEnd/>
          </a:ln>
        </p:spPr>
        <p:txBody>
          <a:bodyPr vert="horz" wrap="square" lIns="38100" tIns="38100" rIns="38100" bIns="38100" numCol="1" anchor="ctr" anchorCtr="0" compatLnSpc="1">
            <a:prstTxWarp prst="textNoShape">
              <a:avLst/>
            </a:prstTxWarp>
          </a:bodyPr>
          <a:lstStyle/>
          <a:p>
            <a:pPr lvl="0"/>
            <a:r>
              <a:rPr lang="en-US" altLang="ja-JP" smtClean="0">
                <a:sym typeface="Herculanum"/>
              </a:rPr>
              <a:t>Click to edit Master title style</a:t>
            </a:r>
          </a:p>
        </p:txBody>
      </p:sp>
      <p:sp>
        <p:nvSpPr>
          <p:cNvPr id="136195" name="Rectangle 2"/>
          <p:cNvSpPr>
            <a:spLocks noGrp="1" noChangeArrowheads="1"/>
          </p:cNvSpPr>
          <p:nvPr>
            <p:ph type="body" idx="1"/>
          </p:nvPr>
        </p:nvSpPr>
        <p:spPr bwMode="auto">
          <a:xfrm>
            <a:off x="304800" y="1663700"/>
            <a:ext cx="4622800" cy="4572000"/>
          </a:xfrm>
          <a:prstGeom prst="rect">
            <a:avLst/>
          </a:prstGeom>
          <a:noFill/>
          <a:ln w="12700">
            <a:noFill/>
            <a:miter lim="800000"/>
            <a:headEnd/>
            <a:tailEnd/>
          </a:ln>
        </p:spPr>
        <p:txBody>
          <a:bodyPr vert="horz" wrap="square" lIns="38100" tIns="38100" rIns="38100" bIns="38100" numCol="1" anchor="ctr" anchorCtr="0" compatLnSpc="1">
            <a:prstTxWarp prst="textNoShape">
              <a:avLst/>
            </a:prstTxWarp>
          </a:bodyPr>
          <a:lstStyle/>
          <a:p>
            <a:pPr lvl="0"/>
            <a:r>
              <a:rPr lang="en-US" altLang="ja-JP" smtClean="0">
                <a:sym typeface="Palatino"/>
              </a:rPr>
              <a:t>Click to edit Master text styles</a:t>
            </a:r>
          </a:p>
          <a:p>
            <a:pPr lvl="1"/>
            <a:r>
              <a:rPr lang="en-US" altLang="ja-JP" smtClean="0">
                <a:sym typeface="Palatino"/>
              </a:rPr>
              <a:t>Second level</a:t>
            </a:r>
          </a:p>
          <a:p>
            <a:pPr lvl="2"/>
            <a:r>
              <a:rPr lang="en-US" altLang="ja-JP" smtClean="0">
                <a:sym typeface="Palatino"/>
              </a:rPr>
              <a:t>Third level</a:t>
            </a:r>
          </a:p>
          <a:p>
            <a:pPr lvl="3"/>
            <a:r>
              <a:rPr lang="en-US" altLang="ja-JP" smtClean="0">
                <a:sym typeface="Palatino"/>
              </a:rPr>
              <a:t>Fourth level</a:t>
            </a:r>
          </a:p>
          <a:p>
            <a:pPr lvl="4"/>
            <a:r>
              <a:rPr lang="en-US" altLang="ja-JP" smtClean="0">
                <a:sym typeface="Palatino"/>
              </a:rPr>
              <a:t>Fifth level</a:t>
            </a:r>
          </a:p>
        </p:txBody>
      </p:sp>
    </p:spTree>
  </p:cSld>
  <p:clrMap bg1="lt1" tx1="dk1" bg2="lt2" tx2="dk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 id="2147483806" r:id="rId5"/>
    <p:sldLayoutId id="2147483807" r:id="rId6"/>
    <p:sldLayoutId id="2147483808" r:id="rId7"/>
    <p:sldLayoutId id="2147483809" r:id="rId8"/>
    <p:sldLayoutId id="2147483810" r:id="rId9"/>
    <p:sldLayoutId id="2147483811" r:id="rId10"/>
    <p:sldLayoutId id="2147483812" r:id="rId11"/>
  </p:sldLayoutIdLst>
  <p:transition/>
  <p:hf hdr="0" ftr="0" dt="0"/>
  <p:txStyles>
    <p:titleStyle>
      <a:lvl1pPr algn="ctr" rtl="0" eaLnBrk="0" fontAlgn="base" hangingPunct="0">
        <a:spcBef>
          <a:spcPct val="0"/>
        </a:spcBef>
        <a:spcAft>
          <a:spcPct val="0"/>
        </a:spcAft>
        <a:defRPr sz="5400">
          <a:solidFill>
            <a:srgbClr val="3F3F3F"/>
          </a:solidFill>
          <a:latin typeface="+mj-lt"/>
          <a:ea typeface="+mj-ea"/>
          <a:cs typeface="+mj-cs"/>
          <a:sym typeface="Herculanum"/>
        </a:defRPr>
      </a:lvl1pPr>
      <a:lvl2pPr algn="ctr" rtl="0" eaLnBrk="0" fontAlgn="base" hangingPunct="0">
        <a:spcBef>
          <a:spcPct val="0"/>
        </a:spcBef>
        <a:spcAft>
          <a:spcPct val="0"/>
        </a:spcAft>
        <a:defRPr sz="5400">
          <a:solidFill>
            <a:srgbClr val="3F3F3F"/>
          </a:solidFill>
          <a:latin typeface="Herculanum" charset="0"/>
          <a:ea typeface="ヒラギノ明朝 ProN W3" charset="0"/>
          <a:cs typeface="ヒラギノ明朝 ProN W3" charset="0"/>
          <a:sym typeface="Herculanum"/>
        </a:defRPr>
      </a:lvl2pPr>
      <a:lvl3pPr algn="ctr" rtl="0" eaLnBrk="0" fontAlgn="base" hangingPunct="0">
        <a:spcBef>
          <a:spcPct val="0"/>
        </a:spcBef>
        <a:spcAft>
          <a:spcPct val="0"/>
        </a:spcAft>
        <a:defRPr sz="5400">
          <a:solidFill>
            <a:srgbClr val="3F3F3F"/>
          </a:solidFill>
          <a:latin typeface="Herculanum" charset="0"/>
          <a:ea typeface="ヒラギノ明朝 ProN W3" charset="0"/>
          <a:cs typeface="ヒラギノ明朝 ProN W3" charset="0"/>
          <a:sym typeface="Herculanum"/>
        </a:defRPr>
      </a:lvl3pPr>
      <a:lvl4pPr algn="ctr" rtl="0" eaLnBrk="0" fontAlgn="base" hangingPunct="0">
        <a:spcBef>
          <a:spcPct val="0"/>
        </a:spcBef>
        <a:spcAft>
          <a:spcPct val="0"/>
        </a:spcAft>
        <a:defRPr sz="5400">
          <a:solidFill>
            <a:srgbClr val="3F3F3F"/>
          </a:solidFill>
          <a:latin typeface="Herculanum" charset="0"/>
          <a:ea typeface="ヒラギノ明朝 ProN W3" charset="0"/>
          <a:cs typeface="ヒラギノ明朝 ProN W3" charset="0"/>
          <a:sym typeface="Herculanum"/>
        </a:defRPr>
      </a:lvl4pPr>
      <a:lvl5pPr algn="ctr" rtl="0" eaLnBrk="0" fontAlgn="base" hangingPunct="0">
        <a:spcBef>
          <a:spcPct val="0"/>
        </a:spcBef>
        <a:spcAft>
          <a:spcPct val="0"/>
        </a:spcAft>
        <a:defRPr sz="5400">
          <a:solidFill>
            <a:srgbClr val="3F3F3F"/>
          </a:solidFill>
          <a:latin typeface="Herculanum" charset="0"/>
          <a:ea typeface="ヒラギノ明朝 ProN W3" charset="0"/>
          <a:cs typeface="ヒラギノ明朝 ProN W3" charset="0"/>
          <a:sym typeface="Herculanum"/>
        </a:defRPr>
      </a:lvl5pPr>
      <a:lvl6pPr marL="457200" algn="ctr" rtl="0" fontAlgn="base">
        <a:spcBef>
          <a:spcPct val="0"/>
        </a:spcBef>
        <a:spcAft>
          <a:spcPct val="0"/>
        </a:spcAft>
        <a:defRPr sz="5400">
          <a:solidFill>
            <a:srgbClr val="3F3F3F"/>
          </a:solidFill>
          <a:latin typeface="Herculanum" charset="0"/>
          <a:ea typeface="ヒラギノ明朝 ProN W3" charset="0"/>
          <a:cs typeface="ヒラギノ明朝 ProN W3" charset="0"/>
          <a:sym typeface="Herculanum" charset="0"/>
        </a:defRPr>
      </a:lvl6pPr>
      <a:lvl7pPr marL="914400" algn="ctr" rtl="0" fontAlgn="base">
        <a:spcBef>
          <a:spcPct val="0"/>
        </a:spcBef>
        <a:spcAft>
          <a:spcPct val="0"/>
        </a:spcAft>
        <a:defRPr sz="5400">
          <a:solidFill>
            <a:srgbClr val="3F3F3F"/>
          </a:solidFill>
          <a:latin typeface="Herculanum" charset="0"/>
          <a:ea typeface="ヒラギノ明朝 ProN W3" charset="0"/>
          <a:cs typeface="ヒラギノ明朝 ProN W3" charset="0"/>
          <a:sym typeface="Herculanum" charset="0"/>
        </a:defRPr>
      </a:lvl7pPr>
      <a:lvl8pPr marL="1371600" algn="ctr" rtl="0" fontAlgn="base">
        <a:spcBef>
          <a:spcPct val="0"/>
        </a:spcBef>
        <a:spcAft>
          <a:spcPct val="0"/>
        </a:spcAft>
        <a:defRPr sz="5400">
          <a:solidFill>
            <a:srgbClr val="3F3F3F"/>
          </a:solidFill>
          <a:latin typeface="Herculanum" charset="0"/>
          <a:ea typeface="ヒラギノ明朝 ProN W3" charset="0"/>
          <a:cs typeface="ヒラギノ明朝 ProN W3" charset="0"/>
          <a:sym typeface="Herculanum" charset="0"/>
        </a:defRPr>
      </a:lvl8pPr>
      <a:lvl9pPr marL="1828800" algn="ctr" rtl="0" fontAlgn="base">
        <a:spcBef>
          <a:spcPct val="0"/>
        </a:spcBef>
        <a:spcAft>
          <a:spcPct val="0"/>
        </a:spcAft>
        <a:defRPr sz="5400">
          <a:solidFill>
            <a:srgbClr val="3F3F3F"/>
          </a:solidFill>
          <a:latin typeface="Herculanum" charset="0"/>
          <a:ea typeface="ヒラギノ明朝 ProN W3" charset="0"/>
          <a:cs typeface="ヒラギノ明朝 ProN W3" charset="0"/>
          <a:sym typeface="Herculanum" charset="0"/>
        </a:defRPr>
      </a:lvl9pPr>
    </p:titleStyle>
    <p:bodyStyle>
      <a:lvl1pPr marL="620713" indent="-277813" algn="l" rtl="0" eaLnBrk="0" fontAlgn="base" hangingPunct="0">
        <a:spcBef>
          <a:spcPts val="3200"/>
        </a:spcBef>
        <a:spcAft>
          <a:spcPct val="0"/>
        </a:spcAft>
        <a:buSzPct val="52000"/>
        <a:buChar char="•"/>
        <a:defRPr sz="2200">
          <a:solidFill>
            <a:schemeClr val="tx1"/>
          </a:solidFill>
          <a:latin typeface="+mn-lt"/>
          <a:ea typeface="+mn-ea"/>
          <a:cs typeface="+mn-cs"/>
          <a:sym typeface="Palatino"/>
        </a:defRPr>
      </a:lvl1pPr>
      <a:lvl2pPr marL="976313" indent="-277813" algn="l" rtl="0" eaLnBrk="0" fontAlgn="base" hangingPunct="0">
        <a:spcBef>
          <a:spcPts val="3200"/>
        </a:spcBef>
        <a:spcAft>
          <a:spcPct val="0"/>
        </a:spcAft>
        <a:buSzPct val="52000"/>
        <a:buChar char="•"/>
        <a:defRPr sz="2200">
          <a:solidFill>
            <a:schemeClr val="tx1"/>
          </a:solidFill>
          <a:latin typeface="+mn-lt"/>
          <a:ea typeface="+mn-ea"/>
          <a:cs typeface="+mn-cs"/>
          <a:sym typeface="Palatino"/>
        </a:defRPr>
      </a:lvl2pPr>
      <a:lvl3pPr marL="1319213" indent="-277813" algn="l" rtl="0" eaLnBrk="0" fontAlgn="base" hangingPunct="0">
        <a:spcBef>
          <a:spcPts val="3200"/>
        </a:spcBef>
        <a:spcAft>
          <a:spcPct val="0"/>
        </a:spcAft>
        <a:buSzPct val="52000"/>
        <a:buChar char="•"/>
        <a:defRPr sz="2200">
          <a:solidFill>
            <a:schemeClr val="tx1"/>
          </a:solidFill>
          <a:latin typeface="+mn-lt"/>
          <a:ea typeface="+mn-ea"/>
          <a:cs typeface="+mn-cs"/>
          <a:sym typeface="Palatino"/>
        </a:defRPr>
      </a:lvl3pPr>
      <a:lvl4pPr marL="1674813" indent="-277813" algn="l" rtl="0" eaLnBrk="0" fontAlgn="base" hangingPunct="0">
        <a:spcBef>
          <a:spcPts val="3200"/>
        </a:spcBef>
        <a:spcAft>
          <a:spcPct val="0"/>
        </a:spcAft>
        <a:buSzPct val="52000"/>
        <a:buChar char="•"/>
        <a:defRPr sz="2200">
          <a:solidFill>
            <a:schemeClr val="tx1"/>
          </a:solidFill>
          <a:latin typeface="+mn-lt"/>
          <a:ea typeface="+mn-ea"/>
          <a:cs typeface="+mn-cs"/>
          <a:sym typeface="Palatino"/>
        </a:defRPr>
      </a:lvl4pPr>
      <a:lvl5pPr marL="2030413" indent="-277813" algn="l" rtl="0" eaLnBrk="0" fontAlgn="base" hangingPunct="0">
        <a:spcBef>
          <a:spcPts val="3200"/>
        </a:spcBef>
        <a:spcAft>
          <a:spcPct val="0"/>
        </a:spcAft>
        <a:buSzPct val="52000"/>
        <a:buChar char="•"/>
        <a:defRPr sz="2200">
          <a:solidFill>
            <a:schemeClr val="tx1"/>
          </a:solidFill>
          <a:latin typeface="+mn-lt"/>
          <a:ea typeface="+mn-ea"/>
          <a:cs typeface="+mn-cs"/>
          <a:sym typeface="Palatino"/>
        </a:defRPr>
      </a:lvl5pPr>
      <a:lvl6pPr marL="2487613" indent="-277813" algn="l" rtl="0" fontAlgn="base">
        <a:spcBef>
          <a:spcPts val="3200"/>
        </a:spcBef>
        <a:spcAft>
          <a:spcPct val="0"/>
        </a:spcAft>
        <a:buSzPct val="52000"/>
        <a:buChar char="•"/>
        <a:defRPr sz="2200">
          <a:solidFill>
            <a:schemeClr val="tx1"/>
          </a:solidFill>
          <a:latin typeface="+mn-lt"/>
          <a:ea typeface="+mn-ea"/>
          <a:cs typeface="+mn-cs"/>
          <a:sym typeface="Palatino" charset="0"/>
        </a:defRPr>
      </a:lvl6pPr>
      <a:lvl7pPr marL="2944813" indent="-277813" algn="l" rtl="0" fontAlgn="base">
        <a:spcBef>
          <a:spcPts val="3200"/>
        </a:spcBef>
        <a:spcAft>
          <a:spcPct val="0"/>
        </a:spcAft>
        <a:buSzPct val="52000"/>
        <a:buChar char="•"/>
        <a:defRPr sz="2200">
          <a:solidFill>
            <a:schemeClr val="tx1"/>
          </a:solidFill>
          <a:latin typeface="+mn-lt"/>
          <a:ea typeface="+mn-ea"/>
          <a:cs typeface="+mn-cs"/>
          <a:sym typeface="Palatino" charset="0"/>
        </a:defRPr>
      </a:lvl7pPr>
      <a:lvl8pPr marL="3402013" indent="-277813" algn="l" rtl="0" fontAlgn="base">
        <a:spcBef>
          <a:spcPts val="3200"/>
        </a:spcBef>
        <a:spcAft>
          <a:spcPct val="0"/>
        </a:spcAft>
        <a:buSzPct val="52000"/>
        <a:buChar char="•"/>
        <a:defRPr sz="2200">
          <a:solidFill>
            <a:schemeClr val="tx1"/>
          </a:solidFill>
          <a:latin typeface="+mn-lt"/>
          <a:ea typeface="+mn-ea"/>
          <a:cs typeface="+mn-cs"/>
          <a:sym typeface="Palatino" charset="0"/>
        </a:defRPr>
      </a:lvl8pPr>
      <a:lvl9pPr marL="3859213" indent="-277813" algn="l" rtl="0" fontAlgn="base">
        <a:spcBef>
          <a:spcPts val="3200"/>
        </a:spcBef>
        <a:spcAft>
          <a:spcPct val="0"/>
        </a:spcAft>
        <a:buSzPct val="52000"/>
        <a:buChar char="•"/>
        <a:defRPr sz="2200">
          <a:solidFill>
            <a:schemeClr val="tx1"/>
          </a:solidFill>
          <a:latin typeface="+mn-lt"/>
          <a:ea typeface="+mn-ea"/>
          <a:cs typeface="+mn-cs"/>
          <a:sym typeface="Palatino" charset="0"/>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148482" name="Rectangle 1"/>
          <p:cNvSpPr>
            <a:spLocks noGrp="1" noChangeArrowheads="1"/>
          </p:cNvSpPr>
          <p:nvPr>
            <p:ph type="title"/>
          </p:nvPr>
        </p:nvSpPr>
        <p:spPr bwMode="auto">
          <a:xfrm>
            <a:off x="304800" y="101600"/>
            <a:ext cx="8521700" cy="965200"/>
          </a:xfrm>
          <a:prstGeom prst="rect">
            <a:avLst/>
          </a:prstGeom>
          <a:noFill/>
          <a:ln w="12700">
            <a:noFill/>
            <a:miter lim="800000"/>
            <a:headEnd/>
            <a:tailEnd/>
          </a:ln>
        </p:spPr>
        <p:txBody>
          <a:bodyPr vert="horz" wrap="square" lIns="38100" tIns="38100" rIns="38100" bIns="38100" numCol="1" anchor="ctr" anchorCtr="0" compatLnSpc="1">
            <a:prstTxWarp prst="textNoShape">
              <a:avLst/>
            </a:prstTxWarp>
          </a:bodyPr>
          <a:lstStyle/>
          <a:p>
            <a:pPr lvl="0"/>
            <a:r>
              <a:rPr lang="en-US" altLang="ja-JP" smtClean="0">
                <a:sym typeface="Herculanum"/>
              </a:rPr>
              <a:t>Click to edit Master title style</a:t>
            </a:r>
          </a:p>
        </p:txBody>
      </p:sp>
      <p:sp>
        <p:nvSpPr>
          <p:cNvPr id="148483" name="Rectangle 2"/>
          <p:cNvSpPr>
            <a:spLocks noGrp="1" noChangeArrowheads="1"/>
          </p:cNvSpPr>
          <p:nvPr>
            <p:ph type="body" idx="1"/>
          </p:nvPr>
        </p:nvSpPr>
        <p:spPr bwMode="auto">
          <a:xfrm>
            <a:off x="5461000" y="1663700"/>
            <a:ext cx="3378200" cy="4572000"/>
          </a:xfrm>
          <a:prstGeom prst="rect">
            <a:avLst/>
          </a:prstGeom>
          <a:noFill/>
          <a:ln w="12700">
            <a:noFill/>
            <a:miter lim="800000"/>
            <a:headEnd/>
            <a:tailEnd/>
          </a:ln>
        </p:spPr>
        <p:txBody>
          <a:bodyPr vert="horz" wrap="square" lIns="38100" tIns="38100" rIns="38100" bIns="38100" numCol="1" anchor="ctr" anchorCtr="0" compatLnSpc="1">
            <a:prstTxWarp prst="textNoShape">
              <a:avLst/>
            </a:prstTxWarp>
          </a:bodyPr>
          <a:lstStyle/>
          <a:p>
            <a:pPr lvl="0"/>
            <a:r>
              <a:rPr lang="en-US" altLang="ja-JP" smtClean="0">
                <a:sym typeface="Palatino"/>
              </a:rPr>
              <a:t>Click to edit Master text styles</a:t>
            </a:r>
          </a:p>
          <a:p>
            <a:pPr lvl="1"/>
            <a:r>
              <a:rPr lang="en-US" altLang="ja-JP" smtClean="0">
                <a:sym typeface="Palatino"/>
              </a:rPr>
              <a:t>Second level</a:t>
            </a:r>
          </a:p>
          <a:p>
            <a:pPr lvl="2"/>
            <a:r>
              <a:rPr lang="en-US" altLang="ja-JP" smtClean="0">
                <a:sym typeface="Palatino"/>
              </a:rPr>
              <a:t>Third level</a:t>
            </a:r>
          </a:p>
          <a:p>
            <a:pPr lvl="3"/>
            <a:r>
              <a:rPr lang="en-US" altLang="ja-JP" smtClean="0">
                <a:sym typeface="Palatino"/>
              </a:rPr>
              <a:t>Fourth level</a:t>
            </a:r>
          </a:p>
          <a:p>
            <a:pPr lvl="4"/>
            <a:r>
              <a:rPr lang="en-US" altLang="ja-JP" smtClean="0">
                <a:sym typeface="Palatino"/>
              </a:rPr>
              <a:t>Fifth level</a:t>
            </a:r>
          </a:p>
        </p:txBody>
      </p:sp>
    </p:spTree>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0" r:id="rId8"/>
    <p:sldLayoutId id="2147483821" r:id="rId9"/>
    <p:sldLayoutId id="2147483822" r:id="rId10"/>
    <p:sldLayoutId id="2147483823" r:id="rId11"/>
  </p:sldLayoutIdLst>
  <p:transition/>
  <p:hf hdr="0" ftr="0" dt="0"/>
  <p:txStyles>
    <p:titleStyle>
      <a:lvl1pPr algn="ctr" rtl="0" eaLnBrk="0" fontAlgn="base" hangingPunct="0">
        <a:spcBef>
          <a:spcPct val="0"/>
        </a:spcBef>
        <a:spcAft>
          <a:spcPct val="0"/>
        </a:spcAft>
        <a:defRPr sz="5400">
          <a:solidFill>
            <a:srgbClr val="3F3F3F"/>
          </a:solidFill>
          <a:latin typeface="+mj-lt"/>
          <a:ea typeface="+mj-ea"/>
          <a:cs typeface="+mj-cs"/>
          <a:sym typeface="Herculanum"/>
        </a:defRPr>
      </a:lvl1pPr>
      <a:lvl2pPr algn="ctr" rtl="0" eaLnBrk="0" fontAlgn="base" hangingPunct="0">
        <a:spcBef>
          <a:spcPct val="0"/>
        </a:spcBef>
        <a:spcAft>
          <a:spcPct val="0"/>
        </a:spcAft>
        <a:defRPr sz="5400">
          <a:solidFill>
            <a:srgbClr val="3F3F3F"/>
          </a:solidFill>
          <a:latin typeface="Herculanum" charset="0"/>
          <a:ea typeface="ヒラギノ明朝 ProN W3" charset="0"/>
          <a:cs typeface="ヒラギノ明朝 ProN W3" charset="0"/>
          <a:sym typeface="Herculanum"/>
        </a:defRPr>
      </a:lvl2pPr>
      <a:lvl3pPr algn="ctr" rtl="0" eaLnBrk="0" fontAlgn="base" hangingPunct="0">
        <a:spcBef>
          <a:spcPct val="0"/>
        </a:spcBef>
        <a:spcAft>
          <a:spcPct val="0"/>
        </a:spcAft>
        <a:defRPr sz="5400">
          <a:solidFill>
            <a:srgbClr val="3F3F3F"/>
          </a:solidFill>
          <a:latin typeface="Herculanum" charset="0"/>
          <a:ea typeface="ヒラギノ明朝 ProN W3" charset="0"/>
          <a:cs typeface="ヒラギノ明朝 ProN W3" charset="0"/>
          <a:sym typeface="Herculanum"/>
        </a:defRPr>
      </a:lvl3pPr>
      <a:lvl4pPr algn="ctr" rtl="0" eaLnBrk="0" fontAlgn="base" hangingPunct="0">
        <a:spcBef>
          <a:spcPct val="0"/>
        </a:spcBef>
        <a:spcAft>
          <a:spcPct val="0"/>
        </a:spcAft>
        <a:defRPr sz="5400">
          <a:solidFill>
            <a:srgbClr val="3F3F3F"/>
          </a:solidFill>
          <a:latin typeface="Herculanum" charset="0"/>
          <a:ea typeface="ヒラギノ明朝 ProN W3" charset="0"/>
          <a:cs typeface="ヒラギノ明朝 ProN W3" charset="0"/>
          <a:sym typeface="Herculanum"/>
        </a:defRPr>
      </a:lvl4pPr>
      <a:lvl5pPr algn="ctr" rtl="0" eaLnBrk="0" fontAlgn="base" hangingPunct="0">
        <a:spcBef>
          <a:spcPct val="0"/>
        </a:spcBef>
        <a:spcAft>
          <a:spcPct val="0"/>
        </a:spcAft>
        <a:defRPr sz="5400">
          <a:solidFill>
            <a:srgbClr val="3F3F3F"/>
          </a:solidFill>
          <a:latin typeface="Herculanum" charset="0"/>
          <a:ea typeface="ヒラギノ明朝 ProN W3" charset="0"/>
          <a:cs typeface="ヒラギノ明朝 ProN W3" charset="0"/>
          <a:sym typeface="Herculanum"/>
        </a:defRPr>
      </a:lvl5pPr>
      <a:lvl6pPr marL="457200" algn="ctr" rtl="0" fontAlgn="base">
        <a:spcBef>
          <a:spcPct val="0"/>
        </a:spcBef>
        <a:spcAft>
          <a:spcPct val="0"/>
        </a:spcAft>
        <a:defRPr sz="5400">
          <a:solidFill>
            <a:srgbClr val="3F3F3F"/>
          </a:solidFill>
          <a:latin typeface="Herculanum" charset="0"/>
          <a:ea typeface="ヒラギノ明朝 ProN W3" charset="0"/>
          <a:cs typeface="ヒラギノ明朝 ProN W3" charset="0"/>
          <a:sym typeface="Herculanum" charset="0"/>
        </a:defRPr>
      </a:lvl6pPr>
      <a:lvl7pPr marL="914400" algn="ctr" rtl="0" fontAlgn="base">
        <a:spcBef>
          <a:spcPct val="0"/>
        </a:spcBef>
        <a:spcAft>
          <a:spcPct val="0"/>
        </a:spcAft>
        <a:defRPr sz="5400">
          <a:solidFill>
            <a:srgbClr val="3F3F3F"/>
          </a:solidFill>
          <a:latin typeface="Herculanum" charset="0"/>
          <a:ea typeface="ヒラギノ明朝 ProN W3" charset="0"/>
          <a:cs typeface="ヒラギノ明朝 ProN W3" charset="0"/>
          <a:sym typeface="Herculanum" charset="0"/>
        </a:defRPr>
      </a:lvl7pPr>
      <a:lvl8pPr marL="1371600" algn="ctr" rtl="0" fontAlgn="base">
        <a:spcBef>
          <a:spcPct val="0"/>
        </a:spcBef>
        <a:spcAft>
          <a:spcPct val="0"/>
        </a:spcAft>
        <a:defRPr sz="5400">
          <a:solidFill>
            <a:srgbClr val="3F3F3F"/>
          </a:solidFill>
          <a:latin typeface="Herculanum" charset="0"/>
          <a:ea typeface="ヒラギノ明朝 ProN W3" charset="0"/>
          <a:cs typeface="ヒラギノ明朝 ProN W3" charset="0"/>
          <a:sym typeface="Herculanum" charset="0"/>
        </a:defRPr>
      </a:lvl8pPr>
      <a:lvl9pPr marL="1828800" algn="ctr" rtl="0" fontAlgn="base">
        <a:spcBef>
          <a:spcPct val="0"/>
        </a:spcBef>
        <a:spcAft>
          <a:spcPct val="0"/>
        </a:spcAft>
        <a:defRPr sz="5400">
          <a:solidFill>
            <a:srgbClr val="3F3F3F"/>
          </a:solidFill>
          <a:latin typeface="Herculanum" charset="0"/>
          <a:ea typeface="ヒラギノ明朝 ProN W3" charset="0"/>
          <a:cs typeface="ヒラギノ明朝 ProN W3" charset="0"/>
          <a:sym typeface="Herculanum" charset="0"/>
        </a:defRPr>
      </a:lvl9pPr>
    </p:titleStyle>
    <p:bodyStyle>
      <a:lvl1pPr marL="620713" indent="-277813" algn="l" rtl="0" eaLnBrk="0" fontAlgn="base" hangingPunct="0">
        <a:spcBef>
          <a:spcPts val="3200"/>
        </a:spcBef>
        <a:spcAft>
          <a:spcPct val="0"/>
        </a:spcAft>
        <a:buSzPct val="52000"/>
        <a:buChar char="•"/>
        <a:defRPr sz="2200">
          <a:solidFill>
            <a:schemeClr val="tx1"/>
          </a:solidFill>
          <a:latin typeface="+mn-lt"/>
          <a:ea typeface="+mn-ea"/>
          <a:cs typeface="+mn-cs"/>
          <a:sym typeface="Palatino"/>
        </a:defRPr>
      </a:lvl1pPr>
      <a:lvl2pPr marL="976313" indent="-277813" algn="l" rtl="0" eaLnBrk="0" fontAlgn="base" hangingPunct="0">
        <a:spcBef>
          <a:spcPts val="3200"/>
        </a:spcBef>
        <a:spcAft>
          <a:spcPct val="0"/>
        </a:spcAft>
        <a:buSzPct val="52000"/>
        <a:buChar char="•"/>
        <a:defRPr sz="2200">
          <a:solidFill>
            <a:schemeClr val="tx1"/>
          </a:solidFill>
          <a:latin typeface="+mn-lt"/>
          <a:ea typeface="+mn-ea"/>
          <a:cs typeface="+mn-cs"/>
          <a:sym typeface="Palatino"/>
        </a:defRPr>
      </a:lvl2pPr>
      <a:lvl3pPr marL="1319213" indent="-277813" algn="l" rtl="0" eaLnBrk="0" fontAlgn="base" hangingPunct="0">
        <a:spcBef>
          <a:spcPts val="3200"/>
        </a:spcBef>
        <a:spcAft>
          <a:spcPct val="0"/>
        </a:spcAft>
        <a:buSzPct val="52000"/>
        <a:buChar char="•"/>
        <a:defRPr sz="2200">
          <a:solidFill>
            <a:schemeClr val="tx1"/>
          </a:solidFill>
          <a:latin typeface="+mn-lt"/>
          <a:ea typeface="+mn-ea"/>
          <a:cs typeface="+mn-cs"/>
          <a:sym typeface="Palatino"/>
        </a:defRPr>
      </a:lvl3pPr>
      <a:lvl4pPr marL="1674813" indent="-277813" algn="l" rtl="0" eaLnBrk="0" fontAlgn="base" hangingPunct="0">
        <a:spcBef>
          <a:spcPts val="3200"/>
        </a:spcBef>
        <a:spcAft>
          <a:spcPct val="0"/>
        </a:spcAft>
        <a:buSzPct val="52000"/>
        <a:buChar char="•"/>
        <a:defRPr sz="2200">
          <a:solidFill>
            <a:schemeClr val="tx1"/>
          </a:solidFill>
          <a:latin typeface="+mn-lt"/>
          <a:ea typeface="+mn-ea"/>
          <a:cs typeface="+mn-cs"/>
          <a:sym typeface="Palatino"/>
        </a:defRPr>
      </a:lvl4pPr>
      <a:lvl5pPr marL="2030413" indent="-277813" algn="l" rtl="0" eaLnBrk="0" fontAlgn="base" hangingPunct="0">
        <a:spcBef>
          <a:spcPts val="3200"/>
        </a:spcBef>
        <a:spcAft>
          <a:spcPct val="0"/>
        </a:spcAft>
        <a:buSzPct val="52000"/>
        <a:buChar char="•"/>
        <a:defRPr sz="2200">
          <a:solidFill>
            <a:schemeClr val="tx1"/>
          </a:solidFill>
          <a:latin typeface="+mn-lt"/>
          <a:ea typeface="+mn-ea"/>
          <a:cs typeface="+mn-cs"/>
          <a:sym typeface="Palatino"/>
        </a:defRPr>
      </a:lvl5pPr>
      <a:lvl6pPr marL="2487613" indent="-277813" algn="l" rtl="0" fontAlgn="base">
        <a:spcBef>
          <a:spcPts val="3200"/>
        </a:spcBef>
        <a:spcAft>
          <a:spcPct val="0"/>
        </a:spcAft>
        <a:buSzPct val="52000"/>
        <a:buChar char="•"/>
        <a:defRPr sz="2200">
          <a:solidFill>
            <a:schemeClr val="tx1"/>
          </a:solidFill>
          <a:latin typeface="+mn-lt"/>
          <a:ea typeface="+mn-ea"/>
          <a:cs typeface="+mn-cs"/>
          <a:sym typeface="Palatino" charset="0"/>
        </a:defRPr>
      </a:lvl6pPr>
      <a:lvl7pPr marL="2944813" indent="-277813" algn="l" rtl="0" fontAlgn="base">
        <a:spcBef>
          <a:spcPts val="3200"/>
        </a:spcBef>
        <a:spcAft>
          <a:spcPct val="0"/>
        </a:spcAft>
        <a:buSzPct val="52000"/>
        <a:buChar char="•"/>
        <a:defRPr sz="2200">
          <a:solidFill>
            <a:schemeClr val="tx1"/>
          </a:solidFill>
          <a:latin typeface="+mn-lt"/>
          <a:ea typeface="+mn-ea"/>
          <a:cs typeface="+mn-cs"/>
          <a:sym typeface="Palatino" charset="0"/>
        </a:defRPr>
      </a:lvl7pPr>
      <a:lvl8pPr marL="3402013" indent="-277813" algn="l" rtl="0" fontAlgn="base">
        <a:spcBef>
          <a:spcPts val="3200"/>
        </a:spcBef>
        <a:spcAft>
          <a:spcPct val="0"/>
        </a:spcAft>
        <a:buSzPct val="52000"/>
        <a:buChar char="•"/>
        <a:defRPr sz="2200">
          <a:solidFill>
            <a:schemeClr val="tx1"/>
          </a:solidFill>
          <a:latin typeface="+mn-lt"/>
          <a:ea typeface="+mn-ea"/>
          <a:cs typeface="+mn-cs"/>
          <a:sym typeface="Palatino" charset="0"/>
        </a:defRPr>
      </a:lvl8pPr>
      <a:lvl9pPr marL="3859213" indent="-277813" algn="l" rtl="0" fontAlgn="base">
        <a:spcBef>
          <a:spcPts val="3200"/>
        </a:spcBef>
        <a:spcAft>
          <a:spcPct val="0"/>
        </a:spcAft>
        <a:buSzPct val="52000"/>
        <a:buChar char="•"/>
        <a:defRPr sz="2200">
          <a:solidFill>
            <a:schemeClr val="tx1"/>
          </a:solidFill>
          <a:latin typeface="+mn-lt"/>
          <a:ea typeface="+mn-ea"/>
          <a:cs typeface="+mn-cs"/>
          <a:sym typeface="Palatino" charset="0"/>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0770" name="Rectangle 1"/>
          <p:cNvSpPr>
            <a:spLocks noGrp="1" noChangeArrowheads="1"/>
          </p:cNvSpPr>
          <p:nvPr>
            <p:ph type="title"/>
          </p:nvPr>
        </p:nvSpPr>
        <p:spPr bwMode="auto">
          <a:xfrm>
            <a:off x="457200" y="90488"/>
            <a:ext cx="8229600" cy="1509712"/>
          </a:xfrm>
          <a:prstGeom prst="rect">
            <a:avLst/>
          </a:prstGeom>
          <a:noFill/>
          <a:ln w="12700">
            <a:noFill/>
            <a:miter lim="800000"/>
            <a:headEnd/>
            <a:tailEnd/>
          </a:ln>
        </p:spPr>
        <p:txBody>
          <a:bodyPr vert="horz" wrap="square" lIns="50800" tIns="50800" rIns="91440" bIns="50800" numCol="1" anchor="ctr" anchorCtr="0" compatLnSpc="1">
            <a:prstTxWarp prst="textNoShape">
              <a:avLst/>
            </a:prstTxWarp>
          </a:bodyPr>
          <a:lstStyle/>
          <a:p>
            <a:pPr lvl="0"/>
            <a:r>
              <a:rPr lang="en-US" altLang="ja-JP" smtClean="0">
                <a:sym typeface="Lucida Grande"/>
              </a:rPr>
              <a:t>Click to edit Master title style</a:t>
            </a:r>
          </a:p>
        </p:txBody>
      </p:sp>
      <p:sp>
        <p:nvSpPr>
          <p:cNvPr id="160771" name="Rectangle 2"/>
          <p:cNvSpPr>
            <a:spLocks noGrp="1" noChangeArrowheads="1"/>
          </p:cNvSpPr>
          <p:nvPr>
            <p:ph type="body" idx="1"/>
          </p:nvPr>
        </p:nvSpPr>
        <p:spPr bwMode="auto">
          <a:xfrm>
            <a:off x="457200" y="1600200"/>
            <a:ext cx="8229600" cy="5257800"/>
          </a:xfrm>
          <a:prstGeom prst="rect">
            <a:avLst/>
          </a:prstGeom>
          <a:noFill/>
          <a:ln w="12700">
            <a:noFill/>
            <a:miter lim="800000"/>
            <a:headEnd/>
            <a:tailEnd/>
          </a:ln>
        </p:spPr>
        <p:txBody>
          <a:bodyPr vert="horz" wrap="square" lIns="50800" tIns="50800" rIns="91440" bIns="50800" numCol="1" anchor="t" anchorCtr="0" compatLnSpc="1">
            <a:prstTxWarp prst="textNoShape">
              <a:avLst/>
            </a:prstTxWarp>
          </a:bodyPr>
          <a:lstStyle/>
          <a:p>
            <a:pPr lvl="0"/>
            <a:r>
              <a:rPr lang="en-US" altLang="ja-JP" smtClean="0">
                <a:sym typeface="Lucida Grande"/>
              </a:rPr>
              <a:t>Click to edit Master text styles</a:t>
            </a:r>
          </a:p>
          <a:p>
            <a:pPr lvl="1"/>
            <a:r>
              <a:rPr lang="en-US" altLang="ja-JP" smtClean="0">
                <a:sym typeface="Lucida Grande"/>
              </a:rPr>
              <a:t>Second level</a:t>
            </a:r>
          </a:p>
          <a:p>
            <a:pPr lvl="2"/>
            <a:r>
              <a:rPr lang="en-US" altLang="ja-JP" smtClean="0">
                <a:sym typeface="Lucida Grande"/>
              </a:rPr>
              <a:t>Third level</a:t>
            </a:r>
          </a:p>
          <a:p>
            <a:pPr lvl="3"/>
            <a:r>
              <a:rPr lang="en-US" altLang="ja-JP" smtClean="0">
                <a:sym typeface="Lucida Grande"/>
              </a:rPr>
              <a:t>Fourth level</a:t>
            </a:r>
          </a:p>
          <a:p>
            <a:pPr lvl="4"/>
            <a:r>
              <a:rPr lang="en-US" altLang="ja-JP" smtClean="0">
                <a:sym typeface="Lucida Grande"/>
              </a:rPr>
              <a:t>Fifth level</a:t>
            </a:r>
          </a:p>
        </p:txBody>
      </p:sp>
      <p:sp>
        <p:nvSpPr>
          <p:cNvPr id="16387" name="Text Box 3"/>
          <p:cNvSpPr txBox="1">
            <a:spLocks noGrp="1" noChangeArrowheads="1"/>
          </p:cNvSpPr>
          <p:nvPr>
            <p:ph type="sldNum" sz="quarter" idx="4"/>
          </p:nvPr>
        </p:nvSpPr>
        <p:spPr bwMode="auto">
          <a:xfrm>
            <a:off x="7466013" y="6392863"/>
            <a:ext cx="306387" cy="292100"/>
          </a:xfrm>
          <a:prstGeom prst="rect">
            <a:avLst/>
          </a:prstGeom>
          <a:noFill/>
          <a:ln w="12700">
            <a:noFill/>
            <a:miter lim="800000"/>
            <a:headEnd/>
            <a:tailEnd/>
          </a:ln>
          <a:effectLst/>
        </p:spPr>
        <p:txBody>
          <a:bodyPr vert="horz" wrap="none" lIns="91440" tIns="45720" rIns="91440" bIns="45720" numCol="1" anchor="ctr" anchorCtr="0" compatLnSpc="1">
            <a:prstTxWarp prst="textNoShape">
              <a:avLst/>
            </a:prstTxWarp>
          </a:bodyPr>
          <a:lstStyle>
            <a:lvl1pPr algn="ctr">
              <a:defRPr kumimoji="0" sz="1200">
                <a:solidFill>
                  <a:srgbClr val="898989"/>
                </a:solidFill>
                <a:latin typeface="Lucida Grande" charset="0"/>
                <a:ea typeface="ＭＳ Ｐゴシック" charset="-128"/>
                <a:cs typeface="ヒラギノ角ゴ ProN W3" charset="0"/>
                <a:sym typeface="Lucida Grande" charset="0"/>
              </a:defRPr>
            </a:lvl1pPr>
          </a:lstStyle>
          <a:p>
            <a:pPr>
              <a:defRPr/>
            </a:pPr>
            <a:fld id="{B2858AB0-59AC-4AEE-91EF-C464C6E4DAD5}" type="slidenum">
              <a:rPr lang="en-US" altLang="ja-JP"/>
              <a:pPr>
                <a:defRPr/>
              </a:pPr>
              <a:t>‹#›</a:t>
            </a:fld>
            <a:endParaRPr lang="en-US" altLang="ja-JP" dirty="0"/>
          </a:p>
        </p:txBody>
      </p:sp>
    </p:spTree>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Lst>
  <p:transition/>
  <p:hf hdr="0" ftr="0" dt="0"/>
  <p:txStyles>
    <p:titleStyle>
      <a:lvl1pPr marL="39688" algn="ctr" rtl="0" eaLnBrk="0" fontAlgn="base" hangingPunct="0">
        <a:spcBef>
          <a:spcPct val="0"/>
        </a:spcBef>
        <a:spcAft>
          <a:spcPct val="0"/>
        </a:spcAft>
        <a:defRPr sz="4400">
          <a:solidFill>
            <a:schemeClr val="tx1"/>
          </a:solidFill>
          <a:latin typeface="+mj-lt"/>
          <a:ea typeface="+mj-ea"/>
          <a:cs typeface="+mj-cs"/>
          <a:sym typeface="Lucida Grande"/>
        </a:defRPr>
      </a:lvl1pPr>
      <a:lvl2pPr marL="39688" algn="ctr" rtl="0" eaLnBrk="0" fontAlgn="base" hangingPunct="0">
        <a:spcBef>
          <a:spcPct val="0"/>
        </a:spcBef>
        <a:spcAft>
          <a:spcPct val="0"/>
        </a:spcAft>
        <a:defRPr sz="4400">
          <a:solidFill>
            <a:schemeClr val="tx1"/>
          </a:solidFill>
          <a:latin typeface="Lucida Grande" charset="0"/>
          <a:ea typeface="ヒラギノ角ゴ ProN W3" charset="0"/>
          <a:cs typeface="ヒラギノ角ゴ ProN W3" charset="0"/>
          <a:sym typeface="Lucida Grande"/>
        </a:defRPr>
      </a:lvl2pPr>
      <a:lvl3pPr marL="39688" algn="ctr" rtl="0" eaLnBrk="0" fontAlgn="base" hangingPunct="0">
        <a:spcBef>
          <a:spcPct val="0"/>
        </a:spcBef>
        <a:spcAft>
          <a:spcPct val="0"/>
        </a:spcAft>
        <a:defRPr sz="4400">
          <a:solidFill>
            <a:schemeClr val="tx1"/>
          </a:solidFill>
          <a:latin typeface="Lucida Grande" charset="0"/>
          <a:ea typeface="ヒラギノ角ゴ ProN W3" charset="0"/>
          <a:cs typeface="ヒラギノ角ゴ ProN W3" charset="0"/>
          <a:sym typeface="Lucida Grande"/>
        </a:defRPr>
      </a:lvl3pPr>
      <a:lvl4pPr marL="39688" algn="ctr" rtl="0" eaLnBrk="0" fontAlgn="base" hangingPunct="0">
        <a:spcBef>
          <a:spcPct val="0"/>
        </a:spcBef>
        <a:spcAft>
          <a:spcPct val="0"/>
        </a:spcAft>
        <a:defRPr sz="4400">
          <a:solidFill>
            <a:schemeClr val="tx1"/>
          </a:solidFill>
          <a:latin typeface="Lucida Grande" charset="0"/>
          <a:ea typeface="ヒラギノ角ゴ ProN W3" charset="0"/>
          <a:cs typeface="ヒラギノ角ゴ ProN W3" charset="0"/>
          <a:sym typeface="Lucida Grande"/>
        </a:defRPr>
      </a:lvl4pPr>
      <a:lvl5pPr marL="39688" algn="ctr" rtl="0" eaLnBrk="0" fontAlgn="base" hangingPunct="0">
        <a:spcBef>
          <a:spcPct val="0"/>
        </a:spcBef>
        <a:spcAft>
          <a:spcPct val="0"/>
        </a:spcAft>
        <a:defRPr sz="4400">
          <a:solidFill>
            <a:schemeClr val="tx1"/>
          </a:solidFill>
          <a:latin typeface="Lucida Grande" charset="0"/>
          <a:ea typeface="ヒラギノ角ゴ ProN W3" charset="0"/>
          <a:cs typeface="ヒラギノ角ゴ ProN W3" charset="0"/>
          <a:sym typeface="Lucida Grande"/>
        </a:defRPr>
      </a:lvl5pPr>
      <a:lvl6pPr marL="496888" algn="ctr" rtl="0" fontAlgn="base">
        <a:spcBef>
          <a:spcPct val="0"/>
        </a:spcBef>
        <a:spcAft>
          <a:spcPct val="0"/>
        </a:spcAft>
        <a:defRPr sz="4400">
          <a:solidFill>
            <a:schemeClr val="tx1"/>
          </a:solidFill>
          <a:latin typeface="Lucida Grande" charset="0"/>
          <a:ea typeface="ヒラギノ角ゴ ProN W3" charset="0"/>
          <a:cs typeface="ヒラギノ角ゴ ProN W3" charset="0"/>
          <a:sym typeface="Lucida Grande" charset="0"/>
        </a:defRPr>
      </a:lvl6pPr>
      <a:lvl7pPr marL="954088" algn="ctr" rtl="0" fontAlgn="base">
        <a:spcBef>
          <a:spcPct val="0"/>
        </a:spcBef>
        <a:spcAft>
          <a:spcPct val="0"/>
        </a:spcAft>
        <a:defRPr sz="4400">
          <a:solidFill>
            <a:schemeClr val="tx1"/>
          </a:solidFill>
          <a:latin typeface="Lucida Grande" charset="0"/>
          <a:ea typeface="ヒラギノ角ゴ ProN W3" charset="0"/>
          <a:cs typeface="ヒラギノ角ゴ ProN W3" charset="0"/>
          <a:sym typeface="Lucida Grande" charset="0"/>
        </a:defRPr>
      </a:lvl7pPr>
      <a:lvl8pPr marL="1411288" algn="ctr" rtl="0" fontAlgn="base">
        <a:spcBef>
          <a:spcPct val="0"/>
        </a:spcBef>
        <a:spcAft>
          <a:spcPct val="0"/>
        </a:spcAft>
        <a:defRPr sz="4400">
          <a:solidFill>
            <a:schemeClr val="tx1"/>
          </a:solidFill>
          <a:latin typeface="Lucida Grande" charset="0"/>
          <a:ea typeface="ヒラギノ角ゴ ProN W3" charset="0"/>
          <a:cs typeface="ヒラギノ角ゴ ProN W3" charset="0"/>
          <a:sym typeface="Lucida Grande" charset="0"/>
        </a:defRPr>
      </a:lvl8pPr>
      <a:lvl9pPr marL="1868488" algn="ctr" rtl="0" fontAlgn="base">
        <a:spcBef>
          <a:spcPct val="0"/>
        </a:spcBef>
        <a:spcAft>
          <a:spcPct val="0"/>
        </a:spcAft>
        <a:defRPr sz="4400">
          <a:solidFill>
            <a:schemeClr val="tx1"/>
          </a:solidFill>
          <a:latin typeface="Lucida Grande" charset="0"/>
          <a:ea typeface="ヒラギノ角ゴ ProN W3" charset="0"/>
          <a:cs typeface="ヒラギノ角ゴ ProN W3" charset="0"/>
          <a:sym typeface="Lucida Grande" charset="0"/>
        </a:defRPr>
      </a:lvl9pPr>
    </p:titleStyle>
    <p:bodyStyle>
      <a:lvl1pPr marL="382588" indent="-342900" algn="l" rtl="0" eaLnBrk="0" fontAlgn="base" hangingPunct="0">
        <a:spcBef>
          <a:spcPts val="800"/>
        </a:spcBef>
        <a:spcAft>
          <a:spcPct val="0"/>
        </a:spcAft>
        <a:buClr>
          <a:srgbClr val="000000"/>
        </a:buClr>
        <a:buSzPct val="100000"/>
        <a:buFont typeface="Arial" charset="0"/>
        <a:buChar char="•"/>
        <a:defRPr sz="3200">
          <a:solidFill>
            <a:schemeClr val="tx1"/>
          </a:solidFill>
          <a:latin typeface="+mn-lt"/>
          <a:ea typeface="+mn-ea"/>
          <a:cs typeface="+mn-cs"/>
          <a:sym typeface="Lucida Grande"/>
        </a:defRPr>
      </a:lvl1pPr>
      <a:lvl2pPr marL="731838" indent="-285750" algn="l" rtl="0" eaLnBrk="0" fontAlgn="base" hangingPunct="0">
        <a:spcBef>
          <a:spcPts val="700"/>
        </a:spcBef>
        <a:spcAft>
          <a:spcPct val="0"/>
        </a:spcAft>
        <a:buClr>
          <a:srgbClr val="000000"/>
        </a:buClr>
        <a:buSzPct val="100000"/>
        <a:buFont typeface="Arial" charset="0"/>
        <a:buChar char="–"/>
        <a:defRPr sz="2800">
          <a:solidFill>
            <a:schemeClr val="tx1"/>
          </a:solidFill>
          <a:latin typeface="+mn-lt"/>
          <a:ea typeface="+mn-ea"/>
          <a:cs typeface="+mn-cs"/>
          <a:sym typeface="Lucida Grande"/>
        </a:defRPr>
      </a:lvl2pPr>
      <a:lvl3pPr marL="1131888" indent="-228600" algn="l" rtl="0" eaLnBrk="0" fontAlgn="base" hangingPunct="0">
        <a:spcBef>
          <a:spcPts val="600"/>
        </a:spcBef>
        <a:spcAft>
          <a:spcPct val="0"/>
        </a:spcAft>
        <a:buClr>
          <a:srgbClr val="000000"/>
        </a:buClr>
        <a:buSzPct val="100000"/>
        <a:buFont typeface="Arial" charset="0"/>
        <a:buChar char="•"/>
        <a:defRPr sz="2400">
          <a:solidFill>
            <a:schemeClr val="tx1"/>
          </a:solidFill>
          <a:latin typeface="+mn-lt"/>
          <a:ea typeface="+mn-ea"/>
          <a:cs typeface="+mn-cs"/>
          <a:sym typeface="Lucida Grande"/>
        </a:defRPr>
      </a:lvl3pPr>
      <a:lvl4pPr marL="1589088" indent="-228600" algn="l" rtl="0" eaLnBrk="0" fontAlgn="base" hangingPunct="0">
        <a:spcBef>
          <a:spcPts val="500"/>
        </a:spcBef>
        <a:spcAft>
          <a:spcPct val="0"/>
        </a:spcAft>
        <a:buClr>
          <a:srgbClr val="000000"/>
        </a:buClr>
        <a:buSzPct val="100000"/>
        <a:buFont typeface="Arial" charset="0"/>
        <a:buChar char="–"/>
        <a:defRPr sz="2000">
          <a:solidFill>
            <a:schemeClr val="tx1"/>
          </a:solidFill>
          <a:latin typeface="+mn-lt"/>
          <a:ea typeface="+mn-ea"/>
          <a:cs typeface="+mn-cs"/>
          <a:sym typeface="Lucida Grande"/>
        </a:defRPr>
      </a:lvl4pPr>
      <a:lvl5pPr marL="2046288" indent="-228600" algn="l" rtl="0" eaLnBrk="0" fontAlgn="base" hangingPunct="0">
        <a:spcBef>
          <a:spcPts val="500"/>
        </a:spcBef>
        <a:spcAft>
          <a:spcPct val="0"/>
        </a:spcAft>
        <a:buClr>
          <a:srgbClr val="000000"/>
        </a:buClr>
        <a:buSzPct val="100000"/>
        <a:buFont typeface="Arial" charset="0"/>
        <a:buChar char="»"/>
        <a:defRPr sz="2000">
          <a:solidFill>
            <a:schemeClr val="tx1"/>
          </a:solidFill>
          <a:latin typeface="+mn-lt"/>
          <a:ea typeface="+mn-ea"/>
          <a:cs typeface="+mn-cs"/>
          <a:sym typeface="Lucida Grande"/>
        </a:defRPr>
      </a:lvl5pPr>
      <a:lvl6pPr marL="2503488" indent="-228600" algn="l" rtl="0" fontAlgn="base">
        <a:spcBef>
          <a:spcPts val="500"/>
        </a:spcBef>
        <a:spcAft>
          <a:spcPct val="0"/>
        </a:spcAft>
        <a:buClr>
          <a:srgbClr val="000000"/>
        </a:buClr>
        <a:buSzPct val="100000"/>
        <a:buFont typeface="Arial" charset="0"/>
        <a:buChar char="»"/>
        <a:defRPr sz="2000">
          <a:solidFill>
            <a:schemeClr val="tx1"/>
          </a:solidFill>
          <a:latin typeface="+mn-lt"/>
          <a:ea typeface="+mn-ea"/>
          <a:cs typeface="+mn-cs"/>
          <a:sym typeface="Lucida Grande" charset="0"/>
        </a:defRPr>
      </a:lvl6pPr>
      <a:lvl7pPr marL="2960688" indent="-228600" algn="l" rtl="0" fontAlgn="base">
        <a:spcBef>
          <a:spcPts val="500"/>
        </a:spcBef>
        <a:spcAft>
          <a:spcPct val="0"/>
        </a:spcAft>
        <a:buClr>
          <a:srgbClr val="000000"/>
        </a:buClr>
        <a:buSzPct val="100000"/>
        <a:buFont typeface="Arial" charset="0"/>
        <a:buChar char="»"/>
        <a:defRPr sz="2000">
          <a:solidFill>
            <a:schemeClr val="tx1"/>
          </a:solidFill>
          <a:latin typeface="+mn-lt"/>
          <a:ea typeface="+mn-ea"/>
          <a:cs typeface="+mn-cs"/>
          <a:sym typeface="Lucida Grande" charset="0"/>
        </a:defRPr>
      </a:lvl7pPr>
      <a:lvl8pPr marL="3417888" indent="-228600" algn="l" rtl="0" fontAlgn="base">
        <a:spcBef>
          <a:spcPts val="500"/>
        </a:spcBef>
        <a:spcAft>
          <a:spcPct val="0"/>
        </a:spcAft>
        <a:buClr>
          <a:srgbClr val="000000"/>
        </a:buClr>
        <a:buSzPct val="100000"/>
        <a:buFont typeface="Arial" charset="0"/>
        <a:buChar char="»"/>
        <a:defRPr sz="2000">
          <a:solidFill>
            <a:schemeClr val="tx1"/>
          </a:solidFill>
          <a:latin typeface="+mn-lt"/>
          <a:ea typeface="+mn-ea"/>
          <a:cs typeface="+mn-cs"/>
          <a:sym typeface="Lucida Grande" charset="0"/>
        </a:defRPr>
      </a:lvl8pPr>
      <a:lvl9pPr marL="3875088" indent="-228600" algn="l" rtl="0" fontAlgn="base">
        <a:spcBef>
          <a:spcPts val="500"/>
        </a:spcBef>
        <a:spcAft>
          <a:spcPct val="0"/>
        </a:spcAft>
        <a:buClr>
          <a:srgbClr val="000000"/>
        </a:buClr>
        <a:buSzPct val="100000"/>
        <a:buFont typeface="Arial" charset="0"/>
        <a:buChar char="»"/>
        <a:defRPr sz="2000">
          <a:solidFill>
            <a:schemeClr val="tx1"/>
          </a:solidFill>
          <a:latin typeface="+mn-lt"/>
          <a:ea typeface="+mn-ea"/>
          <a:cs typeface="+mn-cs"/>
          <a:sym typeface="Lucida Grande" charset="0"/>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173058" name="Rectangle 1"/>
          <p:cNvSpPr>
            <a:spLocks noGrp="1" noChangeArrowheads="1"/>
          </p:cNvSpPr>
          <p:nvPr>
            <p:ph type="title"/>
          </p:nvPr>
        </p:nvSpPr>
        <p:spPr bwMode="auto">
          <a:xfrm>
            <a:off x="254000" y="1435100"/>
            <a:ext cx="8636000" cy="2273300"/>
          </a:xfrm>
          <a:prstGeom prst="rect">
            <a:avLst/>
          </a:prstGeom>
          <a:noFill/>
          <a:ln w="12700">
            <a:noFill/>
            <a:miter lim="800000"/>
            <a:headEnd/>
            <a:tailEnd/>
          </a:ln>
        </p:spPr>
        <p:txBody>
          <a:bodyPr vert="horz" wrap="square" lIns="38100" tIns="38100" rIns="38100" bIns="38100" numCol="1" anchor="b" anchorCtr="0" compatLnSpc="1">
            <a:prstTxWarp prst="textNoShape">
              <a:avLst/>
            </a:prstTxWarp>
          </a:bodyPr>
          <a:lstStyle/>
          <a:p>
            <a:pPr lvl="0"/>
            <a:r>
              <a:rPr lang="en-US" altLang="ja-JP" smtClean="0">
                <a:sym typeface="Gill Sans Light"/>
              </a:rPr>
              <a:t>Click to edit Master title style</a:t>
            </a:r>
          </a:p>
        </p:txBody>
      </p:sp>
      <p:sp>
        <p:nvSpPr>
          <p:cNvPr id="173059" name="Rectangle 2"/>
          <p:cNvSpPr>
            <a:spLocks noGrp="1" noChangeArrowheads="1"/>
          </p:cNvSpPr>
          <p:nvPr>
            <p:ph type="body" idx="1"/>
          </p:nvPr>
        </p:nvSpPr>
        <p:spPr bwMode="auto">
          <a:xfrm>
            <a:off x="254000" y="3708400"/>
            <a:ext cx="8636000" cy="914400"/>
          </a:xfrm>
          <a:prstGeom prst="rect">
            <a:avLst/>
          </a:prstGeom>
          <a:noFill/>
          <a:ln w="12700">
            <a:noFill/>
            <a:miter lim="800000"/>
            <a:headEnd/>
            <a:tailEnd/>
          </a:ln>
        </p:spPr>
        <p:txBody>
          <a:bodyPr vert="horz" wrap="square" lIns="38100" tIns="38100" rIns="38100" bIns="38100" numCol="1" anchor="t" anchorCtr="0" compatLnSpc="1">
            <a:prstTxWarp prst="textNoShape">
              <a:avLst/>
            </a:prstTxWarp>
          </a:bodyPr>
          <a:lstStyle/>
          <a:p>
            <a:pPr lvl="0"/>
            <a:r>
              <a:rPr lang="en-US" altLang="ja-JP" smtClean="0">
                <a:sym typeface="Gill Sans Light"/>
              </a:rPr>
              <a:t>Click to edit Master text styles</a:t>
            </a:r>
          </a:p>
          <a:p>
            <a:pPr lvl="1"/>
            <a:r>
              <a:rPr lang="en-US" altLang="ja-JP" smtClean="0">
                <a:sym typeface="Gill Sans Light"/>
              </a:rPr>
              <a:t>Second level</a:t>
            </a:r>
          </a:p>
          <a:p>
            <a:pPr lvl="2"/>
            <a:r>
              <a:rPr lang="en-US" altLang="ja-JP" smtClean="0">
                <a:sym typeface="Gill Sans Light"/>
              </a:rPr>
              <a:t>Third level</a:t>
            </a:r>
          </a:p>
          <a:p>
            <a:pPr lvl="3"/>
            <a:r>
              <a:rPr lang="en-US" altLang="ja-JP" smtClean="0">
                <a:sym typeface="Gill Sans Light"/>
              </a:rPr>
              <a:t>Fourth level</a:t>
            </a:r>
          </a:p>
          <a:p>
            <a:pPr lvl="4"/>
            <a:r>
              <a:rPr lang="en-US" altLang="ja-JP" smtClean="0">
                <a:sym typeface="Gill Sans Light"/>
              </a:rPr>
              <a:t>Fifth level</a:t>
            </a:r>
          </a:p>
        </p:txBody>
      </p:sp>
    </p:spTree>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Lst>
  <p:transition/>
  <p:hf hdr="0" ftr="0" dt="0"/>
  <p:txStyles>
    <p:titleStyle>
      <a:lvl1pPr algn="ctr" rtl="0" eaLnBrk="0" fontAlgn="base" hangingPunct="0">
        <a:spcBef>
          <a:spcPct val="0"/>
        </a:spcBef>
        <a:spcAft>
          <a:spcPct val="0"/>
        </a:spcAft>
        <a:defRPr sz="5000">
          <a:solidFill>
            <a:schemeClr val="tx1"/>
          </a:solidFill>
          <a:latin typeface="+mj-lt"/>
          <a:ea typeface="+mj-ea"/>
          <a:cs typeface="+mj-cs"/>
          <a:sym typeface="Gill Sans Light"/>
        </a:defRPr>
      </a:lvl1pPr>
      <a:lvl2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2pPr>
      <a:lvl3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3pPr>
      <a:lvl4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4pPr>
      <a:lvl5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5pPr>
      <a:lvl6pPr marL="4572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6pPr>
      <a:lvl7pPr marL="9144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7pPr>
      <a:lvl8pPr marL="13716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8pPr>
      <a:lvl9pPr marL="18288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9pPr>
    </p:titleStyle>
    <p:bodyStyle>
      <a:lvl1pPr algn="ctr" rtl="0" eaLnBrk="0" fontAlgn="base" hangingPunct="0">
        <a:spcBef>
          <a:spcPct val="0"/>
        </a:spcBef>
        <a:spcAft>
          <a:spcPct val="0"/>
        </a:spcAft>
        <a:defRPr sz="2400">
          <a:solidFill>
            <a:schemeClr val="tx1"/>
          </a:solidFill>
          <a:latin typeface="+mn-lt"/>
          <a:ea typeface="+mn-ea"/>
          <a:cs typeface="+mn-cs"/>
          <a:sym typeface="Gill Sans Light"/>
        </a:defRPr>
      </a:lvl1pPr>
      <a:lvl2pPr algn="ctr" rtl="0" eaLnBrk="0" fontAlgn="base" hangingPunct="0">
        <a:spcBef>
          <a:spcPct val="0"/>
        </a:spcBef>
        <a:spcAft>
          <a:spcPct val="0"/>
        </a:spcAft>
        <a:defRPr sz="2400">
          <a:solidFill>
            <a:schemeClr val="tx1"/>
          </a:solidFill>
          <a:latin typeface="+mn-lt"/>
          <a:ea typeface="+mn-ea"/>
          <a:cs typeface="+mn-cs"/>
          <a:sym typeface="Gill Sans Light"/>
        </a:defRPr>
      </a:lvl2pPr>
      <a:lvl3pPr algn="ctr" rtl="0" eaLnBrk="0" fontAlgn="base" hangingPunct="0">
        <a:spcBef>
          <a:spcPct val="0"/>
        </a:spcBef>
        <a:spcAft>
          <a:spcPct val="0"/>
        </a:spcAft>
        <a:defRPr sz="2400">
          <a:solidFill>
            <a:schemeClr val="tx1"/>
          </a:solidFill>
          <a:latin typeface="+mn-lt"/>
          <a:ea typeface="+mn-ea"/>
          <a:cs typeface="+mn-cs"/>
          <a:sym typeface="Gill Sans Light"/>
        </a:defRPr>
      </a:lvl3pPr>
      <a:lvl4pPr algn="ctr" rtl="0" eaLnBrk="0" fontAlgn="base" hangingPunct="0">
        <a:spcBef>
          <a:spcPct val="0"/>
        </a:spcBef>
        <a:spcAft>
          <a:spcPct val="0"/>
        </a:spcAft>
        <a:defRPr sz="2400">
          <a:solidFill>
            <a:schemeClr val="tx1"/>
          </a:solidFill>
          <a:latin typeface="+mn-lt"/>
          <a:ea typeface="+mn-ea"/>
          <a:cs typeface="+mn-cs"/>
          <a:sym typeface="Gill Sans Light"/>
        </a:defRPr>
      </a:lvl4pPr>
      <a:lvl5pPr algn="ctr" rtl="0" eaLnBrk="0" fontAlgn="base" hangingPunct="0">
        <a:spcBef>
          <a:spcPct val="0"/>
        </a:spcBef>
        <a:spcAft>
          <a:spcPct val="0"/>
        </a:spcAft>
        <a:defRPr sz="2400">
          <a:solidFill>
            <a:schemeClr val="tx1"/>
          </a:solidFill>
          <a:latin typeface="+mn-lt"/>
          <a:ea typeface="+mn-ea"/>
          <a:cs typeface="+mn-cs"/>
          <a:sym typeface="Gill Sans Light"/>
        </a:defRPr>
      </a:lvl5pPr>
      <a:lvl6pPr marL="457200" algn="ctr" rtl="0" fontAlgn="base">
        <a:spcBef>
          <a:spcPct val="0"/>
        </a:spcBef>
        <a:spcAft>
          <a:spcPct val="0"/>
        </a:spcAft>
        <a:defRPr sz="2400">
          <a:solidFill>
            <a:schemeClr val="tx1"/>
          </a:solidFill>
          <a:latin typeface="+mn-lt"/>
          <a:ea typeface="+mn-ea"/>
          <a:cs typeface="+mn-cs"/>
          <a:sym typeface="Gill Sans Light" charset="0"/>
        </a:defRPr>
      </a:lvl6pPr>
      <a:lvl7pPr marL="914400" algn="ctr" rtl="0" fontAlgn="base">
        <a:spcBef>
          <a:spcPct val="0"/>
        </a:spcBef>
        <a:spcAft>
          <a:spcPct val="0"/>
        </a:spcAft>
        <a:defRPr sz="2400">
          <a:solidFill>
            <a:schemeClr val="tx1"/>
          </a:solidFill>
          <a:latin typeface="+mn-lt"/>
          <a:ea typeface="+mn-ea"/>
          <a:cs typeface="+mn-cs"/>
          <a:sym typeface="Gill Sans Light" charset="0"/>
        </a:defRPr>
      </a:lvl7pPr>
      <a:lvl8pPr marL="1371600" algn="ctr" rtl="0" fontAlgn="base">
        <a:spcBef>
          <a:spcPct val="0"/>
        </a:spcBef>
        <a:spcAft>
          <a:spcPct val="0"/>
        </a:spcAft>
        <a:defRPr sz="2400">
          <a:solidFill>
            <a:schemeClr val="tx1"/>
          </a:solidFill>
          <a:latin typeface="+mn-lt"/>
          <a:ea typeface="+mn-ea"/>
          <a:cs typeface="+mn-cs"/>
          <a:sym typeface="Gill Sans Light" charset="0"/>
        </a:defRPr>
      </a:lvl8pPr>
      <a:lvl9pPr marL="1828800" algn="ctr" rtl="0" fontAlgn="base">
        <a:spcBef>
          <a:spcPct val="0"/>
        </a:spcBef>
        <a:spcAft>
          <a:spcPct val="0"/>
        </a:spcAft>
        <a:defRPr sz="2400">
          <a:solidFill>
            <a:schemeClr val="tx1"/>
          </a:solidFill>
          <a:latin typeface="+mn-lt"/>
          <a:ea typeface="+mn-ea"/>
          <a:cs typeface="+mn-cs"/>
          <a:sym typeface="Gill Sans Light" charset="0"/>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185346" name="Rectangle 1"/>
          <p:cNvSpPr>
            <a:spLocks noGrp="1" noChangeArrowheads="1"/>
          </p:cNvSpPr>
          <p:nvPr>
            <p:ph type="title"/>
          </p:nvPr>
        </p:nvSpPr>
        <p:spPr bwMode="auto">
          <a:xfrm>
            <a:off x="254000" y="977900"/>
            <a:ext cx="4152900" cy="2463800"/>
          </a:xfrm>
          <a:prstGeom prst="rect">
            <a:avLst/>
          </a:prstGeom>
          <a:noFill/>
          <a:ln w="12700">
            <a:noFill/>
            <a:miter lim="800000"/>
            <a:headEnd/>
            <a:tailEnd/>
          </a:ln>
        </p:spPr>
        <p:txBody>
          <a:bodyPr vert="horz" wrap="square" lIns="38100" tIns="38100" rIns="38100" bIns="38100" numCol="1" anchor="b" anchorCtr="0" compatLnSpc="1">
            <a:prstTxWarp prst="textNoShape">
              <a:avLst/>
            </a:prstTxWarp>
          </a:bodyPr>
          <a:lstStyle/>
          <a:p>
            <a:pPr lvl="0"/>
            <a:r>
              <a:rPr lang="en-US" altLang="ja-JP" smtClean="0">
                <a:sym typeface="Gill Sans Light"/>
              </a:rPr>
              <a:t>Click to edit Master title style</a:t>
            </a:r>
          </a:p>
        </p:txBody>
      </p:sp>
      <p:sp>
        <p:nvSpPr>
          <p:cNvPr id="185347" name="Rectangle 2"/>
          <p:cNvSpPr>
            <a:spLocks noGrp="1" noChangeArrowheads="1"/>
          </p:cNvSpPr>
          <p:nvPr>
            <p:ph type="body" idx="1"/>
          </p:nvPr>
        </p:nvSpPr>
        <p:spPr bwMode="auto">
          <a:xfrm>
            <a:off x="254000" y="3429000"/>
            <a:ext cx="4152900" cy="914400"/>
          </a:xfrm>
          <a:prstGeom prst="rect">
            <a:avLst/>
          </a:prstGeom>
          <a:noFill/>
          <a:ln w="12700">
            <a:noFill/>
            <a:miter lim="800000"/>
            <a:headEnd/>
            <a:tailEnd/>
          </a:ln>
        </p:spPr>
        <p:txBody>
          <a:bodyPr vert="horz" wrap="square" lIns="38100" tIns="38100" rIns="38100" bIns="38100" numCol="1" anchor="t" anchorCtr="0" compatLnSpc="1">
            <a:prstTxWarp prst="textNoShape">
              <a:avLst/>
            </a:prstTxWarp>
          </a:bodyPr>
          <a:lstStyle/>
          <a:p>
            <a:pPr lvl="0"/>
            <a:r>
              <a:rPr lang="en-US" altLang="ja-JP" smtClean="0">
                <a:sym typeface="Gill Sans Light"/>
              </a:rPr>
              <a:t>Click to edit Master text styles</a:t>
            </a:r>
          </a:p>
          <a:p>
            <a:pPr lvl="1"/>
            <a:r>
              <a:rPr lang="en-US" altLang="ja-JP" smtClean="0">
                <a:sym typeface="Gill Sans Light"/>
              </a:rPr>
              <a:t>Second level</a:t>
            </a:r>
          </a:p>
          <a:p>
            <a:pPr lvl="2"/>
            <a:r>
              <a:rPr lang="en-US" altLang="ja-JP" smtClean="0">
                <a:sym typeface="Gill Sans Light"/>
              </a:rPr>
              <a:t>Third level</a:t>
            </a:r>
          </a:p>
          <a:p>
            <a:pPr lvl="3"/>
            <a:r>
              <a:rPr lang="en-US" altLang="ja-JP" smtClean="0">
                <a:sym typeface="Gill Sans Light"/>
              </a:rPr>
              <a:t>Fourth level</a:t>
            </a:r>
          </a:p>
          <a:p>
            <a:pPr lvl="4"/>
            <a:r>
              <a:rPr lang="en-US" altLang="ja-JP" smtClean="0">
                <a:sym typeface="Gill Sans Light"/>
              </a:rPr>
              <a:t>Fifth level</a:t>
            </a:r>
          </a:p>
        </p:txBody>
      </p:sp>
    </p:spTree>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Lst>
  <p:transition/>
  <p:hf hdr="0" ftr="0" dt="0"/>
  <p:txStyles>
    <p:titleStyle>
      <a:lvl1pPr algn="ctr" rtl="0" eaLnBrk="0" fontAlgn="base" hangingPunct="0">
        <a:spcBef>
          <a:spcPct val="0"/>
        </a:spcBef>
        <a:spcAft>
          <a:spcPct val="0"/>
        </a:spcAft>
        <a:defRPr sz="5000">
          <a:solidFill>
            <a:srgbClr val="404140"/>
          </a:solidFill>
          <a:latin typeface="+mj-lt"/>
          <a:ea typeface="+mj-ea"/>
          <a:cs typeface="+mj-cs"/>
          <a:sym typeface="Gill Sans Light"/>
        </a:defRPr>
      </a:lvl1pPr>
      <a:lvl2pPr algn="ctr" rtl="0" eaLnBrk="0" fontAlgn="base" hangingPunct="0">
        <a:spcBef>
          <a:spcPct val="0"/>
        </a:spcBef>
        <a:spcAft>
          <a:spcPct val="0"/>
        </a:spcAft>
        <a:defRPr sz="5000">
          <a:solidFill>
            <a:srgbClr val="404140"/>
          </a:solidFill>
          <a:latin typeface="Gill Sans Light" charset="0"/>
          <a:ea typeface="ヒラギノ角ゴ ProN W3" charset="0"/>
          <a:cs typeface="ヒラギノ角ゴ ProN W3" charset="0"/>
          <a:sym typeface="Gill Sans Light"/>
        </a:defRPr>
      </a:lvl2pPr>
      <a:lvl3pPr algn="ctr" rtl="0" eaLnBrk="0" fontAlgn="base" hangingPunct="0">
        <a:spcBef>
          <a:spcPct val="0"/>
        </a:spcBef>
        <a:spcAft>
          <a:spcPct val="0"/>
        </a:spcAft>
        <a:defRPr sz="5000">
          <a:solidFill>
            <a:srgbClr val="404140"/>
          </a:solidFill>
          <a:latin typeface="Gill Sans Light" charset="0"/>
          <a:ea typeface="ヒラギノ角ゴ ProN W3" charset="0"/>
          <a:cs typeface="ヒラギノ角ゴ ProN W3" charset="0"/>
          <a:sym typeface="Gill Sans Light"/>
        </a:defRPr>
      </a:lvl3pPr>
      <a:lvl4pPr algn="ctr" rtl="0" eaLnBrk="0" fontAlgn="base" hangingPunct="0">
        <a:spcBef>
          <a:spcPct val="0"/>
        </a:spcBef>
        <a:spcAft>
          <a:spcPct val="0"/>
        </a:spcAft>
        <a:defRPr sz="5000">
          <a:solidFill>
            <a:srgbClr val="404140"/>
          </a:solidFill>
          <a:latin typeface="Gill Sans Light" charset="0"/>
          <a:ea typeface="ヒラギノ角ゴ ProN W3" charset="0"/>
          <a:cs typeface="ヒラギノ角ゴ ProN W3" charset="0"/>
          <a:sym typeface="Gill Sans Light"/>
        </a:defRPr>
      </a:lvl4pPr>
      <a:lvl5pPr algn="ctr" rtl="0" eaLnBrk="0" fontAlgn="base" hangingPunct="0">
        <a:spcBef>
          <a:spcPct val="0"/>
        </a:spcBef>
        <a:spcAft>
          <a:spcPct val="0"/>
        </a:spcAft>
        <a:defRPr sz="5000">
          <a:solidFill>
            <a:srgbClr val="404140"/>
          </a:solidFill>
          <a:latin typeface="Gill Sans Light" charset="0"/>
          <a:ea typeface="ヒラギノ角ゴ ProN W3" charset="0"/>
          <a:cs typeface="ヒラギノ角ゴ ProN W3" charset="0"/>
          <a:sym typeface="Gill Sans Light"/>
        </a:defRPr>
      </a:lvl5pPr>
      <a:lvl6pPr marL="457200" algn="ctr" rtl="0" fontAlgn="base">
        <a:spcBef>
          <a:spcPct val="0"/>
        </a:spcBef>
        <a:spcAft>
          <a:spcPct val="0"/>
        </a:spcAft>
        <a:defRPr sz="5000">
          <a:solidFill>
            <a:srgbClr val="404140"/>
          </a:solidFill>
          <a:latin typeface="Gill Sans Light" charset="0"/>
          <a:ea typeface="ヒラギノ角ゴ ProN W3" charset="0"/>
          <a:cs typeface="ヒラギノ角ゴ ProN W3" charset="0"/>
          <a:sym typeface="Gill Sans Light" charset="0"/>
        </a:defRPr>
      </a:lvl6pPr>
      <a:lvl7pPr marL="914400" algn="ctr" rtl="0" fontAlgn="base">
        <a:spcBef>
          <a:spcPct val="0"/>
        </a:spcBef>
        <a:spcAft>
          <a:spcPct val="0"/>
        </a:spcAft>
        <a:defRPr sz="5000">
          <a:solidFill>
            <a:srgbClr val="404140"/>
          </a:solidFill>
          <a:latin typeface="Gill Sans Light" charset="0"/>
          <a:ea typeface="ヒラギノ角ゴ ProN W3" charset="0"/>
          <a:cs typeface="ヒラギノ角ゴ ProN W3" charset="0"/>
          <a:sym typeface="Gill Sans Light" charset="0"/>
        </a:defRPr>
      </a:lvl7pPr>
      <a:lvl8pPr marL="1371600" algn="ctr" rtl="0" fontAlgn="base">
        <a:spcBef>
          <a:spcPct val="0"/>
        </a:spcBef>
        <a:spcAft>
          <a:spcPct val="0"/>
        </a:spcAft>
        <a:defRPr sz="5000">
          <a:solidFill>
            <a:srgbClr val="404140"/>
          </a:solidFill>
          <a:latin typeface="Gill Sans Light" charset="0"/>
          <a:ea typeface="ヒラギノ角ゴ ProN W3" charset="0"/>
          <a:cs typeface="ヒラギノ角ゴ ProN W3" charset="0"/>
          <a:sym typeface="Gill Sans Light" charset="0"/>
        </a:defRPr>
      </a:lvl8pPr>
      <a:lvl9pPr marL="1828800" algn="ctr" rtl="0" fontAlgn="base">
        <a:spcBef>
          <a:spcPct val="0"/>
        </a:spcBef>
        <a:spcAft>
          <a:spcPct val="0"/>
        </a:spcAft>
        <a:defRPr sz="5000">
          <a:solidFill>
            <a:srgbClr val="404140"/>
          </a:solidFill>
          <a:latin typeface="Gill Sans Light" charset="0"/>
          <a:ea typeface="ヒラギノ角ゴ ProN W3" charset="0"/>
          <a:cs typeface="ヒラギノ角ゴ ProN W3" charset="0"/>
          <a:sym typeface="Gill Sans Light" charset="0"/>
        </a:defRPr>
      </a:lvl9pPr>
    </p:titleStyle>
    <p:bodyStyle>
      <a:lvl1pPr algn="ctr" rtl="0" eaLnBrk="0" fontAlgn="base" hangingPunct="0">
        <a:spcBef>
          <a:spcPct val="0"/>
        </a:spcBef>
        <a:spcAft>
          <a:spcPct val="0"/>
        </a:spcAft>
        <a:defRPr sz="2400">
          <a:solidFill>
            <a:srgbClr val="404140"/>
          </a:solidFill>
          <a:latin typeface="+mn-lt"/>
          <a:ea typeface="+mn-ea"/>
          <a:cs typeface="+mn-cs"/>
          <a:sym typeface="Gill Sans Light"/>
        </a:defRPr>
      </a:lvl1pPr>
      <a:lvl2pPr algn="ctr" rtl="0" eaLnBrk="0" fontAlgn="base" hangingPunct="0">
        <a:spcBef>
          <a:spcPct val="0"/>
        </a:spcBef>
        <a:spcAft>
          <a:spcPct val="0"/>
        </a:spcAft>
        <a:defRPr sz="2400">
          <a:solidFill>
            <a:srgbClr val="404140"/>
          </a:solidFill>
          <a:latin typeface="+mn-lt"/>
          <a:ea typeface="+mn-ea"/>
          <a:cs typeface="+mn-cs"/>
          <a:sym typeface="Gill Sans Light"/>
        </a:defRPr>
      </a:lvl2pPr>
      <a:lvl3pPr algn="ctr" rtl="0" eaLnBrk="0" fontAlgn="base" hangingPunct="0">
        <a:spcBef>
          <a:spcPct val="0"/>
        </a:spcBef>
        <a:spcAft>
          <a:spcPct val="0"/>
        </a:spcAft>
        <a:defRPr sz="2400">
          <a:solidFill>
            <a:srgbClr val="404140"/>
          </a:solidFill>
          <a:latin typeface="+mn-lt"/>
          <a:ea typeface="+mn-ea"/>
          <a:cs typeface="+mn-cs"/>
          <a:sym typeface="Gill Sans Light"/>
        </a:defRPr>
      </a:lvl3pPr>
      <a:lvl4pPr algn="ctr" rtl="0" eaLnBrk="0" fontAlgn="base" hangingPunct="0">
        <a:spcBef>
          <a:spcPct val="0"/>
        </a:spcBef>
        <a:spcAft>
          <a:spcPct val="0"/>
        </a:spcAft>
        <a:defRPr sz="2400">
          <a:solidFill>
            <a:srgbClr val="404140"/>
          </a:solidFill>
          <a:latin typeface="+mn-lt"/>
          <a:ea typeface="+mn-ea"/>
          <a:cs typeface="+mn-cs"/>
          <a:sym typeface="Gill Sans Light"/>
        </a:defRPr>
      </a:lvl4pPr>
      <a:lvl5pPr algn="ctr" rtl="0" eaLnBrk="0" fontAlgn="base" hangingPunct="0">
        <a:spcBef>
          <a:spcPct val="0"/>
        </a:spcBef>
        <a:spcAft>
          <a:spcPct val="0"/>
        </a:spcAft>
        <a:defRPr sz="2400">
          <a:solidFill>
            <a:srgbClr val="404140"/>
          </a:solidFill>
          <a:latin typeface="+mn-lt"/>
          <a:ea typeface="+mn-ea"/>
          <a:cs typeface="+mn-cs"/>
          <a:sym typeface="Gill Sans Light"/>
        </a:defRPr>
      </a:lvl5pPr>
      <a:lvl6pPr marL="457200" algn="ctr" rtl="0" fontAlgn="base">
        <a:spcBef>
          <a:spcPct val="0"/>
        </a:spcBef>
        <a:spcAft>
          <a:spcPct val="0"/>
        </a:spcAft>
        <a:defRPr sz="2400">
          <a:solidFill>
            <a:srgbClr val="404140"/>
          </a:solidFill>
          <a:latin typeface="+mn-lt"/>
          <a:ea typeface="+mn-ea"/>
          <a:cs typeface="+mn-cs"/>
          <a:sym typeface="Gill Sans Light" charset="0"/>
        </a:defRPr>
      </a:lvl6pPr>
      <a:lvl7pPr marL="914400" algn="ctr" rtl="0" fontAlgn="base">
        <a:spcBef>
          <a:spcPct val="0"/>
        </a:spcBef>
        <a:spcAft>
          <a:spcPct val="0"/>
        </a:spcAft>
        <a:defRPr sz="2400">
          <a:solidFill>
            <a:srgbClr val="404140"/>
          </a:solidFill>
          <a:latin typeface="+mn-lt"/>
          <a:ea typeface="+mn-ea"/>
          <a:cs typeface="+mn-cs"/>
          <a:sym typeface="Gill Sans Light" charset="0"/>
        </a:defRPr>
      </a:lvl7pPr>
      <a:lvl8pPr marL="1371600" algn="ctr" rtl="0" fontAlgn="base">
        <a:spcBef>
          <a:spcPct val="0"/>
        </a:spcBef>
        <a:spcAft>
          <a:spcPct val="0"/>
        </a:spcAft>
        <a:defRPr sz="2400">
          <a:solidFill>
            <a:srgbClr val="404140"/>
          </a:solidFill>
          <a:latin typeface="+mn-lt"/>
          <a:ea typeface="+mn-ea"/>
          <a:cs typeface="+mn-cs"/>
          <a:sym typeface="Gill Sans Light" charset="0"/>
        </a:defRPr>
      </a:lvl8pPr>
      <a:lvl9pPr marL="1828800" algn="ctr" rtl="0" fontAlgn="base">
        <a:spcBef>
          <a:spcPct val="0"/>
        </a:spcBef>
        <a:spcAft>
          <a:spcPct val="0"/>
        </a:spcAft>
        <a:defRPr sz="2400">
          <a:solidFill>
            <a:srgbClr val="404140"/>
          </a:solidFill>
          <a:latin typeface="+mn-lt"/>
          <a:ea typeface="+mn-ea"/>
          <a:cs typeface="+mn-cs"/>
          <a:sym typeface="Gill Sans Light" charset="0"/>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197634" name="Rectangle 1"/>
          <p:cNvSpPr>
            <a:spLocks noGrp="1" noChangeArrowheads="1"/>
          </p:cNvSpPr>
          <p:nvPr>
            <p:ph type="title"/>
          </p:nvPr>
        </p:nvSpPr>
        <p:spPr bwMode="auto">
          <a:xfrm>
            <a:off x="254000" y="977900"/>
            <a:ext cx="4152900" cy="2463800"/>
          </a:xfrm>
          <a:prstGeom prst="rect">
            <a:avLst/>
          </a:prstGeom>
          <a:noFill/>
          <a:ln w="12700">
            <a:noFill/>
            <a:miter lim="800000"/>
            <a:headEnd/>
            <a:tailEnd/>
          </a:ln>
        </p:spPr>
        <p:txBody>
          <a:bodyPr vert="horz" wrap="square" lIns="38100" tIns="38100" rIns="38100" bIns="38100" numCol="1" anchor="b" anchorCtr="0" compatLnSpc="1">
            <a:prstTxWarp prst="textNoShape">
              <a:avLst/>
            </a:prstTxWarp>
          </a:bodyPr>
          <a:lstStyle/>
          <a:p>
            <a:pPr lvl="0"/>
            <a:r>
              <a:rPr lang="en-US" altLang="ja-JP" smtClean="0">
                <a:sym typeface="Gill Sans Light"/>
              </a:rPr>
              <a:t>Click to edit Master title style</a:t>
            </a:r>
          </a:p>
        </p:txBody>
      </p:sp>
      <p:sp>
        <p:nvSpPr>
          <p:cNvPr id="197635" name="Rectangle 2"/>
          <p:cNvSpPr>
            <a:spLocks noGrp="1" noChangeArrowheads="1"/>
          </p:cNvSpPr>
          <p:nvPr>
            <p:ph type="body" idx="1"/>
          </p:nvPr>
        </p:nvSpPr>
        <p:spPr bwMode="auto">
          <a:xfrm>
            <a:off x="254000" y="3429000"/>
            <a:ext cx="4152900" cy="914400"/>
          </a:xfrm>
          <a:prstGeom prst="rect">
            <a:avLst/>
          </a:prstGeom>
          <a:noFill/>
          <a:ln w="12700">
            <a:noFill/>
            <a:miter lim="800000"/>
            <a:headEnd/>
            <a:tailEnd/>
          </a:ln>
        </p:spPr>
        <p:txBody>
          <a:bodyPr vert="horz" wrap="square" lIns="38100" tIns="38100" rIns="38100" bIns="38100" numCol="1" anchor="t" anchorCtr="0" compatLnSpc="1">
            <a:prstTxWarp prst="textNoShape">
              <a:avLst/>
            </a:prstTxWarp>
          </a:bodyPr>
          <a:lstStyle/>
          <a:p>
            <a:pPr lvl="0"/>
            <a:r>
              <a:rPr lang="en-US" altLang="ja-JP" smtClean="0">
                <a:sym typeface="Gill Sans Light"/>
              </a:rPr>
              <a:t>Click to edit Master text styles</a:t>
            </a:r>
          </a:p>
          <a:p>
            <a:pPr lvl="1"/>
            <a:r>
              <a:rPr lang="en-US" altLang="ja-JP" smtClean="0">
                <a:sym typeface="Gill Sans Light"/>
              </a:rPr>
              <a:t>Second level</a:t>
            </a:r>
          </a:p>
          <a:p>
            <a:pPr lvl="2"/>
            <a:r>
              <a:rPr lang="en-US" altLang="ja-JP" smtClean="0">
                <a:sym typeface="Gill Sans Light"/>
              </a:rPr>
              <a:t>Third level</a:t>
            </a:r>
          </a:p>
          <a:p>
            <a:pPr lvl="3"/>
            <a:r>
              <a:rPr lang="en-US" altLang="ja-JP" smtClean="0">
                <a:sym typeface="Gill Sans Light"/>
              </a:rPr>
              <a:t>Fourth level</a:t>
            </a:r>
          </a:p>
          <a:p>
            <a:pPr lvl="4"/>
            <a:r>
              <a:rPr lang="en-US" altLang="ja-JP" smtClean="0">
                <a:sym typeface="Gill Sans Light"/>
              </a:rPr>
              <a:t>Fifth level</a:t>
            </a:r>
          </a:p>
        </p:txBody>
      </p:sp>
    </p:spTree>
  </p:cSld>
  <p:clrMap bg1="lt1" tx1="dk1" bg2="lt2" tx2="dk2" accent1="accent1" accent2="accent2" accent3="accent3" accent4="accent4" accent5="accent5" accent6="accent6" hlink="hlink" folHlink="folHlink"/>
  <p:sldLayoutIdLst>
    <p:sldLayoutId id="2147483857" r:id="rId1"/>
    <p:sldLayoutId id="2147483858" r:id="rId2"/>
    <p:sldLayoutId id="2147483859" r:id="rId3"/>
    <p:sldLayoutId id="2147483860" r:id="rId4"/>
    <p:sldLayoutId id="2147483861" r:id="rId5"/>
    <p:sldLayoutId id="2147483862" r:id="rId6"/>
    <p:sldLayoutId id="2147483863" r:id="rId7"/>
    <p:sldLayoutId id="2147483864" r:id="rId8"/>
    <p:sldLayoutId id="2147483865" r:id="rId9"/>
    <p:sldLayoutId id="2147483866" r:id="rId10"/>
    <p:sldLayoutId id="2147483867" r:id="rId11"/>
  </p:sldLayoutIdLst>
  <p:transition/>
  <p:hf hdr="0" ftr="0" dt="0"/>
  <p:txStyles>
    <p:titleStyle>
      <a:lvl1pPr algn="ctr" rtl="0" eaLnBrk="0" fontAlgn="base" hangingPunct="0">
        <a:spcBef>
          <a:spcPct val="0"/>
        </a:spcBef>
        <a:spcAft>
          <a:spcPct val="0"/>
        </a:spcAft>
        <a:defRPr sz="5000">
          <a:solidFill>
            <a:schemeClr val="tx1"/>
          </a:solidFill>
          <a:latin typeface="+mj-lt"/>
          <a:ea typeface="+mj-ea"/>
          <a:cs typeface="+mj-cs"/>
          <a:sym typeface="Gill Sans Light"/>
        </a:defRPr>
      </a:lvl1pPr>
      <a:lvl2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2pPr>
      <a:lvl3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3pPr>
      <a:lvl4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4pPr>
      <a:lvl5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5pPr>
      <a:lvl6pPr marL="4572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6pPr>
      <a:lvl7pPr marL="9144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7pPr>
      <a:lvl8pPr marL="13716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8pPr>
      <a:lvl9pPr marL="18288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9pPr>
    </p:titleStyle>
    <p:bodyStyle>
      <a:lvl1pPr algn="ctr" rtl="0" eaLnBrk="0" fontAlgn="base" hangingPunct="0">
        <a:spcBef>
          <a:spcPct val="0"/>
        </a:spcBef>
        <a:spcAft>
          <a:spcPct val="0"/>
        </a:spcAft>
        <a:defRPr sz="2400">
          <a:solidFill>
            <a:schemeClr val="tx1"/>
          </a:solidFill>
          <a:latin typeface="+mn-lt"/>
          <a:ea typeface="+mn-ea"/>
          <a:cs typeface="+mn-cs"/>
          <a:sym typeface="Gill Sans Light"/>
        </a:defRPr>
      </a:lvl1pPr>
      <a:lvl2pPr algn="ctr" rtl="0" eaLnBrk="0" fontAlgn="base" hangingPunct="0">
        <a:spcBef>
          <a:spcPct val="0"/>
        </a:spcBef>
        <a:spcAft>
          <a:spcPct val="0"/>
        </a:spcAft>
        <a:defRPr sz="2400">
          <a:solidFill>
            <a:schemeClr val="tx1"/>
          </a:solidFill>
          <a:latin typeface="+mn-lt"/>
          <a:ea typeface="+mn-ea"/>
          <a:cs typeface="+mn-cs"/>
          <a:sym typeface="Gill Sans Light"/>
        </a:defRPr>
      </a:lvl2pPr>
      <a:lvl3pPr algn="ctr" rtl="0" eaLnBrk="0" fontAlgn="base" hangingPunct="0">
        <a:spcBef>
          <a:spcPct val="0"/>
        </a:spcBef>
        <a:spcAft>
          <a:spcPct val="0"/>
        </a:spcAft>
        <a:defRPr sz="2400">
          <a:solidFill>
            <a:schemeClr val="tx1"/>
          </a:solidFill>
          <a:latin typeface="+mn-lt"/>
          <a:ea typeface="+mn-ea"/>
          <a:cs typeface="+mn-cs"/>
          <a:sym typeface="Gill Sans Light"/>
        </a:defRPr>
      </a:lvl3pPr>
      <a:lvl4pPr algn="ctr" rtl="0" eaLnBrk="0" fontAlgn="base" hangingPunct="0">
        <a:spcBef>
          <a:spcPct val="0"/>
        </a:spcBef>
        <a:spcAft>
          <a:spcPct val="0"/>
        </a:spcAft>
        <a:defRPr sz="2400">
          <a:solidFill>
            <a:schemeClr val="tx1"/>
          </a:solidFill>
          <a:latin typeface="+mn-lt"/>
          <a:ea typeface="+mn-ea"/>
          <a:cs typeface="+mn-cs"/>
          <a:sym typeface="Gill Sans Light"/>
        </a:defRPr>
      </a:lvl4pPr>
      <a:lvl5pPr algn="ctr" rtl="0" eaLnBrk="0" fontAlgn="base" hangingPunct="0">
        <a:spcBef>
          <a:spcPct val="0"/>
        </a:spcBef>
        <a:spcAft>
          <a:spcPct val="0"/>
        </a:spcAft>
        <a:defRPr sz="2400">
          <a:solidFill>
            <a:schemeClr val="tx1"/>
          </a:solidFill>
          <a:latin typeface="+mn-lt"/>
          <a:ea typeface="+mn-ea"/>
          <a:cs typeface="+mn-cs"/>
          <a:sym typeface="Gill Sans Light"/>
        </a:defRPr>
      </a:lvl5pPr>
      <a:lvl6pPr marL="457200" algn="ctr" rtl="0" fontAlgn="base">
        <a:spcBef>
          <a:spcPct val="0"/>
        </a:spcBef>
        <a:spcAft>
          <a:spcPct val="0"/>
        </a:spcAft>
        <a:defRPr sz="2400">
          <a:solidFill>
            <a:schemeClr val="tx1"/>
          </a:solidFill>
          <a:latin typeface="+mn-lt"/>
          <a:ea typeface="+mn-ea"/>
          <a:cs typeface="+mn-cs"/>
          <a:sym typeface="Gill Sans Light" charset="0"/>
        </a:defRPr>
      </a:lvl6pPr>
      <a:lvl7pPr marL="914400" algn="ctr" rtl="0" fontAlgn="base">
        <a:spcBef>
          <a:spcPct val="0"/>
        </a:spcBef>
        <a:spcAft>
          <a:spcPct val="0"/>
        </a:spcAft>
        <a:defRPr sz="2400">
          <a:solidFill>
            <a:schemeClr val="tx1"/>
          </a:solidFill>
          <a:latin typeface="+mn-lt"/>
          <a:ea typeface="+mn-ea"/>
          <a:cs typeface="+mn-cs"/>
          <a:sym typeface="Gill Sans Light" charset="0"/>
        </a:defRPr>
      </a:lvl7pPr>
      <a:lvl8pPr marL="1371600" algn="ctr" rtl="0" fontAlgn="base">
        <a:spcBef>
          <a:spcPct val="0"/>
        </a:spcBef>
        <a:spcAft>
          <a:spcPct val="0"/>
        </a:spcAft>
        <a:defRPr sz="2400">
          <a:solidFill>
            <a:schemeClr val="tx1"/>
          </a:solidFill>
          <a:latin typeface="+mn-lt"/>
          <a:ea typeface="+mn-ea"/>
          <a:cs typeface="+mn-cs"/>
          <a:sym typeface="Gill Sans Light" charset="0"/>
        </a:defRPr>
      </a:lvl8pPr>
      <a:lvl9pPr marL="1828800" algn="ctr" rtl="0" fontAlgn="base">
        <a:spcBef>
          <a:spcPct val="0"/>
        </a:spcBef>
        <a:spcAft>
          <a:spcPct val="0"/>
        </a:spcAft>
        <a:defRPr sz="2400">
          <a:solidFill>
            <a:schemeClr val="tx1"/>
          </a:solidFill>
          <a:latin typeface="+mn-lt"/>
          <a:ea typeface="+mn-ea"/>
          <a:cs typeface="+mn-cs"/>
          <a:sym typeface="Gill Sans Light" charset="0"/>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209922" name="Rectangle 1"/>
          <p:cNvSpPr>
            <a:spLocks noGrp="1" noChangeArrowheads="1"/>
          </p:cNvSpPr>
          <p:nvPr>
            <p:ph type="title"/>
          </p:nvPr>
        </p:nvSpPr>
        <p:spPr bwMode="auto">
          <a:xfrm>
            <a:off x="254000" y="2260600"/>
            <a:ext cx="8636000" cy="2324100"/>
          </a:xfrm>
          <a:prstGeom prst="rect">
            <a:avLst/>
          </a:prstGeom>
          <a:noFill/>
          <a:ln w="12700">
            <a:noFill/>
            <a:miter lim="800000"/>
            <a:headEnd/>
            <a:tailEnd/>
          </a:ln>
        </p:spPr>
        <p:txBody>
          <a:bodyPr vert="horz" wrap="square" lIns="38100" tIns="38100" rIns="38100" bIns="38100" numCol="1" anchor="ctr" anchorCtr="0" compatLnSpc="1">
            <a:prstTxWarp prst="textNoShape">
              <a:avLst/>
            </a:prstTxWarp>
          </a:bodyPr>
          <a:lstStyle/>
          <a:p>
            <a:pPr lvl="0"/>
            <a:r>
              <a:rPr lang="en-US" altLang="ja-JP" smtClean="0">
                <a:sym typeface="Gill Sans Light"/>
              </a:rPr>
              <a:t>Click to edit Master title style</a:t>
            </a:r>
          </a:p>
        </p:txBody>
      </p:sp>
    </p:spTree>
  </p:cSld>
  <p:clrMap bg1="lt1" tx1="dk1" bg2="lt2" tx2="dk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 id="2147483874" r:id="rId7"/>
    <p:sldLayoutId id="2147483875" r:id="rId8"/>
    <p:sldLayoutId id="2147483876" r:id="rId9"/>
    <p:sldLayoutId id="2147483877" r:id="rId10"/>
    <p:sldLayoutId id="2147483878" r:id="rId11"/>
  </p:sldLayoutIdLst>
  <p:transition/>
  <p:hf hdr="0" ftr="0" dt="0"/>
  <p:txStyles>
    <p:titleStyle>
      <a:lvl1pPr algn="ctr" rtl="0" eaLnBrk="0" fontAlgn="base" hangingPunct="0">
        <a:spcBef>
          <a:spcPct val="0"/>
        </a:spcBef>
        <a:spcAft>
          <a:spcPct val="0"/>
        </a:spcAft>
        <a:defRPr sz="5000">
          <a:solidFill>
            <a:schemeClr val="tx1"/>
          </a:solidFill>
          <a:latin typeface="+mj-lt"/>
          <a:ea typeface="+mj-ea"/>
          <a:cs typeface="+mj-cs"/>
          <a:sym typeface="Gill Sans Light"/>
        </a:defRPr>
      </a:lvl1pPr>
      <a:lvl2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2pPr>
      <a:lvl3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3pPr>
      <a:lvl4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4pPr>
      <a:lvl5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5pPr>
      <a:lvl6pPr marL="4572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6pPr>
      <a:lvl7pPr marL="9144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7pPr>
      <a:lvl8pPr marL="13716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8pPr>
      <a:lvl9pPr marL="18288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9pPr>
    </p:titleStyle>
    <p:bodyStyle>
      <a:lvl1pPr algn="ctr" rtl="0" eaLnBrk="0" fontAlgn="base" hangingPunct="0">
        <a:spcBef>
          <a:spcPct val="0"/>
        </a:spcBef>
        <a:spcAft>
          <a:spcPct val="0"/>
        </a:spcAft>
        <a:defRPr sz="2400">
          <a:solidFill>
            <a:schemeClr val="tx1"/>
          </a:solidFill>
          <a:latin typeface="+mn-lt"/>
          <a:ea typeface="+mn-ea"/>
          <a:cs typeface="+mn-cs"/>
          <a:sym typeface="Gill Sans Light"/>
        </a:defRPr>
      </a:lvl1pPr>
      <a:lvl2pPr algn="ctr" rtl="0" eaLnBrk="0" fontAlgn="base" hangingPunct="0">
        <a:spcBef>
          <a:spcPct val="0"/>
        </a:spcBef>
        <a:spcAft>
          <a:spcPct val="0"/>
        </a:spcAft>
        <a:defRPr sz="2400">
          <a:solidFill>
            <a:schemeClr val="tx1"/>
          </a:solidFill>
          <a:latin typeface="+mn-lt"/>
          <a:ea typeface="+mn-ea"/>
          <a:cs typeface="+mn-cs"/>
          <a:sym typeface="Gill Sans Light"/>
        </a:defRPr>
      </a:lvl2pPr>
      <a:lvl3pPr algn="ctr" rtl="0" eaLnBrk="0" fontAlgn="base" hangingPunct="0">
        <a:spcBef>
          <a:spcPct val="0"/>
        </a:spcBef>
        <a:spcAft>
          <a:spcPct val="0"/>
        </a:spcAft>
        <a:defRPr sz="2400">
          <a:solidFill>
            <a:schemeClr val="tx1"/>
          </a:solidFill>
          <a:latin typeface="+mn-lt"/>
          <a:ea typeface="+mn-ea"/>
          <a:cs typeface="+mn-cs"/>
          <a:sym typeface="Gill Sans Light"/>
        </a:defRPr>
      </a:lvl3pPr>
      <a:lvl4pPr algn="ctr" rtl="0" eaLnBrk="0" fontAlgn="base" hangingPunct="0">
        <a:spcBef>
          <a:spcPct val="0"/>
        </a:spcBef>
        <a:spcAft>
          <a:spcPct val="0"/>
        </a:spcAft>
        <a:defRPr sz="2400">
          <a:solidFill>
            <a:schemeClr val="tx1"/>
          </a:solidFill>
          <a:latin typeface="+mn-lt"/>
          <a:ea typeface="+mn-ea"/>
          <a:cs typeface="+mn-cs"/>
          <a:sym typeface="Gill Sans Light"/>
        </a:defRPr>
      </a:lvl4pPr>
      <a:lvl5pPr algn="ctr" rtl="0" eaLnBrk="0" fontAlgn="base" hangingPunct="0">
        <a:spcBef>
          <a:spcPct val="0"/>
        </a:spcBef>
        <a:spcAft>
          <a:spcPct val="0"/>
        </a:spcAft>
        <a:defRPr sz="2400">
          <a:solidFill>
            <a:schemeClr val="tx1"/>
          </a:solidFill>
          <a:latin typeface="+mn-lt"/>
          <a:ea typeface="+mn-ea"/>
          <a:cs typeface="+mn-cs"/>
          <a:sym typeface="Gill Sans Light"/>
        </a:defRPr>
      </a:lvl5pPr>
      <a:lvl6pPr marL="457200" algn="ctr" rtl="0" fontAlgn="base">
        <a:spcBef>
          <a:spcPct val="0"/>
        </a:spcBef>
        <a:spcAft>
          <a:spcPct val="0"/>
        </a:spcAft>
        <a:defRPr sz="2400">
          <a:solidFill>
            <a:schemeClr val="tx1"/>
          </a:solidFill>
          <a:latin typeface="+mn-lt"/>
          <a:ea typeface="+mn-ea"/>
          <a:cs typeface="+mn-cs"/>
          <a:sym typeface="Gill Sans Light" charset="0"/>
        </a:defRPr>
      </a:lvl6pPr>
      <a:lvl7pPr marL="914400" algn="ctr" rtl="0" fontAlgn="base">
        <a:spcBef>
          <a:spcPct val="0"/>
        </a:spcBef>
        <a:spcAft>
          <a:spcPct val="0"/>
        </a:spcAft>
        <a:defRPr sz="2400">
          <a:solidFill>
            <a:schemeClr val="tx1"/>
          </a:solidFill>
          <a:latin typeface="+mn-lt"/>
          <a:ea typeface="+mn-ea"/>
          <a:cs typeface="+mn-cs"/>
          <a:sym typeface="Gill Sans Light" charset="0"/>
        </a:defRPr>
      </a:lvl7pPr>
      <a:lvl8pPr marL="1371600" algn="ctr" rtl="0" fontAlgn="base">
        <a:spcBef>
          <a:spcPct val="0"/>
        </a:spcBef>
        <a:spcAft>
          <a:spcPct val="0"/>
        </a:spcAft>
        <a:defRPr sz="2400">
          <a:solidFill>
            <a:schemeClr val="tx1"/>
          </a:solidFill>
          <a:latin typeface="+mn-lt"/>
          <a:ea typeface="+mn-ea"/>
          <a:cs typeface="+mn-cs"/>
          <a:sym typeface="Gill Sans Light" charset="0"/>
        </a:defRPr>
      </a:lvl8pPr>
      <a:lvl9pPr marL="1828800" algn="ctr" rtl="0" fontAlgn="base">
        <a:spcBef>
          <a:spcPct val="0"/>
        </a:spcBef>
        <a:spcAft>
          <a:spcPct val="0"/>
        </a:spcAft>
        <a:defRPr sz="2400">
          <a:solidFill>
            <a:schemeClr val="tx1"/>
          </a:solidFill>
          <a:latin typeface="+mn-lt"/>
          <a:ea typeface="+mn-ea"/>
          <a:cs typeface="+mn-cs"/>
          <a:sym typeface="Gill Sans Light" charset="0"/>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222210" name="Rectangle 1"/>
          <p:cNvSpPr>
            <a:spLocks noGrp="1" noChangeArrowheads="1"/>
          </p:cNvSpPr>
          <p:nvPr>
            <p:ph type="title"/>
          </p:nvPr>
        </p:nvSpPr>
        <p:spPr bwMode="auto">
          <a:xfrm>
            <a:off x="254000" y="5207000"/>
            <a:ext cx="8636000" cy="901700"/>
          </a:xfrm>
          <a:prstGeom prst="rect">
            <a:avLst/>
          </a:prstGeom>
          <a:noFill/>
          <a:ln w="12700">
            <a:noFill/>
            <a:miter lim="800000"/>
            <a:headEnd/>
            <a:tailEnd/>
          </a:ln>
        </p:spPr>
        <p:txBody>
          <a:bodyPr vert="horz" wrap="square" lIns="38100" tIns="38100" rIns="38100" bIns="38100" numCol="1" anchor="ctr" anchorCtr="0" compatLnSpc="1">
            <a:prstTxWarp prst="textNoShape">
              <a:avLst/>
            </a:prstTxWarp>
          </a:bodyPr>
          <a:lstStyle/>
          <a:p>
            <a:pPr lvl="0"/>
            <a:r>
              <a:rPr lang="en-US" altLang="ja-JP" smtClean="0">
                <a:sym typeface="Gill Sans Light"/>
              </a:rPr>
              <a:t>Click to edit Master title style</a:t>
            </a:r>
          </a:p>
        </p:txBody>
      </p:sp>
    </p:spTree>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 id="2147483882" r:id="rId4"/>
    <p:sldLayoutId id="2147483883" r:id="rId5"/>
    <p:sldLayoutId id="2147483884" r:id="rId6"/>
    <p:sldLayoutId id="2147483885" r:id="rId7"/>
    <p:sldLayoutId id="2147483886" r:id="rId8"/>
    <p:sldLayoutId id="2147483887" r:id="rId9"/>
    <p:sldLayoutId id="2147483888" r:id="rId10"/>
    <p:sldLayoutId id="2147483889" r:id="rId11"/>
  </p:sldLayoutIdLst>
  <p:transition/>
  <p:hf hdr="0" ftr="0" dt="0"/>
  <p:txStyles>
    <p:titleStyle>
      <a:lvl1pPr algn="ctr" rtl="0" eaLnBrk="0" fontAlgn="base" hangingPunct="0">
        <a:spcBef>
          <a:spcPct val="0"/>
        </a:spcBef>
        <a:spcAft>
          <a:spcPct val="0"/>
        </a:spcAft>
        <a:defRPr sz="5000">
          <a:solidFill>
            <a:schemeClr val="tx1"/>
          </a:solidFill>
          <a:latin typeface="+mj-lt"/>
          <a:ea typeface="+mj-ea"/>
          <a:cs typeface="+mj-cs"/>
          <a:sym typeface="Gill Sans Light"/>
        </a:defRPr>
      </a:lvl1pPr>
      <a:lvl2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2pPr>
      <a:lvl3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3pPr>
      <a:lvl4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4pPr>
      <a:lvl5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5pPr>
      <a:lvl6pPr marL="4572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6pPr>
      <a:lvl7pPr marL="9144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7pPr>
      <a:lvl8pPr marL="13716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8pPr>
      <a:lvl9pPr marL="18288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9pPr>
    </p:titleStyle>
    <p:bodyStyle>
      <a:lvl1pPr algn="ctr" rtl="0" eaLnBrk="0" fontAlgn="base" hangingPunct="0">
        <a:spcBef>
          <a:spcPct val="0"/>
        </a:spcBef>
        <a:spcAft>
          <a:spcPct val="0"/>
        </a:spcAft>
        <a:defRPr sz="2400">
          <a:solidFill>
            <a:schemeClr val="tx1"/>
          </a:solidFill>
          <a:latin typeface="+mn-lt"/>
          <a:ea typeface="+mn-ea"/>
          <a:cs typeface="+mn-cs"/>
          <a:sym typeface="Gill Sans Light"/>
        </a:defRPr>
      </a:lvl1pPr>
      <a:lvl2pPr algn="ctr" rtl="0" eaLnBrk="0" fontAlgn="base" hangingPunct="0">
        <a:spcBef>
          <a:spcPct val="0"/>
        </a:spcBef>
        <a:spcAft>
          <a:spcPct val="0"/>
        </a:spcAft>
        <a:defRPr sz="2400">
          <a:solidFill>
            <a:schemeClr val="tx1"/>
          </a:solidFill>
          <a:latin typeface="+mn-lt"/>
          <a:ea typeface="+mn-ea"/>
          <a:cs typeface="+mn-cs"/>
          <a:sym typeface="Gill Sans Light"/>
        </a:defRPr>
      </a:lvl2pPr>
      <a:lvl3pPr algn="ctr" rtl="0" eaLnBrk="0" fontAlgn="base" hangingPunct="0">
        <a:spcBef>
          <a:spcPct val="0"/>
        </a:spcBef>
        <a:spcAft>
          <a:spcPct val="0"/>
        </a:spcAft>
        <a:defRPr sz="2400">
          <a:solidFill>
            <a:schemeClr val="tx1"/>
          </a:solidFill>
          <a:latin typeface="+mn-lt"/>
          <a:ea typeface="+mn-ea"/>
          <a:cs typeface="+mn-cs"/>
          <a:sym typeface="Gill Sans Light"/>
        </a:defRPr>
      </a:lvl3pPr>
      <a:lvl4pPr algn="ctr" rtl="0" eaLnBrk="0" fontAlgn="base" hangingPunct="0">
        <a:spcBef>
          <a:spcPct val="0"/>
        </a:spcBef>
        <a:spcAft>
          <a:spcPct val="0"/>
        </a:spcAft>
        <a:defRPr sz="2400">
          <a:solidFill>
            <a:schemeClr val="tx1"/>
          </a:solidFill>
          <a:latin typeface="+mn-lt"/>
          <a:ea typeface="+mn-ea"/>
          <a:cs typeface="+mn-cs"/>
          <a:sym typeface="Gill Sans Light"/>
        </a:defRPr>
      </a:lvl4pPr>
      <a:lvl5pPr algn="ctr" rtl="0" eaLnBrk="0" fontAlgn="base" hangingPunct="0">
        <a:spcBef>
          <a:spcPct val="0"/>
        </a:spcBef>
        <a:spcAft>
          <a:spcPct val="0"/>
        </a:spcAft>
        <a:defRPr sz="2400">
          <a:solidFill>
            <a:schemeClr val="tx1"/>
          </a:solidFill>
          <a:latin typeface="+mn-lt"/>
          <a:ea typeface="+mn-ea"/>
          <a:cs typeface="+mn-cs"/>
          <a:sym typeface="Gill Sans Light"/>
        </a:defRPr>
      </a:lvl5pPr>
      <a:lvl6pPr marL="457200" algn="ctr" rtl="0" fontAlgn="base">
        <a:spcBef>
          <a:spcPct val="0"/>
        </a:spcBef>
        <a:spcAft>
          <a:spcPct val="0"/>
        </a:spcAft>
        <a:defRPr sz="2400">
          <a:solidFill>
            <a:schemeClr val="tx1"/>
          </a:solidFill>
          <a:latin typeface="+mn-lt"/>
          <a:ea typeface="+mn-ea"/>
          <a:cs typeface="+mn-cs"/>
          <a:sym typeface="Gill Sans Light" charset="0"/>
        </a:defRPr>
      </a:lvl6pPr>
      <a:lvl7pPr marL="914400" algn="ctr" rtl="0" fontAlgn="base">
        <a:spcBef>
          <a:spcPct val="0"/>
        </a:spcBef>
        <a:spcAft>
          <a:spcPct val="0"/>
        </a:spcAft>
        <a:defRPr sz="2400">
          <a:solidFill>
            <a:schemeClr val="tx1"/>
          </a:solidFill>
          <a:latin typeface="+mn-lt"/>
          <a:ea typeface="+mn-ea"/>
          <a:cs typeface="+mn-cs"/>
          <a:sym typeface="Gill Sans Light" charset="0"/>
        </a:defRPr>
      </a:lvl7pPr>
      <a:lvl8pPr marL="1371600" algn="ctr" rtl="0" fontAlgn="base">
        <a:spcBef>
          <a:spcPct val="0"/>
        </a:spcBef>
        <a:spcAft>
          <a:spcPct val="0"/>
        </a:spcAft>
        <a:defRPr sz="2400">
          <a:solidFill>
            <a:schemeClr val="tx1"/>
          </a:solidFill>
          <a:latin typeface="+mn-lt"/>
          <a:ea typeface="+mn-ea"/>
          <a:cs typeface="+mn-cs"/>
          <a:sym typeface="Gill Sans Light" charset="0"/>
        </a:defRPr>
      </a:lvl8pPr>
      <a:lvl9pPr marL="1828800" algn="ctr" rtl="0" fontAlgn="base">
        <a:spcBef>
          <a:spcPct val="0"/>
        </a:spcBef>
        <a:spcAft>
          <a:spcPct val="0"/>
        </a:spcAft>
        <a:defRPr sz="2400">
          <a:solidFill>
            <a:schemeClr val="tx1"/>
          </a:solidFill>
          <a:latin typeface="+mn-lt"/>
          <a:ea typeface="+mn-ea"/>
          <a:cs typeface="+mn-cs"/>
          <a:sym typeface="Gill Sans Light" charset="0"/>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234498" name="Rectangle 1"/>
          <p:cNvSpPr>
            <a:spLocks noGrp="1" noChangeArrowheads="1"/>
          </p:cNvSpPr>
          <p:nvPr>
            <p:ph type="title"/>
          </p:nvPr>
        </p:nvSpPr>
        <p:spPr bwMode="auto">
          <a:xfrm>
            <a:off x="254000" y="5207000"/>
            <a:ext cx="8636000" cy="901700"/>
          </a:xfrm>
          <a:prstGeom prst="rect">
            <a:avLst/>
          </a:prstGeom>
          <a:noFill/>
          <a:ln w="12700">
            <a:noFill/>
            <a:miter lim="800000"/>
            <a:headEnd/>
            <a:tailEnd/>
          </a:ln>
        </p:spPr>
        <p:txBody>
          <a:bodyPr vert="horz" wrap="square" lIns="38100" tIns="38100" rIns="38100" bIns="38100" numCol="1" anchor="ctr" anchorCtr="0" compatLnSpc="1">
            <a:prstTxWarp prst="textNoShape">
              <a:avLst/>
            </a:prstTxWarp>
          </a:bodyPr>
          <a:lstStyle/>
          <a:p>
            <a:pPr lvl="0"/>
            <a:r>
              <a:rPr lang="en-US" altLang="ja-JP" smtClean="0">
                <a:sym typeface="Gill Sans Light"/>
              </a:rPr>
              <a:t>Click to edit Master title style</a:t>
            </a:r>
          </a:p>
        </p:txBody>
      </p:sp>
    </p:spTree>
  </p:cSld>
  <p:clrMap bg1="lt1" tx1="dk1" bg2="lt2" tx2="dk2" accent1="accent1" accent2="accent2" accent3="accent3" accent4="accent4" accent5="accent5" accent6="accent6" hlink="hlink" folHlink="folHlink"/>
  <p:sldLayoutIdLst>
    <p:sldLayoutId id="2147483890" r:id="rId1"/>
    <p:sldLayoutId id="2147483891" r:id="rId2"/>
    <p:sldLayoutId id="2147483892" r:id="rId3"/>
    <p:sldLayoutId id="2147483893" r:id="rId4"/>
    <p:sldLayoutId id="2147483894" r:id="rId5"/>
    <p:sldLayoutId id="2147483895" r:id="rId6"/>
    <p:sldLayoutId id="2147483896" r:id="rId7"/>
    <p:sldLayoutId id="2147483897" r:id="rId8"/>
    <p:sldLayoutId id="2147483898" r:id="rId9"/>
    <p:sldLayoutId id="2147483899" r:id="rId10"/>
    <p:sldLayoutId id="2147483900" r:id="rId11"/>
  </p:sldLayoutIdLst>
  <p:transition/>
  <p:hf hdr="0" ftr="0" dt="0"/>
  <p:txStyles>
    <p:titleStyle>
      <a:lvl1pPr algn="ctr" rtl="0" eaLnBrk="0" fontAlgn="base" hangingPunct="0">
        <a:spcBef>
          <a:spcPct val="0"/>
        </a:spcBef>
        <a:spcAft>
          <a:spcPct val="0"/>
        </a:spcAft>
        <a:defRPr sz="5000">
          <a:solidFill>
            <a:schemeClr val="tx1"/>
          </a:solidFill>
          <a:latin typeface="+mj-lt"/>
          <a:ea typeface="+mj-ea"/>
          <a:cs typeface="+mj-cs"/>
          <a:sym typeface="Gill Sans Light"/>
        </a:defRPr>
      </a:lvl1pPr>
      <a:lvl2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2pPr>
      <a:lvl3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3pPr>
      <a:lvl4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4pPr>
      <a:lvl5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5pPr>
      <a:lvl6pPr marL="4572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6pPr>
      <a:lvl7pPr marL="9144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7pPr>
      <a:lvl8pPr marL="13716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8pPr>
      <a:lvl9pPr marL="18288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9pPr>
    </p:titleStyle>
    <p:bodyStyle>
      <a:lvl1pPr algn="ctr" rtl="0" eaLnBrk="0" fontAlgn="base" hangingPunct="0">
        <a:spcBef>
          <a:spcPct val="0"/>
        </a:spcBef>
        <a:spcAft>
          <a:spcPct val="0"/>
        </a:spcAft>
        <a:defRPr sz="2400">
          <a:solidFill>
            <a:srgbClr val="191A19"/>
          </a:solidFill>
          <a:latin typeface="+mn-lt"/>
          <a:ea typeface="+mn-ea"/>
          <a:cs typeface="+mn-cs"/>
          <a:sym typeface="Gill Sans Light"/>
        </a:defRPr>
      </a:lvl1pPr>
      <a:lvl2pPr algn="ctr" rtl="0" eaLnBrk="0" fontAlgn="base" hangingPunct="0">
        <a:spcBef>
          <a:spcPct val="0"/>
        </a:spcBef>
        <a:spcAft>
          <a:spcPct val="0"/>
        </a:spcAft>
        <a:defRPr sz="2400">
          <a:solidFill>
            <a:srgbClr val="191A19"/>
          </a:solidFill>
          <a:latin typeface="+mn-lt"/>
          <a:ea typeface="+mn-ea"/>
          <a:cs typeface="+mn-cs"/>
          <a:sym typeface="Gill Sans Light"/>
        </a:defRPr>
      </a:lvl2pPr>
      <a:lvl3pPr algn="ctr" rtl="0" eaLnBrk="0" fontAlgn="base" hangingPunct="0">
        <a:spcBef>
          <a:spcPct val="0"/>
        </a:spcBef>
        <a:spcAft>
          <a:spcPct val="0"/>
        </a:spcAft>
        <a:defRPr sz="2400">
          <a:solidFill>
            <a:srgbClr val="191A19"/>
          </a:solidFill>
          <a:latin typeface="+mn-lt"/>
          <a:ea typeface="+mn-ea"/>
          <a:cs typeface="+mn-cs"/>
          <a:sym typeface="Gill Sans Light"/>
        </a:defRPr>
      </a:lvl3pPr>
      <a:lvl4pPr algn="ctr" rtl="0" eaLnBrk="0" fontAlgn="base" hangingPunct="0">
        <a:spcBef>
          <a:spcPct val="0"/>
        </a:spcBef>
        <a:spcAft>
          <a:spcPct val="0"/>
        </a:spcAft>
        <a:defRPr sz="2400">
          <a:solidFill>
            <a:srgbClr val="191A19"/>
          </a:solidFill>
          <a:latin typeface="+mn-lt"/>
          <a:ea typeface="+mn-ea"/>
          <a:cs typeface="+mn-cs"/>
          <a:sym typeface="Gill Sans Light"/>
        </a:defRPr>
      </a:lvl4pPr>
      <a:lvl5pPr algn="ctr" rtl="0" eaLnBrk="0" fontAlgn="base" hangingPunct="0">
        <a:spcBef>
          <a:spcPct val="0"/>
        </a:spcBef>
        <a:spcAft>
          <a:spcPct val="0"/>
        </a:spcAft>
        <a:defRPr sz="2400">
          <a:solidFill>
            <a:srgbClr val="191A19"/>
          </a:solidFill>
          <a:latin typeface="+mn-lt"/>
          <a:ea typeface="+mn-ea"/>
          <a:cs typeface="+mn-cs"/>
          <a:sym typeface="Gill Sans Light"/>
        </a:defRPr>
      </a:lvl5pPr>
      <a:lvl6pPr marL="457200" algn="ctr" rtl="0" fontAlgn="base">
        <a:spcBef>
          <a:spcPct val="0"/>
        </a:spcBef>
        <a:spcAft>
          <a:spcPct val="0"/>
        </a:spcAft>
        <a:defRPr sz="2400">
          <a:solidFill>
            <a:srgbClr val="191A19"/>
          </a:solidFill>
          <a:latin typeface="+mn-lt"/>
          <a:ea typeface="+mn-ea"/>
          <a:cs typeface="+mn-cs"/>
          <a:sym typeface="Gill Sans Light" charset="0"/>
        </a:defRPr>
      </a:lvl6pPr>
      <a:lvl7pPr marL="914400" algn="ctr" rtl="0" fontAlgn="base">
        <a:spcBef>
          <a:spcPct val="0"/>
        </a:spcBef>
        <a:spcAft>
          <a:spcPct val="0"/>
        </a:spcAft>
        <a:defRPr sz="2400">
          <a:solidFill>
            <a:srgbClr val="191A19"/>
          </a:solidFill>
          <a:latin typeface="+mn-lt"/>
          <a:ea typeface="+mn-ea"/>
          <a:cs typeface="+mn-cs"/>
          <a:sym typeface="Gill Sans Light" charset="0"/>
        </a:defRPr>
      </a:lvl7pPr>
      <a:lvl8pPr marL="1371600" algn="ctr" rtl="0" fontAlgn="base">
        <a:spcBef>
          <a:spcPct val="0"/>
        </a:spcBef>
        <a:spcAft>
          <a:spcPct val="0"/>
        </a:spcAft>
        <a:defRPr sz="2400">
          <a:solidFill>
            <a:srgbClr val="191A19"/>
          </a:solidFill>
          <a:latin typeface="+mn-lt"/>
          <a:ea typeface="+mn-ea"/>
          <a:cs typeface="+mn-cs"/>
          <a:sym typeface="Gill Sans Light" charset="0"/>
        </a:defRPr>
      </a:lvl8pPr>
      <a:lvl9pPr marL="1828800" algn="ctr" rtl="0" fontAlgn="base">
        <a:spcBef>
          <a:spcPct val="0"/>
        </a:spcBef>
        <a:spcAft>
          <a:spcPct val="0"/>
        </a:spcAft>
        <a:defRPr sz="2400">
          <a:solidFill>
            <a:srgbClr val="191A19"/>
          </a:solidFill>
          <a:latin typeface="+mn-lt"/>
          <a:ea typeface="+mn-ea"/>
          <a:cs typeface="+mn-cs"/>
          <a:sym typeface="Gill Sans Light" charset="0"/>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Lst>
  <p:transition/>
  <p:hf hdr="0" ftr="0" dt="0"/>
  <p:txStyles>
    <p:titleStyle>
      <a:lvl1pPr algn="ctr" rtl="0" eaLnBrk="0" fontAlgn="base" hangingPunct="0">
        <a:spcBef>
          <a:spcPct val="0"/>
        </a:spcBef>
        <a:spcAft>
          <a:spcPct val="0"/>
        </a:spcAft>
        <a:defRPr sz="5400">
          <a:solidFill>
            <a:srgbClr val="3F3F3F"/>
          </a:solidFill>
          <a:latin typeface="+mj-lt"/>
          <a:ea typeface="+mj-ea"/>
          <a:cs typeface="+mj-cs"/>
          <a:sym typeface="Herculanum"/>
        </a:defRPr>
      </a:lvl1pPr>
      <a:lvl2pPr algn="ctr" rtl="0" eaLnBrk="0" fontAlgn="base" hangingPunct="0">
        <a:spcBef>
          <a:spcPct val="0"/>
        </a:spcBef>
        <a:spcAft>
          <a:spcPct val="0"/>
        </a:spcAft>
        <a:defRPr sz="5400">
          <a:solidFill>
            <a:srgbClr val="3F3F3F"/>
          </a:solidFill>
          <a:latin typeface="Herculanum" charset="0"/>
          <a:ea typeface="ヒラギノ明朝 ProN W3" charset="0"/>
          <a:cs typeface="ヒラギノ明朝 ProN W3" charset="0"/>
          <a:sym typeface="Herculanum"/>
        </a:defRPr>
      </a:lvl2pPr>
      <a:lvl3pPr algn="ctr" rtl="0" eaLnBrk="0" fontAlgn="base" hangingPunct="0">
        <a:spcBef>
          <a:spcPct val="0"/>
        </a:spcBef>
        <a:spcAft>
          <a:spcPct val="0"/>
        </a:spcAft>
        <a:defRPr sz="5400">
          <a:solidFill>
            <a:srgbClr val="3F3F3F"/>
          </a:solidFill>
          <a:latin typeface="Herculanum" charset="0"/>
          <a:ea typeface="ヒラギノ明朝 ProN W3" charset="0"/>
          <a:cs typeface="ヒラギノ明朝 ProN W3" charset="0"/>
          <a:sym typeface="Herculanum"/>
        </a:defRPr>
      </a:lvl3pPr>
      <a:lvl4pPr algn="ctr" rtl="0" eaLnBrk="0" fontAlgn="base" hangingPunct="0">
        <a:spcBef>
          <a:spcPct val="0"/>
        </a:spcBef>
        <a:spcAft>
          <a:spcPct val="0"/>
        </a:spcAft>
        <a:defRPr sz="5400">
          <a:solidFill>
            <a:srgbClr val="3F3F3F"/>
          </a:solidFill>
          <a:latin typeface="Herculanum" charset="0"/>
          <a:ea typeface="ヒラギノ明朝 ProN W3" charset="0"/>
          <a:cs typeface="ヒラギノ明朝 ProN W3" charset="0"/>
          <a:sym typeface="Herculanum"/>
        </a:defRPr>
      </a:lvl4pPr>
      <a:lvl5pPr algn="ctr" rtl="0" eaLnBrk="0" fontAlgn="base" hangingPunct="0">
        <a:spcBef>
          <a:spcPct val="0"/>
        </a:spcBef>
        <a:spcAft>
          <a:spcPct val="0"/>
        </a:spcAft>
        <a:defRPr sz="5400">
          <a:solidFill>
            <a:srgbClr val="3F3F3F"/>
          </a:solidFill>
          <a:latin typeface="Herculanum" charset="0"/>
          <a:ea typeface="ヒラギノ明朝 ProN W3" charset="0"/>
          <a:cs typeface="ヒラギノ明朝 ProN W3" charset="0"/>
          <a:sym typeface="Herculanum"/>
        </a:defRPr>
      </a:lvl5pPr>
      <a:lvl6pPr marL="457200" algn="ctr" rtl="0" fontAlgn="base">
        <a:spcBef>
          <a:spcPct val="0"/>
        </a:spcBef>
        <a:spcAft>
          <a:spcPct val="0"/>
        </a:spcAft>
        <a:defRPr sz="5400">
          <a:solidFill>
            <a:srgbClr val="3F3F3F"/>
          </a:solidFill>
          <a:latin typeface="Herculanum" charset="0"/>
          <a:ea typeface="ヒラギノ明朝 ProN W3" charset="0"/>
          <a:cs typeface="ヒラギノ明朝 ProN W3" charset="0"/>
          <a:sym typeface="Herculanum" charset="0"/>
        </a:defRPr>
      </a:lvl6pPr>
      <a:lvl7pPr marL="914400" algn="ctr" rtl="0" fontAlgn="base">
        <a:spcBef>
          <a:spcPct val="0"/>
        </a:spcBef>
        <a:spcAft>
          <a:spcPct val="0"/>
        </a:spcAft>
        <a:defRPr sz="5400">
          <a:solidFill>
            <a:srgbClr val="3F3F3F"/>
          </a:solidFill>
          <a:latin typeface="Herculanum" charset="0"/>
          <a:ea typeface="ヒラギノ明朝 ProN W3" charset="0"/>
          <a:cs typeface="ヒラギノ明朝 ProN W3" charset="0"/>
          <a:sym typeface="Herculanum" charset="0"/>
        </a:defRPr>
      </a:lvl7pPr>
      <a:lvl8pPr marL="1371600" algn="ctr" rtl="0" fontAlgn="base">
        <a:spcBef>
          <a:spcPct val="0"/>
        </a:spcBef>
        <a:spcAft>
          <a:spcPct val="0"/>
        </a:spcAft>
        <a:defRPr sz="5400">
          <a:solidFill>
            <a:srgbClr val="3F3F3F"/>
          </a:solidFill>
          <a:latin typeface="Herculanum" charset="0"/>
          <a:ea typeface="ヒラギノ明朝 ProN W3" charset="0"/>
          <a:cs typeface="ヒラギノ明朝 ProN W3" charset="0"/>
          <a:sym typeface="Herculanum" charset="0"/>
        </a:defRPr>
      </a:lvl8pPr>
      <a:lvl9pPr marL="1828800" algn="ctr" rtl="0" fontAlgn="base">
        <a:spcBef>
          <a:spcPct val="0"/>
        </a:spcBef>
        <a:spcAft>
          <a:spcPct val="0"/>
        </a:spcAft>
        <a:defRPr sz="5400">
          <a:solidFill>
            <a:srgbClr val="3F3F3F"/>
          </a:solidFill>
          <a:latin typeface="Herculanum" charset="0"/>
          <a:ea typeface="ヒラギノ明朝 ProN W3" charset="0"/>
          <a:cs typeface="ヒラギノ明朝 ProN W3" charset="0"/>
          <a:sym typeface="Herculanum" charset="0"/>
        </a:defRPr>
      </a:lvl9pPr>
    </p:titleStyle>
    <p:bodyStyle>
      <a:lvl1pPr marL="688975" indent="-307975" algn="l" rtl="0" eaLnBrk="0" fontAlgn="base" hangingPunct="0">
        <a:spcBef>
          <a:spcPts val="2500"/>
        </a:spcBef>
        <a:spcAft>
          <a:spcPct val="0"/>
        </a:spcAft>
        <a:buSzPct val="52000"/>
        <a:buChar char="•"/>
        <a:defRPr sz="2800">
          <a:solidFill>
            <a:schemeClr val="tx1"/>
          </a:solidFill>
          <a:latin typeface="+mn-lt"/>
          <a:ea typeface="+mn-ea"/>
          <a:cs typeface="+mn-cs"/>
          <a:sym typeface="Palatino"/>
        </a:defRPr>
      </a:lvl1pPr>
      <a:lvl2pPr marL="1044575" indent="-307975" algn="l" rtl="0" eaLnBrk="0" fontAlgn="base" hangingPunct="0">
        <a:spcBef>
          <a:spcPts val="2500"/>
        </a:spcBef>
        <a:spcAft>
          <a:spcPct val="0"/>
        </a:spcAft>
        <a:buSzPct val="52000"/>
        <a:buChar char="•"/>
        <a:defRPr sz="2800">
          <a:solidFill>
            <a:schemeClr val="tx1"/>
          </a:solidFill>
          <a:latin typeface="+mn-lt"/>
          <a:ea typeface="+mn-ea"/>
          <a:cs typeface="+mn-cs"/>
          <a:sym typeface="Palatino"/>
        </a:defRPr>
      </a:lvl2pPr>
      <a:lvl3pPr marL="1387475" indent="-307975" algn="l" rtl="0" eaLnBrk="0" fontAlgn="base" hangingPunct="0">
        <a:spcBef>
          <a:spcPts val="2500"/>
        </a:spcBef>
        <a:spcAft>
          <a:spcPct val="0"/>
        </a:spcAft>
        <a:buSzPct val="52000"/>
        <a:buChar char="•"/>
        <a:defRPr sz="2800">
          <a:solidFill>
            <a:schemeClr val="tx1"/>
          </a:solidFill>
          <a:latin typeface="+mn-lt"/>
          <a:ea typeface="+mn-ea"/>
          <a:cs typeface="+mn-cs"/>
          <a:sym typeface="Palatino"/>
        </a:defRPr>
      </a:lvl3pPr>
      <a:lvl4pPr marL="1743075" indent="-307975" algn="l" rtl="0" eaLnBrk="0" fontAlgn="base" hangingPunct="0">
        <a:spcBef>
          <a:spcPts val="2500"/>
        </a:spcBef>
        <a:spcAft>
          <a:spcPct val="0"/>
        </a:spcAft>
        <a:buSzPct val="52000"/>
        <a:buChar char="•"/>
        <a:defRPr sz="2800">
          <a:solidFill>
            <a:schemeClr val="tx1"/>
          </a:solidFill>
          <a:latin typeface="+mn-lt"/>
          <a:ea typeface="+mn-ea"/>
          <a:cs typeface="+mn-cs"/>
          <a:sym typeface="Palatino"/>
        </a:defRPr>
      </a:lvl4pPr>
      <a:lvl5pPr marL="2098675" indent="-307975" algn="l" rtl="0" eaLnBrk="0" fontAlgn="base" hangingPunct="0">
        <a:spcBef>
          <a:spcPts val="2500"/>
        </a:spcBef>
        <a:spcAft>
          <a:spcPct val="0"/>
        </a:spcAft>
        <a:buSzPct val="52000"/>
        <a:buChar char="•"/>
        <a:defRPr sz="2800">
          <a:solidFill>
            <a:schemeClr val="tx1"/>
          </a:solidFill>
          <a:latin typeface="+mn-lt"/>
          <a:ea typeface="+mn-ea"/>
          <a:cs typeface="+mn-cs"/>
          <a:sym typeface="Palatino"/>
        </a:defRPr>
      </a:lvl5pPr>
      <a:lvl6pPr marL="2555875" indent="-307975" algn="l" rtl="0" fontAlgn="base">
        <a:spcBef>
          <a:spcPts val="2500"/>
        </a:spcBef>
        <a:spcAft>
          <a:spcPct val="0"/>
        </a:spcAft>
        <a:buSzPct val="52000"/>
        <a:buChar char="•"/>
        <a:defRPr sz="2800">
          <a:solidFill>
            <a:schemeClr val="tx1"/>
          </a:solidFill>
          <a:latin typeface="+mn-lt"/>
          <a:ea typeface="+mn-ea"/>
          <a:cs typeface="+mn-cs"/>
          <a:sym typeface="Palatino" charset="0"/>
        </a:defRPr>
      </a:lvl6pPr>
      <a:lvl7pPr marL="3013075" indent="-307975" algn="l" rtl="0" fontAlgn="base">
        <a:spcBef>
          <a:spcPts val="2500"/>
        </a:spcBef>
        <a:spcAft>
          <a:spcPct val="0"/>
        </a:spcAft>
        <a:buSzPct val="52000"/>
        <a:buChar char="•"/>
        <a:defRPr sz="2800">
          <a:solidFill>
            <a:schemeClr val="tx1"/>
          </a:solidFill>
          <a:latin typeface="+mn-lt"/>
          <a:ea typeface="+mn-ea"/>
          <a:cs typeface="+mn-cs"/>
          <a:sym typeface="Palatino" charset="0"/>
        </a:defRPr>
      </a:lvl7pPr>
      <a:lvl8pPr marL="3470275" indent="-307975" algn="l" rtl="0" fontAlgn="base">
        <a:spcBef>
          <a:spcPts val="2500"/>
        </a:spcBef>
        <a:spcAft>
          <a:spcPct val="0"/>
        </a:spcAft>
        <a:buSzPct val="52000"/>
        <a:buChar char="•"/>
        <a:defRPr sz="2800">
          <a:solidFill>
            <a:schemeClr val="tx1"/>
          </a:solidFill>
          <a:latin typeface="+mn-lt"/>
          <a:ea typeface="+mn-ea"/>
          <a:cs typeface="+mn-cs"/>
          <a:sym typeface="Palatino" charset="0"/>
        </a:defRPr>
      </a:lvl8pPr>
      <a:lvl9pPr marL="3927475" indent="-307975" algn="l" rtl="0" fontAlgn="base">
        <a:spcBef>
          <a:spcPts val="2500"/>
        </a:spcBef>
        <a:spcAft>
          <a:spcPct val="0"/>
        </a:spcAft>
        <a:buSzPct val="52000"/>
        <a:buChar char="•"/>
        <a:defRPr sz="2800">
          <a:solidFill>
            <a:schemeClr val="tx1"/>
          </a:solidFill>
          <a:latin typeface="+mn-lt"/>
          <a:ea typeface="+mn-ea"/>
          <a:cs typeface="+mn-cs"/>
          <a:sym typeface="Palatino" charset="0"/>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246786" name="Rectangle 1"/>
          <p:cNvSpPr>
            <a:spLocks noGrp="1" noChangeArrowheads="1"/>
          </p:cNvSpPr>
          <p:nvPr>
            <p:ph type="title"/>
          </p:nvPr>
        </p:nvSpPr>
        <p:spPr bwMode="auto">
          <a:xfrm>
            <a:off x="254000" y="4813300"/>
            <a:ext cx="8636000" cy="876300"/>
          </a:xfrm>
          <a:prstGeom prst="rect">
            <a:avLst/>
          </a:prstGeom>
          <a:noFill/>
          <a:ln w="12700">
            <a:noFill/>
            <a:miter lim="800000"/>
            <a:headEnd/>
            <a:tailEnd/>
          </a:ln>
        </p:spPr>
        <p:txBody>
          <a:bodyPr vert="horz" wrap="square" lIns="38100" tIns="38100" rIns="38100" bIns="38100" numCol="1" anchor="b" anchorCtr="0" compatLnSpc="1">
            <a:prstTxWarp prst="textNoShape">
              <a:avLst/>
            </a:prstTxWarp>
          </a:bodyPr>
          <a:lstStyle/>
          <a:p>
            <a:pPr lvl="0"/>
            <a:r>
              <a:rPr lang="en-US" altLang="ja-JP" smtClean="0">
                <a:sym typeface="Gill Sans Light"/>
              </a:rPr>
              <a:t>Click to edit Master title style</a:t>
            </a:r>
          </a:p>
        </p:txBody>
      </p:sp>
      <p:sp>
        <p:nvSpPr>
          <p:cNvPr id="246787" name="Rectangle 2"/>
          <p:cNvSpPr>
            <a:spLocks noGrp="1" noChangeArrowheads="1"/>
          </p:cNvSpPr>
          <p:nvPr>
            <p:ph type="body" idx="1"/>
          </p:nvPr>
        </p:nvSpPr>
        <p:spPr bwMode="auto">
          <a:xfrm>
            <a:off x="254000" y="5676900"/>
            <a:ext cx="8636000" cy="850900"/>
          </a:xfrm>
          <a:prstGeom prst="rect">
            <a:avLst/>
          </a:prstGeom>
          <a:noFill/>
          <a:ln w="12700">
            <a:noFill/>
            <a:miter lim="800000"/>
            <a:headEnd/>
            <a:tailEnd/>
          </a:ln>
        </p:spPr>
        <p:txBody>
          <a:bodyPr vert="horz" wrap="square" lIns="38100" tIns="38100" rIns="38100" bIns="38100" numCol="1" anchor="t" anchorCtr="0" compatLnSpc="1">
            <a:prstTxWarp prst="textNoShape">
              <a:avLst/>
            </a:prstTxWarp>
          </a:bodyPr>
          <a:lstStyle/>
          <a:p>
            <a:pPr lvl="0"/>
            <a:r>
              <a:rPr lang="en-US" altLang="ja-JP" smtClean="0">
                <a:sym typeface="Gill Sans Light"/>
              </a:rPr>
              <a:t>Click to edit Master text styles</a:t>
            </a:r>
          </a:p>
          <a:p>
            <a:pPr lvl="1"/>
            <a:r>
              <a:rPr lang="en-US" altLang="ja-JP" smtClean="0">
                <a:sym typeface="Gill Sans Light"/>
              </a:rPr>
              <a:t>Second level</a:t>
            </a:r>
          </a:p>
          <a:p>
            <a:pPr lvl="2"/>
            <a:r>
              <a:rPr lang="en-US" altLang="ja-JP" smtClean="0">
                <a:sym typeface="Gill Sans Light"/>
              </a:rPr>
              <a:t>Third level</a:t>
            </a:r>
          </a:p>
          <a:p>
            <a:pPr lvl="3"/>
            <a:r>
              <a:rPr lang="en-US" altLang="ja-JP" smtClean="0">
                <a:sym typeface="Gill Sans Light"/>
              </a:rPr>
              <a:t>Fourth level</a:t>
            </a:r>
          </a:p>
          <a:p>
            <a:pPr lvl="4"/>
            <a:r>
              <a:rPr lang="en-US" altLang="ja-JP" smtClean="0">
                <a:sym typeface="Gill Sans Light"/>
              </a:rPr>
              <a:t>Fifth level</a:t>
            </a:r>
          </a:p>
        </p:txBody>
      </p:sp>
    </p:spTree>
  </p:cSld>
  <p:clrMap bg1="lt1" tx1="dk1" bg2="lt2" tx2="dk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 id="2147483907" r:id="rId7"/>
    <p:sldLayoutId id="2147483908" r:id="rId8"/>
    <p:sldLayoutId id="2147483909" r:id="rId9"/>
    <p:sldLayoutId id="2147483910" r:id="rId10"/>
    <p:sldLayoutId id="2147483911" r:id="rId11"/>
  </p:sldLayoutIdLst>
  <p:transition/>
  <p:hf hdr="0" ftr="0" dt="0"/>
  <p:txStyles>
    <p:titleStyle>
      <a:lvl1pPr algn="ctr" rtl="0" eaLnBrk="0" fontAlgn="base" hangingPunct="0">
        <a:spcBef>
          <a:spcPct val="0"/>
        </a:spcBef>
        <a:spcAft>
          <a:spcPct val="0"/>
        </a:spcAft>
        <a:defRPr sz="5000">
          <a:solidFill>
            <a:schemeClr val="tx1"/>
          </a:solidFill>
          <a:latin typeface="+mj-lt"/>
          <a:ea typeface="+mj-ea"/>
          <a:cs typeface="+mj-cs"/>
          <a:sym typeface="Gill Sans Light"/>
        </a:defRPr>
      </a:lvl1pPr>
      <a:lvl2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2pPr>
      <a:lvl3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3pPr>
      <a:lvl4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4pPr>
      <a:lvl5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5pPr>
      <a:lvl6pPr marL="4572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6pPr>
      <a:lvl7pPr marL="9144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7pPr>
      <a:lvl8pPr marL="13716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8pPr>
      <a:lvl9pPr marL="18288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9pPr>
    </p:titleStyle>
    <p:bodyStyle>
      <a:lvl1pPr algn="ctr" rtl="0" eaLnBrk="0" fontAlgn="base" hangingPunct="0">
        <a:spcBef>
          <a:spcPct val="0"/>
        </a:spcBef>
        <a:spcAft>
          <a:spcPct val="0"/>
        </a:spcAft>
        <a:defRPr sz="2400">
          <a:solidFill>
            <a:schemeClr val="tx1"/>
          </a:solidFill>
          <a:latin typeface="+mn-lt"/>
          <a:ea typeface="+mn-ea"/>
          <a:cs typeface="+mn-cs"/>
          <a:sym typeface="Gill Sans Light"/>
        </a:defRPr>
      </a:lvl1pPr>
      <a:lvl2pPr algn="ctr" rtl="0" eaLnBrk="0" fontAlgn="base" hangingPunct="0">
        <a:spcBef>
          <a:spcPct val="0"/>
        </a:spcBef>
        <a:spcAft>
          <a:spcPct val="0"/>
        </a:spcAft>
        <a:defRPr sz="2400">
          <a:solidFill>
            <a:schemeClr val="tx1"/>
          </a:solidFill>
          <a:latin typeface="+mn-lt"/>
          <a:ea typeface="+mn-ea"/>
          <a:cs typeface="+mn-cs"/>
          <a:sym typeface="Gill Sans Light"/>
        </a:defRPr>
      </a:lvl2pPr>
      <a:lvl3pPr algn="ctr" rtl="0" eaLnBrk="0" fontAlgn="base" hangingPunct="0">
        <a:spcBef>
          <a:spcPct val="0"/>
        </a:spcBef>
        <a:spcAft>
          <a:spcPct val="0"/>
        </a:spcAft>
        <a:defRPr sz="2400">
          <a:solidFill>
            <a:schemeClr val="tx1"/>
          </a:solidFill>
          <a:latin typeface="+mn-lt"/>
          <a:ea typeface="+mn-ea"/>
          <a:cs typeface="+mn-cs"/>
          <a:sym typeface="Gill Sans Light"/>
        </a:defRPr>
      </a:lvl3pPr>
      <a:lvl4pPr algn="ctr" rtl="0" eaLnBrk="0" fontAlgn="base" hangingPunct="0">
        <a:spcBef>
          <a:spcPct val="0"/>
        </a:spcBef>
        <a:spcAft>
          <a:spcPct val="0"/>
        </a:spcAft>
        <a:defRPr sz="2400">
          <a:solidFill>
            <a:schemeClr val="tx1"/>
          </a:solidFill>
          <a:latin typeface="+mn-lt"/>
          <a:ea typeface="+mn-ea"/>
          <a:cs typeface="+mn-cs"/>
          <a:sym typeface="Gill Sans Light"/>
        </a:defRPr>
      </a:lvl4pPr>
      <a:lvl5pPr algn="ctr" rtl="0" eaLnBrk="0" fontAlgn="base" hangingPunct="0">
        <a:spcBef>
          <a:spcPct val="0"/>
        </a:spcBef>
        <a:spcAft>
          <a:spcPct val="0"/>
        </a:spcAft>
        <a:defRPr sz="2400">
          <a:solidFill>
            <a:schemeClr val="tx1"/>
          </a:solidFill>
          <a:latin typeface="+mn-lt"/>
          <a:ea typeface="+mn-ea"/>
          <a:cs typeface="+mn-cs"/>
          <a:sym typeface="Gill Sans Light"/>
        </a:defRPr>
      </a:lvl5pPr>
      <a:lvl6pPr marL="457200" algn="ctr" rtl="0" fontAlgn="base">
        <a:spcBef>
          <a:spcPct val="0"/>
        </a:spcBef>
        <a:spcAft>
          <a:spcPct val="0"/>
        </a:spcAft>
        <a:defRPr sz="2400">
          <a:solidFill>
            <a:schemeClr val="tx1"/>
          </a:solidFill>
          <a:latin typeface="+mn-lt"/>
          <a:ea typeface="+mn-ea"/>
          <a:cs typeface="+mn-cs"/>
          <a:sym typeface="Gill Sans Light" charset="0"/>
        </a:defRPr>
      </a:lvl6pPr>
      <a:lvl7pPr marL="914400" algn="ctr" rtl="0" fontAlgn="base">
        <a:spcBef>
          <a:spcPct val="0"/>
        </a:spcBef>
        <a:spcAft>
          <a:spcPct val="0"/>
        </a:spcAft>
        <a:defRPr sz="2400">
          <a:solidFill>
            <a:schemeClr val="tx1"/>
          </a:solidFill>
          <a:latin typeface="+mn-lt"/>
          <a:ea typeface="+mn-ea"/>
          <a:cs typeface="+mn-cs"/>
          <a:sym typeface="Gill Sans Light" charset="0"/>
        </a:defRPr>
      </a:lvl7pPr>
      <a:lvl8pPr marL="1371600" algn="ctr" rtl="0" fontAlgn="base">
        <a:spcBef>
          <a:spcPct val="0"/>
        </a:spcBef>
        <a:spcAft>
          <a:spcPct val="0"/>
        </a:spcAft>
        <a:defRPr sz="2400">
          <a:solidFill>
            <a:schemeClr val="tx1"/>
          </a:solidFill>
          <a:latin typeface="+mn-lt"/>
          <a:ea typeface="+mn-ea"/>
          <a:cs typeface="+mn-cs"/>
          <a:sym typeface="Gill Sans Light" charset="0"/>
        </a:defRPr>
      </a:lvl8pPr>
      <a:lvl9pPr marL="1828800" algn="ctr" rtl="0" fontAlgn="base">
        <a:spcBef>
          <a:spcPct val="0"/>
        </a:spcBef>
        <a:spcAft>
          <a:spcPct val="0"/>
        </a:spcAft>
        <a:defRPr sz="2400">
          <a:solidFill>
            <a:schemeClr val="tx1"/>
          </a:solidFill>
          <a:latin typeface="+mn-lt"/>
          <a:ea typeface="+mn-ea"/>
          <a:cs typeface="+mn-cs"/>
          <a:sym typeface="Gill Sans Light" charset="0"/>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259074" name="Rectangle 1"/>
          <p:cNvSpPr>
            <a:spLocks noGrp="1" noChangeArrowheads="1"/>
          </p:cNvSpPr>
          <p:nvPr>
            <p:ph type="title"/>
          </p:nvPr>
        </p:nvSpPr>
        <p:spPr bwMode="auto">
          <a:xfrm>
            <a:off x="254000" y="4813300"/>
            <a:ext cx="8636000" cy="876300"/>
          </a:xfrm>
          <a:prstGeom prst="rect">
            <a:avLst/>
          </a:prstGeom>
          <a:noFill/>
          <a:ln w="12700">
            <a:noFill/>
            <a:miter lim="800000"/>
            <a:headEnd/>
            <a:tailEnd/>
          </a:ln>
        </p:spPr>
        <p:txBody>
          <a:bodyPr vert="horz" wrap="square" lIns="38100" tIns="38100" rIns="38100" bIns="38100" numCol="1" anchor="b" anchorCtr="0" compatLnSpc="1">
            <a:prstTxWarp prst="textNoShape">
              <a:avLst/>
            </a:prstTxWarp>
          </a:bodyPr>
          <a:lstStyle/>
          <a:p>
            <a:pPr lvl="0"/>
            <a:r>
              <a:rPr lang="en-US" altLang="ja-JP" smtClean="0">
                <a:sym typeface="Gill Sans Light"/>
              </a:rPr>
              <a:t>Click to edit Master title style</a:t>
            </a:r>
          </a:p>
        </p:txBody>
      </p:sp>
      <p:sp>
        <p:nvSpPr>
          <p:cNvPr id="259075" name="Rectangle 2"/>
          <p:cNvSpPr>
            <a:spLocks noGrp="1" noChangeArrowheads="1"/>
          </p:cNvSpPr>
          <p:nvPr>
            <p:ph type="body" idx="1"/>
          </p:nvPr>
        </p:nvSpPr>
        <p:spPr bwMode="auto">
          <a:xfrm>
            <a:off x="254000" y="5676900"/>
            <a:ext cx="8636000" cy="850900"/>
          </a:xfrm>
          <a:prstGeom prst="rect">
            <a:avLst/>
          </a:prstGeom>
          <a:noFill/>
          <a:ln w="12700">
            <a:noFill/>
            <a:miter lim="800000"/>
            <a:headEnd/>
            <a:tailEnd/>
          </a:ln>
        </p:spPr>
        <p:txBody>
          <a:bodyPr vert="horz" wrap="square" lIns="38100" tIns="38100" rIns="38100" bIns="38100" numCol="1" anchor="t" anchorCtr="0" compatLnSpc="1">
            <a:prstTxWarp prst="textNoShape">
              <a:avLst/>
            </a:prstTxWarp>
          </a:bodyPr>
          <a:lstStyle/>
          <a:p>
            <a:pPr lvl="0"/>
            <a:r>
              <a:rPr lang="en-US" altLang="ja-JP" smtClean="0">
                <a:sym typeface="Gill Sans Light"/>
              </a:rPr>
              <a:t>Click to edit Master text styles</a:t>
            </a:r>
          </a:p>
          <a:p>
            <a:pPr lvl="1"/>
            <a:r>
              <a:rPr lang="en-US" altLang="ja-JP" smtClean="0">
                <a:sym typeface="Gill Sans Light"/>
              </a:rPr>
              <a:t>Second level</a:t>
            </a:r>
          </a:p>
          <a:p>
            <a:pPr lvl="2"/>
            <a:r>
              <a:rPr lang="en-US" altLang="ja-JP" smtClean="0">
                <a:sym typeface="Gill Sans Light"/>
              </a:rPr>
              <a:t>Third level</a:t>
            </a:r>
          </a:p>
          <a:p>
            <a:pPr lvl="3"/>
            <a:r>
              <a:rPr lang="en-US" altLang="ja-JP" smtClean="0">
                <a:sym typeface="Gill Sans Light"/>
              </a:rPr>
              <a:t>Fourth level</a:t>
            </a:r>
          </a:p>
          <a:p>
            <a:pPr lvl="4"/>
            <a:r>
              <a:rPr lang="en-US" altLang="ja-JP" smtClean="0">
                <a:sym typeface="Gill Sans Light"/>
              </a:rPr>
              <a:t>Fifth level</a:t>
            </a:r>
          </a:p>
        </p:txBody>
      </p:sp>
    </p:spTree>
  </p:cSld>
  <p:clrMap bg1="lt1" tx1="dk1" bg2="lt2" tx2="dk2" accent1="accent1" accent2="accent2" accent3="accent3" accent4="accent4" accent5="accent5" accent6="accent6" hlink="hlink" folHlink="folHlink"/>
  <p:sldLayoutIdLst>
    <p:sldLayoutId id="2147483912" r:id="rId1"/>
    <p:sldLayoutId id="2147483913" r:id="rId2"/>
    <p:sldLayoutId id="2147483914" r:id="rId3"/>
    <p:sldLayoutId id="2147483915" r:id="rId4"/>
    <p:sldLayoutId id="2147483916" r:id="rId5"/>
    <p:sldLayoutId id="2147483917" r:id="rId6"/>
    <p:sldLayoutId id="2147483918" r:id="rId7"/>
    <p:sldLayoutId id="2147483919" r:id="rId8"/>
    <p:sldLayoutId id="2147483920" r:id="rId9"/>
    <p:sldLayoutId id="2147483921" r:id="rId10"/>
    <p:sldLayoutId id="2147483922" r:id="rId11"/>
  </p:sldLayoutIdLst>
  <p:transition/>
  <p:hf hdr="0" ftr="0" dt="0"/>
  <p:txStyles>
    <p:titleStyle>
      <a:lvl1pPr algn="ctr" rtl="0" eaLnBrk="0" fontAlgn="base" hangingPunct="0">
        <a:spcBef>
          <a:spcPct val="0"/>
        </a:spcBef>
        <a:spcAft>
          <a:spcPct val="0"/>
        </a:spcAft>
        <a:defRPr sz="5000">
          <a:solidFill>
            <a:schemeClr val="tx1"/>
          </a:solidFill>
          <a:latin typeface="+mj-lt"/>
          <a:ea typeface="+mj-ea"/>
          <a:cs typeface="+mj-cs"/>
          <a:sym typeface="Gill Sans Light"/>
        </a:defRPr>
      </a:lvl1pPr>
      <a:lvl2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2pPr>
      <a:lvl3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3pPr>
      <a:lvl4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4pPr>
      <a:lvl5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5pPr>
      <a:lvl6pPr marL="4572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6pPr>
      <a:lvl7pPr marL="9144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7pPr>
      <a:lvl8pPr marL="13716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8pPr>
      <a:lvl9pPr marL="18288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9pPr>
    </p:titleStyle>
    <p:bodyStyle>
      <a:lvl1pPr algn="ctr" rtl="0" eaLnBrk="0" fontAlgn="base" hangingPunct="0">
        <a:spcBef>
          <a:spcPct val="0"/>
        </a:spcBef>
        <a:spcAft>
          <a:spcPct val="0"/>
        </a:spcAft>
        <a:defRPr sz="2400">
          <a:solidFill>
            <a:schemeClr val="tx1"/>
          </a:solidFill>
          <a:latin typeface="+mn-lt"/>
          <a:ea typeface="+mn-ea"/>
          <a:cs typeface="+mn-cs"/>
          <a:sym typeface="Gill Sans Light"/>
        </a:defRPr>
      </a:lvl1pPr>
      <a:lvl2pPr algn="ctr" rtl="0" eaLnBrk="0" fontAlgn="base" hangingPunct="0">
        <a:spcBef>
          <a:spcPct val="0"/>
        </a:spcBef>
        <a:spcAft>
          <a:spcPct val="0"/>
        </a:spcAft>
        <a:defRPr sz="2400">
          <a:solidFill>
            <a:schemeClr val="tx1"/>
          </a:solidFill>
          <a:latin typeface="+mn-lt"/>
          <a:ea typeface="+mn-ea"/>
          <a:cs typeface="+mn-cs"/>
          <a:sym typeface="Gill Sans Light"/>
        </a:defRPr>
      </a:lvl2pPr>
      <a:lvl3pPr algn="ctr" rtl="0" eaLnBrk="0" fontAlgn="base" hangingPunct="0">
        <a:spcBef>
          <a:spcPct val="0"/>
        </a:spcBef>
        <a:spcAft>
          <a:spcPct val="0"/>
        </a:spcAft>
        <a:defRPr sz="2400">
          <a:solidFill>
            <a:schemeClr val="tx1"/>
          </a:solidFill>
          <a:latin typeface="+mn-lt"/>
          <a:ea typeface="+mn-ea"/>
          <a:cs typeface="+mn-cs"/>
          <a:sym typeface="Gill Sans Light"/>
        </a:defRPr>
      </a:lvl3pPr>
      <a:lvl4pPr algn="ctr" rtl="0" eaLnBrk="0" fontAlgn="base" hangingPunct="0">
        <a:spcBef>
          <a:spcPct val="0"/>
        </a:spcBef>
        <a:spcAft>
          <a:spcPct val="0"/>
        </a:spcAft>
        <a:defRPr sz="2400">
          <a:solidFill>
            <a:schemeClr val="tx1"/>
          </a:solidFill>
          <a:latin typeface="+mn-lt"/>
          <a:ea typeface="+mn-ea"/>
          <a:cs typeface="+mn-cs"/>
          <a:sym typeface="Gill Sans Light"/>
        </a:defRPr>
      </a:lvl4pPr>
      <a:lvl5pPr algn="ctr" rtl="0" eaLnBrk="0" fontAlgn="base" hangingPunct="0">
        <a:spcBef>
          <a:spcPct val="0"/>
        </a:spcBef>
        <a:spcAft>
          <a:spcPct val="0"/>
        </a:spcAft>
        <a:defRPr sz="2400">
          <a:solidFill>
            <a:schemeClr val="tx1"/>
          </a:solidFill>
          <a:latin typeface="+mn-lt"/>
          <a:ea typeface="+mn-ea"/>
          <a:cs typeface="+mn-cs"/>
          <a:sym typeface="Gill Sans Light"/>
        </a:defRPr>
      </a:lvl5pPr>
      <a:lvl6pPr marL="457200" algn="ctr" rtl="0" fontAlgn="base">
        <a:spcBef>
          <a:spcPct val="0"/>
        </a:spcBef>
        <a:spcAft>
          <a:spcPct val="0"/>
        </a:spcAft>
        <a:defRPr sz="2400">
          <a:solidFill>
            <a:schemeClr val="tx1"/>
          </a:solidFill>
          <a:latin typeface="+mn-lt"/>
          <a:ea typeface="+mn-ea"/>
          <a:cs typeface="+mn-cs"/>
          <a:sym typeface="Gill Sans Light" charset="0"/>
        </a:defRPr>
      </a:lvl6pPr>
      <a:lvl7pPr marL="914400" algn="ctr" rtl="0" fontAlgn="base">
        <a:spcBef>
          <a:spcPct val="0"/>
        </a:spcBef>
        <a:spcAft>
          <a:spcPct val="0"/>
        </a:spcAft>
        <a:defRPr sz="2400">
          <a:solidFill>
            <a:schemeClr val="tx1"/>
          </a:solidFill>
          <a:latin typeface="+mn-lt"/>
          <a:ea typeface="+mn-ea"/>
          <a:cs typeface="+mn-cs"/>
          <a:sym typeface="Gill Sans Light" charset="0"/>
        </a:defRPr>
      </a:lvl7pPr>
      <a:lvl8pPr marL="1371600" algn="ctr" rtl="0" fontAlgn="base">
        <a:spcBef>
          <a:spcPct val="0"/>
        </a:spcBef>
        <a:spcAft>
          <a:spcPct val="0"/>
        </a:spcAft>
        <a:defRPr sz="2400">
          <a:solidFill>
            <a:schemeClr val="tx1"/>
          </a:solidFill>
          <a:latin typeface="+mn-lt"/>
          <a:ea typeface="+mn-ea"/>
          <a:cs typeface="+mn-cs"/>
          <a:sym typeface="Gill Sans Light" charset="0"/>
        </a:defRPr>
      </a:lvl8pPr>
      <a:lvl9pPr marL="1828800" algn="ctr" rtl="0" fontAlgn="base">
        <a:spcBef>
          <a:spcPct val="0"/>
        </a:spcBef>
        <a:spcAft>
          <a:spcPct val="0"/>
        </a:spcAft>
        <a:defRPr sz="2400">
          <a:solidFill>
            <a:schemeClr val="tx1"/>
          </a:solidFill>
          <a:latin typeface="+mn-lt"/>
          <a:ea typeface="+mn-ea"/>
          <a:cs typeface="+mn-cs"/>
          <a:sym typeface="Gill Sans Light" charset="0"/>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271362" name="Rectangle 1"/>
          <p:cNvSpPr>
            <a:spLocks noGrp="1" noChangeArrowheads="1"/>
          </p:cNvSpPr>
          <p:nvPr>
            <p:ph type="title"/>
          </p:nvPr>
        </p:nvSpPr>
        <p:spPr bwMode="auto">
          <a:xfrm>
            <a:off x="254000" y="177800"/>
            <a:ext cx="8636000" cy="1714500"/>
          </a:xfrm>
          <a:prstGeom prst="rect">
            <a:avLst/>
          </a:prstGeom>
          <a:noFill/>
          <a:ln w="12700">
            <a:noFill/>
            <a:miter lim="800000"/>
            <a:headEnd/>
            <a:tailEnd/>
          </a:ln>
        </p:spPr>
        <p:txBody>
          <a:bodyPr vert="horz" wrap="square" lIns="38100" tIns="38100" rIns="38100" bIns="38100" numCol="1" anchor="ctr" anchorCtr="0" compatLnSpc="1">
            <a:prstTxWarp prst="textNoShape">
              <a:avLst/>
            </a:prstTxWarp>
          </a:bodyPr>
          <a:lstStyle/>
          <a:p>
            <a:pPr lvl="0"/>
            <a:r>
              <a:rPr lang="en-US" altLang="ja-JP" smtClean="0">
                <a:sym typeface="Gill Sans Light"/>
              </a:rPr>
              <a:t>Click to edit Master title style</a:t>
            </a:r>
          </a:p>
        </p:txBody>
      </p:sp>
      <p:sp>
        <p:nvSpPr>
          <p:cNvPr id="271363" name="Rectangle 2"/>
          <p:cNvSpPr>
            <a:spLocks noGrp="1" noChangeArrowheads="1"/>
          </p:cNvSpPr>
          <p:nvPr>
            <p:ph type="body" idx="1"/>
          </p:nvPr>
        </p:nvSpPr>
        <p:spPr bwMode="auto">
          <a:xfrm>
            <a:off x="4749800" y="2235200"/>
            <a:ext cx="4152900" cy="4102100"/>
          </a:xfrm>
          <a:prstGeom prst="rect">
            <a:avLst/>
          </a:prstGeom>
          <a:noFill/>
          <a:ln w="12700">
            <a:noFill/>
            <a:miter lim="800000"/>
            <a:headEnd/>
            <a:tailEnd/>
          </a:ln>
        </p:spPr>
        <p:txBody>
          <a:bodyPr vert="horz" wrap="square" lIns="38100" tIns="38100" rIns="38100" bIns="38100" numCol="1" anchor="ctr" anchorCtr="0" compatLnSpc="1">
            <a:prstTxWarp prst="textNoShape">
              <a:avLst/>
            </a:prstTxWarp>
          </a:bodyPr>
          <a:lstStyle/>
          <a:p>
            <a:pPr lvl="0"/>
            <a:r>
              <a:rPr lang="en-US" altLang="ja-JP" smtClean="0">
                <a:sym typeface="Gill Sans Light"/>
              </a:rPr>
              <a:t>Click to edit Master text styles</a:t>
            </a:r>
          </a:p>
          <a:p>
            <a:pPr lvl="1"/>
            <a:r>
              <a:rPr lang="en-US" altLang="ja-JP" smtClean="0">
                <a:sym typeface="Gill Sans Light"/>
              </a:rPr>
              <a:t>Second level</a:t>
            </a:r>
          </a:p>
          <a:p>
            <a:pPr lvl="2"/>
            <a:r>
              <a:rPr lang="en-US" altLang="ja-JP" smtClean="0">
                <a:sym typeface="Gill Sans Light"/>
              </a:rPr>
              <a:t>Third level</a:t>
            </a:r>
          </a:p>
          <a:p>
            <a:pPr lvl="3"/>
            <a:r>
              <a:rPr lang="en-US" altLang="ja-JP" smtClean="0">
                <a:sym typeface="Gill Sans Light"/>
              </a:rPr>
              <a:t>Fourth level</a:t>
            </a:r>
          </a:p>
          <a:p>
            <a:pPr lvl="4"/>
            <a:r>
              <a:rPr lang="en-US" altLang="ja-JP" smtClean="0">
                <a:sym typeface="Gill Sans Light"/>
              </a:rPr>
              <a:t>Fifth level</a:t>
            </a:r>
          </a:p>
        </p:txBody>
      </p:sp>
    </p:spTree>
  </p:cSld>
  <p:clrMap bg1="lt1" tx1="dk1" bg2="lt2" tx2="dk2" accent1="accent1" accent2="accent2" accent3="accent3" accent4="accent4" accent5="accent5" accent6="accent6" hlink="hlink" folHlink="folHlink"/>
  <p:sldLayoutIdLst>
    <p:sldLayoutId id="2147483923" r:id="rId1"/>
    <p:sldLayoutId id="2147483924" r:id="rId2"/>
    <p:sldLayoutId id="2147483925" r:id="rId3"/>
    <p:sldLayoutId id="2147483926" r:id="rId4"/>
    <p:sldLayoutId id="2147483927" r:id="rId5"/>
    <p:sldLayoutId id="2147483928" r:id="rId6"/>
    <p:sldLayoutId id="2147483929" r:id="rId7"/>
    <p:sldLayoutId id="2147483930" r:id="rId8"/>
    <p:sldLayoutId id="2147483931" r:id="rId9"/>
    <p:sldLayoutId id="2147483932" r:id="rId10"/>
    <p:sldLayoutId id="2147483933" r:id="rId11"/>
  </p:sldLayoutIdLst>
  <p:transition/>
  <p:hf hdr="0" ftr="0" dt="0"/>
  <p:txStyles>
    <p:titleStyle>
      <a:lvl1pPr algn="ctr" rtl="0" eaLnBrk="0" fontAlgn="base" hangingPunct="0">
        <a:spcBef>
          <a:spcPct val="0"/>
        </a:spcBef>
        <a:spcAft>
          <a:spcPct val="0"/>
        </a:spcAft>
        <a:defRPr sz="5000">
          <a:solidFill>
            <a:srgbClr val="404140"/>
          </a:solidFill>
          <a:latin typeface="+mj-lt"/>
          <a:ea typeface="+mj-ea"/>
          <a:cs typeface="+mj-cs"/>
          <a:sym typeface="Gill Sans Light"/>
        </a:defRPr>
      </a:lvl1pPr>
      <a:lvl2pPr algn="ctr" rtl="0" eaLnBrk="0" fontAlgn="base" hangingPunct="0">
        <a:spcBef>
          <a:spcPct val="0"/>
        </a:spcBef>
        <a:spcAft>
          <a:spcPct val="0"/>
        </a:spcAft>
        <a:defRPr sz="5000">
          <a:solidFill>
            <a:srgbClr val="404140"/>
          </a:solidFill>
          <a:latin typeface="Gill Sans Light" charset="0"/>
          <a:ea typeface="ヒラギノ角ゴ ProN W3" charset="0"/>
          <a:cs typeface="ヒラギノ角ゴ ProN W3" charset="0"/>
          <a:sym typeface="Gill Sans Light"/>
        </a:defRPr>
      </a:lvl2pPr>
      <a:lvl3pPr algn="ctr" rtl="0" eaLnBrk="0" fontAlgn="base" hangingPunct="0">
        <a:spcBef>
          <a:spcPct val="0"/>
        </a:spcBef>
        <a:spcAft>
          <a:spcPct val="0"/>
        </a:spcAft>
        <a:defRPr sz="5000">
          <a:solidFill>
            <a:srgbClr val="404140"/>
          </a:solidFill>
          <a:latin typeface="Gill Sans Light" charset="0"/>
          <a:ea typeface="ヒラギノ角ゴ ProN W3" charset="0"/>
          <a:cs typeface="ヒラギノ角ゴ ProN W3" charset="0"/>
          <a:sym typeface="Gill Sans Light"/>
        </a:defRPr>
      </a:lvl3pPr>
      <a:lvl4pPr algn="ctr" rtl="0" eaLnBrk="0" fontAlgn="base" hangingPunct="0">
        <a:spcBef>
          <a:spcPct val="0"/>
        </a:spcBef>
        <a:spcAft>
          <a:spcPct val="0"/>
        </a:spcAft>
        <a:defRPr sz="5000">
          <a:solidFill>
            <a:srgbClr val="404140"/>
          </a:solidFill>
          <a:latin typeface="Gill Sans Light" charset="0"/>
          <a:ea typeface="ヒラギノ角ゴ ProN W3" charset="0"/>
          <a:cs typeface="ヒラギノ角ゴ ProN W3" charset="0"/>
          <a:sym typeface="Gill Sans Light"/>
        </a:defRPr>
      </a:lvl4pPr>
      <a:lvl5pPr algn="ctr" rtl="0" eaLnBrk="0" fontAlgn="base" hangingPunct="0">
        <a:spcBef>
          <a:spcPct val="0"/>
        </a:spcBef>
        <a:spcAft>
          <a:spcPct val="0"/>
        </a:spcAft>
        <a:defRPr sz="5000">
          <a:solidFill>
            <a:srgbClr val="404140"/>
          </a:solidFill>
          <a:latin typeface="Gill Sans Light" charset="0"/>
          <a:ea typeface="ヒラギノ角ゴ ProN W3" charset="0"/>
          <a:cs typeface="ヒラギノ角ゴ ProN W3" charset="0"/>
          <a:sym typeface="Gill Sans Light"/>
        </a:defRPr>
      </a:lvl5pPr>
      <a:lvl6pPr marL="457200" algn="ctr" rtl="0" fontAlgn="base">
        <a:spcBef>
          <a:spcPct val="0"/>
        </a:spcBef>
        <a:spcAft>
          <a:spcPct val="0"/>
        </a:spcAft>
        <a:defRPr sz="5000">
          <a:solidFill>
            <a:srgbClr val="404140"/>
          </a:solidFill>
          <a:latin typeface="Gill Sans Light" charset="0"/>
          <a:ea typeface="ヒラギノ角ゴ ProN W3" charset="0"/>
          <a:cs typeface="ヒラギノ角ゴ ProN W3" charset="0"/>
          <a:sym typeface="Gill Sans Light" charset="0"/>
        </a:defRPr>
      </a:lvl6pPr>
      <a:lvl7pPr marL="914400" algn="ctr" rtl="0" fontAlgn="base">
        <a:spcBef>
          <a:spcPct val="0"/>
        </a:spcBef>
        <a:spcAft>
          <a:spcPct val="0"/>
        </a:spcAft>
        <a:defRPr sz="5000">
          <a:solidFill>
            <a:srgbClr val="404140"/>
          </a:solidFill>
          <a:latin typeface="Gill Sans Light" charset="0"/>
          <a:ea typeface="ヒラギノ角ゴ ProN W3" charset="0"/>
          <a:cs typeface="ヒラギノ角ゴ ProN W3" charset="0"/>
          <a:sym typeface="Gill Sans Light" charset="0"/>
        </a:defRPr>
      </a:lvl7pPr>
      <a:lvl8pPr marL="1371600" algn="ctr" rtl="0" fontAlgn="base">
        <a:spcBef>
          <a:spcPct val="0"/>
        </a:spcBef>
        <a:spcAft>
          <a:spcPct val="0"/>
        </a:spcAft>
        <a:defRPr sz="5000">
          <a:solidFill>
            <a:srgbClr val="404140"/>
          </a:solidFill>
          <a:latin typeface="Gill Sans Light" charset="0"/>
          <a:ea typeface="ヒラギノ角ゴ ProN W3" charset="0"/>
          <a:cs typeface="ヒラギノ角ゴ ProN W3" charset="0"/>
          <a:sym typeface="Gill Sans Light" charset="0"/>
        </a:defRPr>
      </a:lvl8pPr>
      <a:lvl9pPr marL="1828800" algn="ctr" rtl="0" fontAlgn="base">
        <a:spcBef>
          <a:spcPct val="0"/>
        </a:spcBef>
        <a:spcAft>
          <a:spcPct val="0"/>
        </a:spcAft>
        <a:defRPr sz="5000">
          <a:solidFill>
            <a:srgbClr val="404140"/>
          </a:solidFill>
          <a:latin typeface="Gill Sans Light" charset="0"/>
          <a:ea typeface="ヒラギノ角ゴ ProN W3" charset="0"/>
          <a:cs typeface="ヒラギノ角ゴ ProN W3" charset="0"/>
          <a:sym typeface="Gill Sans Light" charset="0"/>
        </a:defRPr>
      </a:lvl9pPr>
    </p:titleStyle>
    <p:bodyStyle>
      <a:lvl1pPr marL="228600" indent="-228600" algn="l" rtl="0" eaLnBrk="0" fontAlgn="base" hangingPunct="0">
        <a:spcBef>
          <a:spcPts val="2700"/>
        </a:spcBef>
        <a:spcAft>
          <a:spcPct val="0"/>
        </a:spcAft>
        <a:buClr>
          <a:srgbClr val="414141"/>
        </a:buClr>
        <a:buSzPct val="81000"/>
        <a:buFont typeface="Gill Sans Light"/>
        <a:buChar char="•"/>
        <a:defRPr sz="2400">
          <a:solidFill>
            <a:srgbClr val="404140"/>
          </a:solidFill>
          <a:latin typeface="+mn-lt"/>
          <a:ea typeface="+mn-ea"/>
          <a:cs typeface="+mn-cs"/>
          <a:sym typeface="Gill Sans Light"/>
        </a:defRPr>
      </a:lvl1pPr>
      <a:lvl2pPr marL="508000" indent="-228600" algn="l" rtl="0" eaLnBrk="0" fontAlgn="base" hangingPunct="0">
        <a:spcBef>
          <a:spcPts val="2700"/>
        </a:spcBef>
        <a:spcAft>
          <a:spcPct val="0"/>
        </a:spcAft>
        <a:buClr>
          <a:srgbClr val="414141"/>
        </a:buClr>
        <a:buSzPct val="81000"/>
        <a:buFont typeface="Gill Sans Light"/>
        <a:buChar char="•"/>
        <a:defRPr sz="2400">
          <a:solidFill>
            <a:srgbClr val="404140"/>
          </a:solidFill>
          <a:latin typeface="+mn-lt"/>
          <a:ea typeface="+mn-ea"/>
          <a:cs typeface="+mn-cs"/>
          <a:sym typeface="Gill Sans Light"/>
        </a:defRPr>
      </a:lvl2pPr>
      <a:lvl3pPr marL="825500" indent="-228600" algn="l" rtl="0" eaLnBrk="0" fontAlgn="base" hangingPunct="0">
        <a:spcBef>
          <a:spcPts val="2700"/>
        </a:spcBef>
        <a:spcAft>
          <a:spcPct val="0"/>
        </a:spcAft>
        <a:buClr>
          <a:srgbClr val="414141"/>
        </a:buClr>
        <a:buSzPct val="81000"/>
        <a:buFont typeface="Gill Sans Light"/>
        <a:buChar char="•"/>
        <a:defRPr sz="2400">
          <a:solidFill>
            <a:srgbClr val="404140"/>
          </a:solidFill>
          <a:latin typeface="+mn-lt"/>
          <a:ea typeface="+mn-ea"/>
          <a:cs typeface="+mn-cs"/>
          <a:sym typeface="Gill Sans Light"/>
        </a:defRPr>
      </a:lvl3pPr>
      <a:lvl4pPr marL="1143000" indent="-228600" algn="l" rtl="0" eaLnBrk="0" fontAlgn="base" hangingPunct="0">
        <a:spcBef>
          <a:spcPts val="2700"/>
        </a:spcBef>
        <a:spcAft>
          <a:spcPct val="0"/>
        </a:spcAft>
        <a:buClr>
          <a:srgbClr val="414141"/>
        </a:buClr>
        <a:buSzPct val="81000"/>
        <a:buFont typeface="Gill Sans Light"/>
        <a:buChar char="•"/>
        <a:defRPr sz="2400">
          <a:solidFill>
            <a:srgbClr val="404140"/>
          </a:solidFill>
          <a:latin typeface="+mn-lt"/>
          <a:ea typeface="+mn-ea"/>
          <a:cs typeface="+mn-cs"/>
          <a:sym typeface="Gill Sans Light"/>
        </a:defRPr>
      </a:lvl4pPr>
      <a:lvl5pPr marL="1460500" indent="-228600" algn="l" rtl="0" eaLnBrk="0" fontAlgn="base" hangingPunct="0">
        <a:spcBef>
          <a:spcPts val="2700"/>
        </a:spcBef>
        <a:spcAft>
          <a:spcPct val="0"/>
        </a:spcAft>
        <a:buClr>
          <a:srgbClr val="414141"/>
        </a:buClr>
        <a:buSzPct val="81000"/>
        <a:buFont typeface="Gill Sans Light"/>
        <a:buChar char="•"/>
        <a:defRPr sz="2400">
          <a:solidFill>
            <a:srgbClr val="404140"/>
          </a:solidFill>
          <a:latin typeface="+mn-lt"/>
          <a:ea typeface="+mn-ea"/>
          <a:cs typeface="+mn-cs"/>
          <a:sym typeface="Gill Sans Light"/>
        </a:defRPr>
      </a:lvl5pPr>
      <a:lvl6pPr marL="1917700" indent="-228600" algn="l" rtl="0" fontAlgn="base">
        <a:spcBef>
          <a:spcPts val="2700"/>
        </a:spcBef>
        <a:spcAft>
          <a:spcPct val="0"/>
        </a:spcAft>
        <a:buClr>
          <a:srgbClr val="414141"/>
        </a:buClr>
        <a:buSzPct val="81000"/>
        <a:buFont typeface="Gill Sans Light" charset="0"/>
        <a:buChar char="•"/>
        <a:defRPr sz="2400">
          <a:solidFill>
            <a:srgbClr val="404140"/>
          </a:solidFill>
          <a:latin typeface="+mn-lt"/>
          <a:ea typeface="+mn-ea"/>
          <a:cs typeface="+mn-cs"/>
          <a:sym typeface="Gill Sans Light" charset="0"/>
        </a:defRPr>
      </a:lvl6pPr>
      <a:lvl7pPr marL="2374900" indent="-228600" algn="l" rtl="0" fontAlgn="base">
        <a:spcBef>
          <a:spcPts val="2700"/>
        </a:spcBef>
        <a:spcAft>
          <a:spcPct val="0"/>
        </a:spcAft>
        <a:buClr>
          <a:srgbClr val="414141"/>
        </a:buClr>
        <a:buSzPct val="81000"/>
        <a:buFont typeface="Gill Sans Light" charset="0"/>
        <a:buChar char="•"/>
        <a:defRPr sz="2400">
          <a:solidFill>
            <a:srgbClr val="404140"/>
          </a:solidFill>
          <a:latin typeface="+mn-lt"/>
          <a:ea typeface="+mn-ea"/>
          <a:cs typeface="+mn-cs"/>
          <a:sym typeface="Gill Sans Light" charset="0"/>
        </a:defRPr>
      </a:lvl7pPr>
      <a:lvl8pPr marL="2832100" indent="-228600" algn="l" rtl="0" fontAlgn="base">
        <a:spcBef>
          <a:spcPts val="2700"/>
        </a:spcBef>
        <a:spcAft>
          <a:spcPct val="0"/>
        </a:spcAft>
        <a:buClr>
          <a:srgbClr val="414141"/>
        </a:buClr>
        <a:buSzPct val="81000"/>
        <a:buFont typeface="Gill Sans Light" charset="0"/>
        <a:buChar char="•"/>
        <a:defRPr sz="2400">
          <a:solidFill>
            <a:srgbClr val="404140"/>
          </a:solidFill>
          <a:latin typeface="+mn-lt"/>
          <a:ea typeface="+mn-ea"/>
          <a:cs typeface="+mn-cs"/>
          <a:sym typeface="Gill Sans Light" charset="0"/>
        </a:defRPr>
      </a:lvl8pPr>
      <a:lvl9pPr marL="3289300" indent="-228600" algn="l" rtl="0" fontAlgn="base">
        <a:spcBef>
          <a:spcPts val="2700"/>
        </a:spcBef>
        <a:spcAft>
          <a:spcPct val="0"/>
        </a:spcAft>
        <a:buClr>
          <a:srgbClr val="414141"/>
        </a:buClr>
        <a:buSzPct val="81000"/>
        <a:buFont typeface="Gill Sans Light" charset="0"/>
        <a:buChar char="•"/>
        <a:defRPr sz="2400">
          <a:solidFill>
            <a:srgbClr val="404140"/>
          </a:solidFill>
          <a:latin typeface="+mn-lt"/>
          <a:ea typeface="+mn-ea"/>
          <a:cs typeface="+mn-cs"/>
          <a:sym typeface="Gill Sans Light" charset="0"/>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5" name="Rectangle 1"/>
          <p:cNvSpPr>
            <a:spLocks/>
          </p:cNvSpPr>
          <p:nvPr/>
        </p:nvSpPr>
        <p:spPr bwMode="auto">
          <a:xfrm>
            <a:off x="8051800" y="44450"/>
            <a:ext cx="865188" cy="317500"/>
          </a:xfrm>
          <a:prstGeom prst="rect">
            <a:avLst/>
          </a:prstGeom>
          <a:noFill/>
          <a:ln w="12700" cap="flat">
            <a:noFill/>
            <a:miter lim="800000"/>
            <a:headEnd type="none" w="med" len="med"/>
            <a:tailEnd type="none" w="med" len="med"/>
          </a:ln>
        </p:spPr>
        <p:txBody>
          <a:bodyPr wrap="none" lIns="0" tIns="0" rIns="40639" bIns="0">
            <a:spAutoFit/>
          </a:bodyPr>
          <a:lstStyle/>
          <a:p>
            <a:pPr marL="39688">
              <a:defRPr/>
            </a:pPr>
            <a:r>
              <a:rPr kumimoji="0" lang="ja-JP" altLang="en-US" sz="1400">
                <a:solidFill>
                  <a:schemeClr val="tx1"/>
                </a:solidFill>
                <a:latin typeface="Lucida Grande" charset="0"/>
                <a:ea typeface="ＭＳ Ｐゴシック" charset="-128"/>
                <a:cs typeface="ヒラギノ角ゴ ProN W3" charset="0"/>
                <a:sym typeface="Lucida Grande" charset="0"/>
              </a:rPr>
              <a:t>機密性２</a:t>
            </a:r>
          </a:p>
        </p:txBody>
      </p:sp>
      <p:sp>
        <p:nvSpPr>
          <p:cNvPr id="283651" name="Rectangle 2"/>
          <p:cNvSpPr>
            <a:spLocks noGrp="1" noChangeArrowheads="1"/>
          </p:cNvSpPr>
          <p:nvPr>
            <p:ph type="title"/>
          </p:nvPr>
        </p:nvSpPr>
        <p:spPr bwMode="auto">
          <a:xfrm>
            <a:off x="457200" y="90488"/>
            <a:ext cx="8229600" cy="1509712"/>
          </a:xfrm>
          <a:prstGeom prst="rect">
            <a:avLst/>
          </a:prstGeom>
          <a:noFill/>
          <a:ln w="12700">
            <a:noFill/>
            <a:miter lim="800000"/>
            <a:headEnd/>
            <a:tailEnd/>
          </a:ln>
        </p:spPr>
        <p:txBody>
          <a:bodyPr vert="horz" wrap="square" lIns="50800" tIns="50800" rIns="91440" bIns="50800" numCol="1" anchor="ctr" anchorCtr="0" compatLnSpc="1">
            <a:prstTxWarp prst="textNoShape">
              <a:avLst/>
            </a:prstTxWarp>
          </a:bodyPr>
          <a:lstStyle/>
          <a:p>
            <a:pPr lvl="0"/>
            <a:r>
              <a:rPr lang="en-US" altLang="ja-JP" smtClean="0">
                <a:sym typeface="Lucida Grande"/>
              </a:rPr>
              <a:t>Click to edit Master title style</a:t>
            </a:r>
          </a:p>
        </p:txBody>
      </p:sp>
      <p:sp>
        <p:nvSpPr>
          <p:cNvPr id="283652" name="Rectangle 3"/>
          <p:cNvSpPr>
            <a:spLocks noGrp="1" noChangeArrowheads="1"/>
          </p:cNvSpPr>
          <p:nvPr>
            <p:ph type="body" idx="1"/>
          </p:nvPr>
        </p:nvSpPr>
        <p:spPr bwMode="auto">
          <a:xfrm>
            <a:off x="457200" y="1600200"/>
            <a:ext cx="8229600" cy="5257800"/>
          </a:xfrm>
          <a:prstGeom prst="rect">
            <a:avLst/>
          </a:prstGeom>
          <a:noFill/>
          <a:ln w="12700">
            <a:noFill/>
            <a:miter lim="800000"/>
            <a:headEnd/>
            <a:tailEnd/>
          </a:ln>
        </p:spPr>
        <p:txBody>
          <a:bodyPr vert="horz" wrap="square" lIns="50800" tIns="50800" rIns="91440" bIns="50800" numCol="1" anchor="t" anchorCtr="0" compatLnSpc="1">
            <a:prstTxWarp prst="textNoShape">
              <a:avLst/>
            </a:prstTxWarp>
          </a:bodyPr>
          <a:lstStyle/>
          <a:p>
            <a:pPr lvl="0"/>
            <a:r>
              <a:rPr lang="en-US" altLang="ja-JP" smtClean="0">
                <a:sym typeface="Lucida Grande"/>
              </a:rPr>
              <a:t>Click to edit Master text styles</a:t>
            </a:r>
          </a:p>
          <a:p>
            <a:pPr lvl="1"/>
            <a:r>
              <a:rPr lang="en-US" altLang="ja-JP" smtClean="0">
                <a:sym typeface="Lucida Grande"/>
              </a:rPr>
              <a:t>Second level</a:t>
            </a:r>
          </a:p>
          <a:p>
            <a:pPr lvl="2"/>
            <a:r>
              <a:rPr lang="en-US" altLang="ja-JP" smtClean="0">
                <a:sym typeface="Lucida Grande"/>
              </a:rPr>
              <a:t>Third level</a:t>
            </a:r>
          </a:p>
          <a:p>
            <a:pPr lvl="3"/>
            <a:r>
              <a:rPr lang="en-US" altLang="ja-JP" smtClean="0">
                <a:sym typeface="Lucida Grande"/>
              </a:rPr>
              <a:t>Fourth level</a:t>
            </a:r>
          </a:p>
          <a:p>
            <a:pPr lvl="4"/>
            <a:r>
              <a:rPr lang="en-US" altLang="ja-JP" smtClean="0">
                <a:sym typeface="Lucida Grande"/>
              </a:rPr>
              <a:t>Fifth level</a:t>
            </a:r>
          </a:p>
        </p:txBody>
      </p:sp>
      <p:sp>
        <p:nvSpPr>
          <p:cNvPr id="26628" name="Text Box 4"/>
          <p:cNvSpPr txBox="1">
            <a:spLocks noGrp="1" noChangeArrowheads="1"/>
          </p:cNvSpPr>
          <p:nvPr>
            <p:ph type="sldNum" sz="quarter" idx="4"/>
          </p:nvPr>
        </p:nvSpPr>
        <p:spPr bwMode="auto">
          <a:xfrm>
            <a:off x="7466013" y="6392863"/>
            <a:ext cx="306387" cy="292100"/>
          </a:xfrm>
          <a:prstGeom prst="rect">
            <a:avLst/>
          </a:prstGeom>
          <a:noFill/>
          <a:ln w="12700">
            <a:noFill/>
            <a:miter lim="800000"/>
            <a:headEnd/>
            <a:tailEnd/>
          </a:ln>
          <a:effectLst/>
        </p:spPr>
        <p:txBody>
          <a:bodyPr vert="horz" wrap="none" lIns="91440" tIns="45720" rIns="91440" bIns="45720" numCol="1" anchor="ctr" anchorCtr="0" compatLnSpc="1">
            <a:prstTxWarp prst="textNoShape">
              <a:avLst/>
            </a:prstTxWarp>
          </a:bodyPr>
          <a:lstStyle>
            <a:lvl1pPr algn="ctr">
              <a:defRPr kumimoji="0" sz="1200">
                <a:solidFill>
                  <a:srgbClr val="898989"/>
                </a:solidFill>
                <a:latin typeface="Lucida Grande" charset="0"/>
                <a:ea typeface="ＭＳ Ｐゴシック" charset="-128"/>
                <a:cs typeface="ヒラギノ角ゴ ProN W3" charset="0"/>
                <a:sym typeface="Lucida Grande" charset="0"/>
              </a:defRPr>
            </a:lvl1pPr>
          </a:lstStyle>
          <a:p>
            <a:pPr>
              <a:defRPr/>
            </a:pPr>
            <a:fld id="{6FDBEAA4-F62F-4A26-8061-14A934F83344}" type="slidenum">
              <a:rPr lang="en-US" altLang="ja-JP"/>
              <a:pPr>
                <a:defRPr/>
              </a:pPr>
              <a:t>‹#›</a:t>
            </a:fld>
            <a:endParaRPr lang="en-US" altLang="ja-JP" dirty="0"/>
          </a:p>
        </p:txBody>
      </p:sp>
    </p:spTree>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Lst>
  <p:transition/>
  <p:hf hdr="0" ftr="0" dt="0"/>
  <p:txStyles>
    <p:titleStyle>
      <a:lvl1pPr marL="39688" algn="ctr" rtl="0" eaLnBrk="0" fontAlgn="base" hangingPunct="0">
        <a:spcBef>
          <a:spcPct val="0"/>
        </a:spcBef>
        <a:spcAft>
          <a:spcPct val="0"/>
        </a:spcAft>
        <a:defRPr sz="4400">
          <a:solidFill>
            <a:schemeClr val="tx1"/>
          </a:solidFill>
          <a:latin typeface="+mj-lt"/>
          <a:ea typeface="+mj-ea"/>
          <a:cs typeface="+mj-cs"/>
          <a:sym typeface="Lucida Grande"/>
        </a:defRPr>
      </a:lvl1pPr>
      <a:lvl2pPr marL="39688" algn="ctr" rtl="0" eaLnBrk="0" fontAlgn="base" hangingPunct="0">
        <a:spcBef>
          <a:spcPct val="0"/>
        </a:spcBef>
        <a:spcAft>
          <a:spcPct val="0"/>
        </a:spcAft>
        <a:defRPr sz="4400">
          <a:solidFill>
            <a:schemeClr val="tx1"/>
          </a:solidFill>
          <a:latin typeface="Lucida Grande" charset="0"/>
          <a:ea typeface="ヒラギノ角ゴ ProN W3" charset="0"/>
          <a:cs typeface="ヒラギノ角ゴ ProN W3" charset="0"/>
          <a:sym typeface="Lucida Grande"/>
        </a:defRPr>
      </a:lvl2pPr>
      <a:lvl3pPr marL="39688" algn="ctr" rtl="0" eaLnBrk="0" fontAlgn="base" hangingPunct="0">
        <a:spcBef>
          <a:spcPct val="0"/>
        </a:spcBef>
        <a:spcAft>
          <a:spcPct val="0"/>
        </a:spcAft>
        <a:defRPr sz="4400">
          <a:solidFill>
            <a:schemeClr val="tx1"/>
          </a:solidFill>
          <a:latin typeface="Lucida Grande" charset="0"/>
          <a:ea typeface="ヒラギノ角ゴ ProN W3" charset="0"/>
          <a:cs typeface="ヒラギノ角ゴ ProN W3" charset="0"/>
          <a:sym typeface="Lucida Grande"/>
        </a:defRPr>
      </a:lvl3pPr>
      <a:lvl4pPr marL="39688" algn="ctr" rtl="0" eaLnBrk="0" fontAlgn="base" hangingPunct="0">
        <a:spcBef>
          <a:spcPct val="0"/>
        </a:spcBef>
        <a:spcAft>
          <a:spcPct val="0"/>
        </a:spcAft>
        <a:defRPr sz="4400">
          <a:solidFill>
            <a:schemeClr val="tx1"/>
          </a:solidFill>
          <a:latin typeface="Lucida Grande" charset="0"/>
          <a:ea typeface="ヒラギノ角ゴ ProN W3" charset="0"/>
          <a:cs typeface="ヒラギノ角ゴ ProN W3" charset="0"/>
          <a:sym typeface="Lucida Grande"/>
        </a:defRPr>
      </a:lvl4pPr>
      <a:lvl5pPr marL="39688" algn="ctr" rtl="0" eaLnBrk="0" fontAlgn="base" hangingPunct="0">
        <a:spcBef>
          <a:spcPct val="0"/>
        </a:spcBef>
        <a:spcAft>
          <a:spcPct val="0"/>
        </a:spcAft>
        <a:defRPr sz="4400">
          <a:solidFill>
            <a:schemeClr val="tx1"/>
          </a:solidFill>
          <a:latin typeface="Lucida Grande" charset="0"/>
          <a:ea typeface="ヒラギノ角ゴ ProN W3" charset="0"/>
          <a:cs typeface="ヒラギノ角ゴ ProN W3" charset="0"/>
          <a:sym typeface="Lucida Grande"/>
        </a:defRPr>
      </a:lvl5pPr>
      <a:lvl6pPr marL="496888" algn="ctr" rtl="0" fontAlgn="base">
        <a:spcBef>
          <a:spcPct val="0"/>
        </a:spcBef>
        <a:spcAft>
          <a:spcPct val="0"/>
        </a:spcAft>
        <a:defRPr sz="4400">
          <a:solidFill>
            <a:schemeClr val="tx1"/>
          </a:solidFill>
          <a:latin typeface="Lucida Grande" charset="0"/>
          <a:ea typeface="ヒラギノ角ゴ ProN W3" charset="0"/>
          <a:cs typeface="ヒラギノ角ゴ ProN W3" charset="0"/>
          <a:sym typeface="Lucida Grande" charset="0"/>
        </a:defRPr>
      </a:lvl6pPr>
      <a:lvl7pPr marL="954088" algn="ctr" rtl="0" fontAlgn="base">
        <a:spcBef>
          <a:spcPct val="0"/>
        </a:spcBef>
        <a:spcAft>
          <a:spcPct val="0"/>
        </a:spcAft>
        <a:defRPr sz="4400">
          <a:solidFill>
            <a:schemeClr val="tx1"/>
          </a:solidFill>
          <a:latin typeface="Lucida Grande" charset="0"/>
          <a:ea typeface="ヒラギノ角ゴ ProN W3" charset="0"/>
          <a:cs typeface="ヒラギノ角ゴ ProN W3" charset="0"/>
          <a:sym typeface="Lucida Grande" charset="0"/>
        </a:defRPr>
      </a:lvl7pPr>
      <a:lvl8pPr marL="1411288" algn="ctr" rtl="0" fontAlgn="base">
        <a:spcBef>
          <a:spcPct val="0"/>
        </a:spcBef>
        <a:spcAft>
          <a:spcPct val="0"/>
        </a:spcAft>
        <a:defRPr sz="4400">
          <a:solidFill>
            <a:schemeClr val="tx1"/>
          </a:solidFill>
          <a:latin typeface="Lucida Grande" charset="0"/>
          <a:ea typeface="ヒラギノ角ゴ ProN W3" charset="0"/>
          <a:cs typeface="ヒラギノ角ゴ ProN W3" charset="0"/>
          <a:sym typeface="Lucida Grande" charset="0"/>
        </a:defRPr>
      </a:lvl8pPr>
      <a:lvl9pPr marL="1868488" algn="ctr" rtl="0" fontAlgn="base">
        <a:spcBef>
          <a:spcPct val="0"/>
        </a:spcBef>
        <a:spcAft>
          <a:spcPct val="0"/>
        </a:spcAft>
        <a:defRPr sz="4400">
          <a:solidFill>
            <a:schemeClr val="tx1"/>
          </a:solidFill>
          <a:latin typeface="Lucida Grande" charset="0"/>
          <a:ea typeface="ヒラギノ角ゴ ProN W3" charset="0"/>
          <a:cs typeface="ヒラギノ角ゴ ProN W3" charset="0"/>
          <a:sym typeface="Lucida Grande" charset="0"/>
        </a:defRPr>
      </a:lvl9pPr>
    </p:titleStyle>
    <p:bodyStyle>
      <a:lvl1pPr marL="382588" indent="-342900" algn="l" rtl="0" eaLnBrk="0" fontAlgn="base" hangingPunct="0">
        <a:spcBef>
          <a:spcPts val="800"/>
        </a:spcBef>
        <a:spcAft>
          <a:spcPct val="0"/>
        </a:spcAft>
        <a:buClr>
          <a:srgbClr val="000000"/>
        </a:buClr>
        <a:buSzPct val="100000"/>
        <a:buFont typeface="Arial" charset="0"/>
        <a:buChar char="•"/>
        <a:defRPr sz="3200">
          <a:solidFill>
            <a:schemeClr val="tx1"/>
          </a:solidFill>
          <a:latin typeface="+mn-lt"/>
          <a:ea typeface="+mn-ea"/>
          <a:cs typeface="+mn-cs"/>
          <a:sym typeface="Lucida Grande"/>
        </a:defRPr>
      </a:lvl1pPr>
      <a:lvl2pPr marL="731838" indent="-285750" algn="l" rtl="0" eaLnBrk="0" fontAlgn="base" hangingPunct="0">
        <a:spcBef>
          <a:spcPts val="700"/>
        </a:spcBef>
        <a:spcAft>
          <a:spcPct val="0"/>
        </a:spcAft>
        <a:buClr>
          <a:srgbClr val="000000"/>
        </a:buClr>
        <a:buSzPct val="100000"/>
        <a:buFont typeface="Arial" charset="0"/>
        <a:buChar char="–"/>
        <a:defRPr sz="2800">
          <a:solidFill>
            <a:schemeClr val="tx1"/>
          </a:solidFill>
          <a:latin typeface="+mn-lt"/>
          <a:ea typeface="+mn-ea"/>
          <a:cs typeface="+mn-cs"/>
          <a:sym typeface="Lucida Grande"/>
        </a:defRPr>
      </a:lvl2pPr>
      <a:lvl3pPr marL="1131888" indent="-228600" algn="l" rtl="0" eaLnBrk="0" fontAlgn="base" hangingPunct="0">
        <a:spcBef>
          <a:spcPts val="600"/>
        </a:spcBef>
        <a:spcAft>
          <a:spcPct val="0"/>
        </a:spcAft>
        <a:buClr>
          <a:srgbClr val="000000"/>
        </a:buClr>
        <a:buSzPct val="100000"/>
        <a:buFont typeface="Arial" charset="0"/>
        <a:buChar char="•"/>
        <a:defRPr sz="2400">
          <a:solidFill>
            <a:schemeClr val="tx1"/>
          </a:solidFill>
          <a:latin typeface="+mn-lt"/>
          <a:ea typeface="+mn-ea"/>
          <a:cs typeface="+mn-cs"/>
          <a:sym typeface="Lucida Grande"/>
        </a:defRPr>
      </a:lvl3pPr>
      <a:lvl4pPr marL="1589088" indent="-228600" algn="l" rtl="0" eaLnBrk="0" fontAlgn="base" hangingPunct="0">
        <a:spcBef>
          <a:spcPts val="500"/>
        </a:spcBef>
        <a:spcAft>
          <a:spcPct val="0"/>
        </a:spcAft>
        <a:buClr>
          <a:srgbClr val="000000"/>
        </a:buClr>
        <a:buSzPct val="100000"/>
        <a:buFont typeface="Arial" charset="0"/>
        <a:buChar char="–"/>
        <a:defRPr sz="2000">
          <a:solidFill>
            <a:schemeClr val="tx1"/>
          </a:solidFill>
          <a:latin typeface="+mn-lt"/>
          <a:ea typeface="+mn-ea"/>
          <a:cs typeface="+mn-cs"/>
          <a:sym typeface="Lucida Grande"/>
        </a:defRPr>
      </a:lvl4pPr>
      <a:lvl5pPr marL="2046288" indent="-228600" algn="l" rtl="0" eaLnBrk="0" fontAlgn="base" hangingPunct="0">
        <a:spcBef>
          <a:spcPts val="500"/>
        </a:spcBef>
        <a:spcAft>
          <a:spcPct val="0"/>
        </a:spcAft>
        <a:buClr>
          <a:srgbClr val="000000"/>
        </a:buClr>
        <a:buSzPct val="100000"/>
        <a:buFont typeface="Arial" charset="0"/>
        <a:buChar char="»"/>
        <a:defRPr sz="2000">
          <a:solidFill>
            <a:schemeClr val="tx1"/>
          </a:solidFill>
          <a:latin typeface="+mn-lt"/>
          <a:ea typeface="+mn-ea"/>
          <a:cs typeface="+mn-cs"/>
          <a:sym typeface="Lucida Grande"/>
        </a:defRPr>
      </a:lvl5pPr>
      <a:lvl6pPr marL="2503488" indent="-228600" algn="l" rtl="0" fontAlgn="base">
        <a:spcBef>
          <a:spcPts val="500"/>
        </a:spcBef>
        <a:spcAft>
          <a:spcPct val="0"/>
        </a:spcAft>
        <a:buClr>
          <a:srgbClr val="000000"/>
        </a:buClr>
        <a:buSzPct val="100000"/>
        <a:buFont typeface="Arial" charset="0"/>
        <a:buChar char="»"/>
        <a:defRPr sz="2000">
          <a:solidFill>
            <a:schemeClr val="tx1"/>
          </a:solidFill>
          <a:latin typeface="+mn-lt"/>
          <a:ea typeface="+mn-ea"/>
          <a:cs typeface="+mn-cs"/>
          <a:sym typeface="Lucida Grande" charset="0"/>
        </a:defRPr>
      </a:lvl6pPr>
      <a:lvl7pPr marL="2960688" indent="-228600" algn="l" rtl="0" fontAlgn="base">
        <a:spcBef>
          <a:spcPts val="500"/>
        </a:spcBef>
        <a:spcAft>
          <a:spcPct val="0"/>
        </a:spcAft>
        <a:buClr>
          <a:srgbClr val="000000"/>
        </a:buClr>
        <a:buSzPct val="100000"/>
        <a:buFont typeface="Arial" charset="0"/>
        <a:buChar char="»"/>
        <a:defRPr sz="2000">
          <a:solidFill>
            <a:schemeClr val="tx1"/>
          </a:solidFill>
          <a:latin typeface="+mn-lt"/>
          <a:ea typeface="+mn-ea"/>
          <a:cs typeface="+mn-cs"/>
          <a:sym typeface="Lucida Grande" charset="0"/>
        </a:defRPr>
      </a:lvl7pPr>
      <a:lvl8pPr marL="3417888" indent="-228600" algn="l" rtl="0" fontAlgn="base">
        <a:spcBef>
          <a:spcPts val="500"/>
        </a:spcBef>
        <a:spcAft>
          <a:spcPct val="0"/>
        </a:spcAft>
        <a:buClr>
          <a:srgbClr val="000000"/>
        </a:buClr>
        <a:buSzPct val="100000"/>
        <a:buFont typeface="Arial" charset="0"/>
        <a:buChar char="»"/>
        <a:defRPr sz="2000">
          <a:solidFill>
            <a:schemeClr val="tx1"/>
          </a:solidFill>
          <a:latin typeface="+mn-lt"/>
          <a:ea typeface="+mn-ea"/>
          <a:cs typeface="+mn-cs"/>
          <a:sym typeface="Lucida Grande" charset="0"/>
        </a:defRPr>
      </a:lvl8pPr>
      <a:lvl9pPr marL="3875088" indent="-228600" algn="l" rtl="0" fontAlgn="base">
        <a:spcBef>
          <a:spcPts val="500"/>
        </a:spcBef>
        <a:spcAft>
          <a:spcPct val="0"/>
        </a:spcAft>
        <a:buClr>
          <a:srgbClr val="000000"/>
        </a:buClr>
        <a:buSzPct val="100000"/>
        <a:buFont typeface="Arial" charset="0"/>
        <a:buChar char="»"/>
        <a:defRPr sz="2000">
          <a:solidFill>
            <a:schemeClr val="tx1"/>
          </a:solidFill>
          <a:latin typeface="+mn-lt"/>
          <a:ea typeface="+mn-ea"/>
          <a:cs typeface="+mn-cs"/>
          <a:sym typeface="Lucida Grande" charset="0"/>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295938" name="Rectangle 1"/>
          <p:cNvSpPr>
            <a:spLocks noGrp="1" noChangeArrowheads="1"/>
          </p:cNvSpPr>
          <p:nvPr>
            <p:ph type="title"/>
          </p:nvPr>
        </p:nvSpPr>
        <p:spPr bwMode="auto">
          <a:xfrm>
            <a:off x="254000" y="177800"/>
            <a:ext cx="8636000" cy="1714500"/>
          </a:xfrm>
          <a:prstGeom prst="rect">
            <a:avLst/>
          </a:prstGeom>
          <a:noFill/>
          <a:ln w="12700">
            <a:noFill/>
            <a:miter lim="800000"/>
            <a:headEnd/>
            <a:tailEnd/>
          </a:ln>
        </p:spPr>
        <p:txBody>
          <a:bodyPr vert="horz" wrap="square" lIns="38100" tIns="38100" rIns="38100" bIns="38100" numCol="1" anchor="ctr" anchorCtr="0" compatLnSpc="1">
            <a:prstTxWarp prst="textNoShape">
              <a:avLst/>
            </a:prstTxWarp>
          </a:bodyPr>
          <a:lstStyle/>
          <a:p>
            <a:pPr lvl="0"/>
            <a:r>
              <a:rPr lang="en-US" altLang="ja-JP" smtClean="0">
                <a:sym typeface="Gill Sans Light"/>
              </a:rPr>
              <a:t>Click to edit Master title style</a:t>
            </a:r>
          </a:p>
        </p:txBody>
      </p:sp>
      <p:sp>
        <p:nvSpPr>
          <p:cNvPr id="295939" name="Rectangle 2"/>
          <p:cNvSpPr>
            <a:spLocks noGrp="1" noChangeArrowheads="1"/>
          </p:cNvSpPr>
          <p:nvPr>
            <p:ph type="body" idx="1"/>
          </p:nvPr>
        </p:nvSpPr>
        <p:spPr bwMode="auto">
          <a:xfrm>
            <a:off x="254000" y="2235200"/>
            <a:ext cx="4152900" cy="4102100"/>
          </a:xfrm>
          <a:prstGeom prst="rect">
            <a:avLst/>
          </a:prstGeom>
          <a:noFill/>
          <a:ln w="12700">
            <a:noFill/>
            <a:miter lim="800000"/>
            <a:headEnd/>
            <a:tailEnd/>
          </a:ln>
        </p:spPr>
        <p:txBody>
          <a:bodyPr vert="horz" wrap="square" lIns="38100" tIns="38100" rIns="38100" bIns="38100" numCol="1" anchor="ctr" anchorCtr="0" compatLnSpc="1">
            <a:prstTxWarp prst="textNoShape">
              <a:avLst/>
            </a:prstTxWarp>
          </a:bodyPr>
          <a:lstStyle/>
          <a:p>
            <a:pPr lvl="0"/>
            <a:r>
              <a:rPr lang="en-US" altLang="ja-JP" smtClean="0">
                <a:sym typeface="Gill Sans Light"/>
              </a:rPr>
              <a:t>Click to edit Master text styles</a:t>
            </a:r>
          </a:p>
          <a:p>
            <a:pPr lvl="1"/>
            <a:r>
              <a:rPr lang="en-US" altLang="ja-JP" smtClean="0">
                <a:sym typeface="Gill Sans Light"/>
              </a:rPr>
              <a:t>Second level</a:t>
            </a:r>
          </a:p>
          <a:p>
            <a:pPr lvl="2"/>
            <a:r>
              <a:rPr lang="en-US" altLang="ja-JP" smtClean="0">
                <a:sym typeface="Gill Sans Light"/>
              </a:rPr>
              <a:t>Third level</a:t>
            </a:r>
          </a:p>
          <a:p>
            <a:pPr lvl="3"/>
            <a:r>
              <a:rPr lang="en-US" altLang="ja-JP" smtClean="0">
                <a:sym typeface="Gill Sans Light"/>
              </a:rPr>
              <a:t>Fourth level</a:t>
            </a:r>
          </a:p>
          <a:p>
            <a:pPr lvl="4"/>
            <a:r>
              <a:rPr lang="en-US" altLang="ja-JP" smtClean="0">
                <a:sym typeface="Gill Sans Light"/>
              </a:rPr>
              <a:t>Fifth level</a:t>
            </a:r>
          </a:p>
        </p:txBody>
      </p:sp>
    </p:spTree>
  </p:cSld>
  <p:clrMap bg1="lt1" tx1="dk1" bg2="lt2" tx2="dk2" accent1="accent1" accent2="accent2" accent3="accent3" accent4="accent4" accent5="accent5" accent6="accent6" hlink="hlink" folHlink="folHlink"/>
  <p:sldLayoutIdLst>
    <p:sldLayoutId id="2147483945" r:id="rId1"/>
    <p:sldLayoutId id="2147483946" r:id="rId2"/>
    <p:sldLayoutId id="2147483947" r:id="rId3"/>
    <p:sldLayoutId id="2147483948" r:id="rId4"/>
    <p:sldLayoutId id="2147483949" r:id="rId5"/>
    <p:sldLayoutId id="2147483950" r:id="rId6"/>
    <p:sldLayoutId id="2147483951" r:id="rId7"/>
    <p:sldLayoutId id="2147483952" r:id="rId8"/>
    <p:sldLayoutId id="2147483953" r:id="rId9"/>
    <p:sldLayoutId id="2147483954" r:id="rId10"/>
    <p:sldLayoutId id="2147483955" r:id="rId11"/>
  </p:sldLayoutIdLst>
  <p:transition/>
  <p:hf hdr="0" ftr="0" dt="0"/>
  <p:txStyles>
    <p:titleStyle>
      <a:lvl1pPr algn="ctr" rtl="0" eaLnBrk="0" fontAlgn="base" hangingPunct="0">
        <a:spcBef>
          <a:spcPct val="0"/>
        </a:spcBef>
        <a:spcAft>
          <a:spcPct val="0"/>
        </a:spcAft>
        <a:defRPr sz="5000">
          <a:solidFill>
            <a:schemeClr val="tx1"/>
          </a:solidFill>
          <a:latin typeface="+mj-lt"/>
          <a:ea typeface="+mj-ea"/>
          <a:cs typeface="+mj-cs"/>
          <a:sym typeface="Gill Sans Light"/>
        </a:defRPr>
      </a:lvl1pPr>
      <a:lvl2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2pPr>
      <a:lvl3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3pPr>
      <a:lvl4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4pPr>
      <a:lvl5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5pPr>
      <a:lvl6pPr marL="4572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6pPr>
      <a:lvl7pPr marL="9144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7pPr>
      <a:lvl8pPr marL="13716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8pPr>
      <a:lvl9pPr marL="18288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9pPr>
    </p:titleStyle>
    <p:bodyStyle>
      <a:lvl1pPr marL="228600" indent="-228600" algn="l" rtl="0" eaLnBrk="0" fontAlgn="base" hangingPunct="0">
        <a:spcBef>
          <a:spcPts val="2700"/>
        </a:spcBef>
        <a:spcAft>
          <a:spcPct val="0"/>
        </a:spcAft>
        <a:buClr>
          <a:srgbClr val="414141"/>
        </a:buClr>
        <a:buSzPct val="81000"/>
        <a:buFont typeface="Gill Sans Light"/>
        <a:buChar char="•"/>
        <a:defRPr sz="2400">
          <a:solidFill>
            <a:schemeClr val="tx1"/>
          </a:solidFill>
          <a:latin typeface="+mn-lt"/>
          <a:ea typeface="+mn-ea"/>
          <a:cs typeface="+mn-cs"/>
          <a:sym typeface="Gill Sans Light"/>
        </a:defRPr>
      </a:lvl1pPr>
      <a:lvl2pPr marL="508000" indent="-228600" algn="l" rtl="0" eaLnBrk="0" fontAlgn="base" hangingPunct="0">
        <a:spcBef>
          <a:spcPts val="2700"/>
        </a:spcBef>
        <a:spcAft>
          <a:spcPct val="0"/>
        </a:spcAft>
        <a:buClr>
          <a:srgbClr val="414141"/>
        </a:buClr>
        <a:buSzPct val="81000"/>
        <a:buFont typeface="Gill Sans Light"/>
        <a:buChar char="•"/>
        <a:defRPr sz="2400">
          <a:solidFill>
            <a:schemeClr val="tx1"/>
          </a:solidFill>
          <a:latin typeface="+mn-lt"/>
          <a:ea typeface="+mn-ea"/>
          <a:cs typeface="+mn-cs"/>
          <a:sym typeface="Gill Sans Light"/>
        </a:defRPr>
      </a:lvl2pPr>
      <a:lvl3pPr marL="825500" indent="-228600" algn="l" rtl="0" eaLnBrk="0" fontAlgn="base" hangingPunct="0">
        <a:spcBef>
          <a:spcPts val="2700"/>
        </a:spcBef>
        <a:spcAft>
          <a:spcPct val="0"/>
        </a:spcAft>
        <a:buClr>
          <a:srgbClr val="414141"/>
        </a:buClr>
        <a:buSzPct val="81000"/>
        <a:buFont typeface="Gill Sans Light"/>
        <a:buChar char="•"/>
        <a:defRPr sz="2400">
          <a:solidFill>
            <a:schemeClr val="tx1"/>
          </a:solidFill>
          <a:latin typeface="+mn-lt"/>
          <a:ea typeface="+mn-ea"/>
          <a:cs typeface="+mn-cs"/>
          <a:sym typeface="Gill Sans Light"/>
        </a:defRPr>
      </a:lvl3pPr>
      <a:lvl4pPr marL="1143000" indent="-228600" algn="l" rtl="0" eaLnBrk="0" fontAlgn="base" hangingPunct="0">
        <a:spcBef>
          <a:spcPts val="2700"/>
        </a:spcBef>
        <a:spcAft>
          <a:spcPct val="0"/>
        </a:spcAft>
        <a:buClr>
          <a:srgbClr val="414141"/>
        </a:buClr>
        <a:buSzPct val="81000"/>
        <a:buFont typeface="Gill Sans Light"/>
        <a:buChar char="•"/>
        <a:defRPr sz="2400">
          <a:solidFill>
            <a:schemeClr val="tx1"/>
          </a:solidFill>
          <a:latin typeface="+mn-lt"/>
          <a:ea typeface="+mn-ea"/>
          <a:cs typeface="+mn-cs"/>
          <a:sym typeface="Gill Sans Light"/>
        </a:defRPr>
      </a:lvl4pPr>
      <a:lvl5pPr marL="1460500" indent="-228600" algn="l" rtl="0" eaLnBrk="0" fontAlgn="base" hangingPunct="0">
        <a:spcBef>
          <a:spcPts val="2700"/>
        </a:spcBef>
        <a:spcAft>
          <a:spcPct val="0"/>
        </a:spcAft>
        <a:buClr>
          <a:srgbClr val="414141"/>
        </a:buClr>
        <a:buSzPct val="81000"/>
        <a:buFont typeface="Gill Sans Light"/>
        <a:buChar char="•"/>
        <a:defRPr sz="2400">
          <a:solidFill>
            <a:schemeClr val="tx1"/>
          </a:solidFill>
          <a:latin typeface="+mn-lt"/>
          <a:ea typeface="+mn-ea"/>
          <a:cs typeface="+mn-cs"/>
          <a:sym typeface="Gill Sans Light"/>
        </a:defRPr>
      </a:lvl5pPr>
      <a:lvl6pPr marL="1917700" indent="-228600" algn="l" rtl="0" fontAlgn="base">
        <a:spcBef>
          <a:spcPts val="2700"/>
        </a:spcBef>
        <a:spcAft>
          <a:spcPct val="0"/>
        </a:spcAft>
        <a:buClr>
          <a:srgbClr val="414141"/>
        </a:buClr>
        <a:buSzPct val="81000"/>
        <a:buFont typeface="Gill Sans Light" charset="0"/>
        <a:buChar char="•"/>
        <a:defRPr sz="2400">
          <a:solidFill>
            <a:schemeClr val="tx1"/>
          </a:solidFill>
          <a:latin typeface="+mn-lt"/>
          <a:ea typeface="+mn-ea"/>
          <a:cs typeface="+mn-cs"/>
          <a:sym typeface="Gill Sans Light" charset="0"/>
        </a:defRPr>
      </a:lvl6pPr>
      <a:lvl7pPr marL="2374900" indent="-228600" algn="l" rtl="0" fontAlgn="base">
        <a:spcBef>
          <a:spcPts val="2700"/>
        </a:spcBef>
        <a:spcAft>
          <a:spcPct val="0"/>
        </a:spcAft>
        <a:buClr>
          <a:srgbClr val="414141"/>
        </a:buClr>
        <a:buSzPct val="81000"/>
        <a:buFont typeface="Gill Sans Light" charset="0"/>
        <a:buChar char="•"/>
        <a:defRPr sz="2400">
          <a:solidFill>
            <a:schemeClr val="tx1"/>
          </a:solidFill>
          <a:latin typeface="+mn-lt"/>
          <a:ea typeface="+mn-ea"/>
          <a:cs typeface="+mn-cs"/>
          <a:sym typeface="Gill Sans Light" charset="0"/>
        </a:defRPr>
      </a:lvl7pPr>
      <a:lvl8pPr marL="2832100" indent="-228600" algn="l" rtl="0" fontAlgn="base">
        <a:spcBef>
          <a:spcPts val="2700"/>
        </a:spcBef>
        <a:spcAft>
          <a:spcPct val="0"/>
        </a:spcAft>
        <a:buClr>
          <a:srgbClr val="414141"/>
        </a:buClr>
        <a:buSzPct val="81000"/>
        <a:buFont typeface="Gill Sans Light" charset="0"/>
        <a:buChar char="•"/>
        <a:defRPr sz="2400">
          <a:solidFill>
            <a:schemeClr val="tx1"/>
          </a:solidFill>
          <a:latin typeface="+mn-lt"/>
          <a:ea typeface="+mn-ea"/>
          <a:cs typeface="+mn-cs"/>
          <a:sym typeface="Gill Sans Light" charset="0"/>
        </a:defRPr>
      </a:lvl8pPr>
      <a:lvl9pPr marL="3289300" indent="-228600" algn="l" rtl="0" fontAlgn="base">
        <a:spcBef>
          <a:spcPts val="2700"/>
        </a:spcBef>
        <a:spcAft>
          <a:spcPct val="0"/>
        </a:spcAft>
        <a:buClr>
          <a:srgbClr val="414141"/>
        </a:buClr>
        <a:buSzPct val="81000"/>
        <a:buFont typeface="Gill Sans Light" charset="0"/>
        <a:buChar char="•"/>
        <a:defRPr sz="2400">
          <a:solidFill>
            <a:schemeClr val="tx1"/>
          </a:solidFill>
          <a:latin typeface="+mn-lt"/>
          <a:ea typeface="+mn-ea"/>
          <a:cs typeface="+mn-cs"/>
          <a:sym typeface="Gill Sans Light" charset="0"/>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308226" name="Rectangle 1"/>
          <p:cNvSpPr>
            <a:spLocks noGrp="1" noChangeArrowheads="1"/>
          </p:cNvSpPr>
          <p:nvPr>
            <p:ph type="title"/>
          </p:nvPr>
        </p:nvSpPr>
        <p:spPr bwMode="auto">
          <a:xfrm>
            <a:off x="254000" y="177800"/>
            <a:ext cx="8636000" cy="1714500"/>
          </a:xfrm>
          <a:prstGeom prst="rect">
            <a:avLst/>
          </a:prstGeom>
          <a:noFill/>
          <a:ln w="12700">
            <a:noFill/>
            <a:miter lim="800000"/>
            <a:headEnd/>
            <a:tailEnd/>
          </a:ln>
        </p:spPr>
        <p:txBody>
          <a:bodyPr vert="horz" wrap="square" lIns="38100" tIns="38100" rIns="38100" bIns="38100" numCol="1" anchor="ctr" anchorCtr="0" compatLnSpc="1">
            <a:prstTxWarp prst="textNoShape">
              <a:avLst/>
            </a:prstTxWarp>
          </a:bodyPr>
          <a:lstStyle/>
          <a:p>
            <a:pPr lvl="0"/>
            <a:r>
              <a:rPr lang="en-US" altLang="ja-JP" smtClean="0">
                <a:sym typeface="Gill Sans Light"/>
              </a:rPr>
              <a:t>Click to edit Master title style</a:t>
            </a:r>
          </a:p>
        </p:txBody>
      </p:sp>
      <p:sp>
        <p:nvSpPr>
          <p:cNvPr id="308227" name="Rectangle 2"/>
          <p:cNvSpPr>
            <a:spLocks noGrp="1" noChangeArrowheads="1"/>
          </p:cNvSpPr>
          <p:nvPr>
            <p:ph type="body" idx="1"/>
          </p:nvPr>
        </p:nvSpPr>
        <p:spPr bwMode="auto">
          <a:xfrm>
            <a:off x="254000" y="2235200"/>
            <a:ext cx="4152900" cy="4102100"/>
          </a:xfrm>
          <a:prstGeom prst="rect">
            <a:avLst/>
          </a:prstGeom>
          <a:noFill/>
          <a:ln w="12700">
            <a:noFill/>
            <a:miter lim="800000"/>
            <a:headEnd/>
            <a:tailEnd/>
          </a:ln>
        </p:spPr>
        <p:txBody>
          <a:bodyPr vert="horz" wrap="square" lIns="38100" tIns="38100" rIns="38100" bIns="38100" numCol="1" anchor="ctr" anchorCtr="0" compatLnSpc="1">
            <a:prstTxWarp prst="textNoShape">
              <a:avLst/>
            </a:prstTxWarp>
          </a:bodyPr>
          <a:lstStyle/>
          <a:p>
            <a:pPr lvl="0"/>
            <a:r>
              <a:rPr lang="en-US" altLang="ja-JP" smtClean="0">
                <a:sym typeface="Gill Sans Light"/>
              </a:rPr>
              <a:t>Click to edit Master text styles</a:t>
            </a:r>
          </a:p>
          <a:p>
            <a:pPr lvl="1"/>
            <a:r>
              <a:rPr lang="en-US" altLang="ja-JP" smtClean="0">
                <a:sym typeface="Gill Sans Light"/>
              </a:rPr>
              <a:t>Second level</a:t>
            </a:r>
          </a:p>
          <a:p>
            <a:pPr lvl="2"/>
            <a:r>
              <a:rPr lang="en-US" altLang="ja-JP" smtClean="0">
                <a:sym typeface="Gill Sans Light"/>
              </a:rPr>
              <a:t>Third level</a:t>
            </a:r>
          </a:p>
          <a:p>
            <a:pPr lvl="3"/>
            <a:r>
              <a:rPr lang="en-US" altLang="ja-JP" smtClean="0">
                <a:sym typeface="Gill Sans Light"/>
              </a:rPr>
              <a:t>Fourth level</a:t>
            </a:r>
          </a:p>
          <a:p>
            <a:pPr lvl="4"/>
            <a:r>
              <a:rPr lang="en-US" altLang="ja-JP" smtClean="0">
                <a:sym typeface="Gill Sans Light"/>
              </a:rPr>
              <a:t>Fifth level</a:t>
            </a:r>
          </a:p>
        </p:txBody>
      </p:sp>
    </p:spTree>
  </p:cSld>
  <p:clrMap bg1="lt1" tx1="dk1" bg2="lt2" tx2="dk2" accent1="accent1" accent2="accent2" accent3="accent3" accent4="accent4" accent5="accent5" accent6="accent6" hlink="hlink" folHlink="folHlink"/>
  <p:sldLayoutIdLst>
    <p:sldLayoutId id="2147483956" r:id="rId1"/>
    <p:sldLayoutId id="2147483957" r:id="rId2"/>
    <p:sldLayoutId id="2147483958" r:id="rId3"/>
    <p:sldLayoutId id="2147483959" r:id="rId4"/>
    <p:sldLayoutId id="2147483960" r:id="rId5"/>
    <p:sldLayoutId id="2147483961" r:id="rId6"/>
    <p:sldLayoutId id="2147483962" r:id="rId7"/>
    <p:sldLayoutId id="2147483963" r:id="rId8"/>
    <p:sldLayoutId id="2147483964" r:id="rId9"/>
    <p:sldLayoutId id="2147483965" r:id="rId10"/>
    <p:sldLayoutId id="2147483966" r:id="rId11"/>
  </p:sldLayoutIdLst>
  <p:transition/>
  <p:hf hdr="0" ftr="0" dt="0"/>
  <p:txStyles>
    <p:titleStyle>
      <a:lvl1pPr algn="ctr" rtl="0" eaLnBrk="0" fontAlgn="base" hangingPunct="0">
        <a:spcBef>
          <a:spcPct val="0"/>
        </a:spcBef>
        <a:spcAft>
          <a:spcPct val="0"/>
        </a:spcAft>
        <a:defRPr sz="5000">
          <a:solidFill>
            <a:schemeClr val="tx1"/>
          </a:solidFill>
          <a:latin typeface="+mj-lt"/>
          <a:ea typeface="+mj-ea"/>
          <a:cs typeface="+mj-cs"/>
          <a:sym typeface="Gill Sans Light"/>
        </a:defRPr>
      </a:lvl1pPr>
      <a:lvl2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2pPr>
      <a:lvl3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3pPr>
      <a:lvl4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4pPr>
      <a:lvl5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5pPr>
      <a:lvl6pPr marL="4572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6pPr>
      <a:lvl7pPr marL="9144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7pPr>
      <a:lvl8pPr marL="13716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8pPr>
      <a:lvl9pPr marL="18288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9pPr>
    </p:titleStyle>
    <p:bodyStyle>
      <a:lvl1pPr marL="228600" indent="-228600" algn="l" rtl="0" eaLnBrk="0" fontAlgn="base" hangingPunct="0">
        <a:spcBef>
          <a:spcPts val="2700"/>
        </a:spcBef>
        <a:spcAft>
          <a:spcPct val="0"/>
        </a:spcAft>
        <a:buClr>
          <a:srgbClr val="414141"/>
        </a:buClr>
        <a:buSzPct val="81000"/>
        <a:buFont typeface="Gill Sans Light"/>
        <a:buChar char="•"/>
        <a:defRPr sz="2400">
          <a:solidFill>
            <a:schemeClr val="tx1"/>
          </a:solidFill>
          <a:latin typeface="+mn-lt"/>
          <a:ea typeface="+mn-ea"/>
          <a:cs typeface="+mn-cs"/>
          <a:sym typeface="Gill Sans Light"/>
        </a:defRPr>
      </a:lvl1pPr>
      <a:lvl2pPr marL="508000" indent="-228600" algn="l" rtl="0" eaLnBrk="0" fontAlgn="base" hangingPunct="0">
        <a:spcBef>
          <a:spcPts val="2700"/>
        </a:spcBef>
        <a:spcAft>
          <a:spcPct val="0"/>
        </a:spcAft>
        <a:buClr>
          <a:srgbClr val="414141"/>
        </a:buClr>
        <a:buSzPct val="81000"/>
        <a:buFont typeface="Gill Sans Light"/>
        <a:buChar char="•"/>
        <a:defRPr sz="2400">
          <a:solidFill>
            <a:schemeClr val="tx1"/>
          </a:solidFill>
          <a:latin typeface="+mn-lt"/>
          <a:ea typeface="+mn-ea"/>
          <a:cs typeface="+mn-cs"/>
          <a:sym typeface="Gill Sans Light"/>
        </a:defRPr>
      </a:lvl2pPr>
      <a:lvl3pPr marL="825500" indent="-228600" algn="l" rtl="0" eaLnBrk="0" fontAlgn="base" hangingPunct="0">
        <a:spcBef>
          <a:spcPts val="2700"/>
        </a:spcBef>
        <a:spcAft>
          <a:spcPct val="0"/>
        </a:spcAft>
        <a:buClr>
          <a:srgbClr val="414141"/>
        </a:buClr>
        <a:buSzPct val="81000"/>
        <a:buFont typeface="Gill Sans Light"/>
        <a:buChar char="•"/>
        <a:defRPr sz="2400">
          <a:solidFill>
            <a:schemeClr val="tx1"/>
          </a:solidFill>
          <a:latin typeface="+mn-lt"/>
          <a:ea typeface="+mn-ea"/>
          <a:cs typeface="+mn-cs"/>
          <a:sym typeface="Gill Sans Light"/>
        </a:defRPr>
      </a:lvl3pPr>
      <a:lvl4pPr marL="1143000" indent="-228600" algn="l" rtl="0" eaLnBrk="0" fontAlgn="base" hangingPunct="0">
        <a:spcBef>
          <a:spcPts val="2700"/>
        </a:spcBef>
        <a:spcAft>
          <a:spcPct val="0"/>
        </a:spcAft>
        <a:buClr>
          <a:srgbClr val="414141"/>
        </a:buClr>
        <a:buSzPct val="81000"/>
        <a:buFont typeface="Gill Sans Light"/>
        <a:buChar char="•"/>
        <a:defRPr sz="2400">
          <a:solidFill>
            <a:schemeClr val="tx1"/>
          </a:solidFill>
          <a:latin typeface="+mn-lt"/>
          <a:ea typeface="+mn-ea"/>
          <a:cs typeface="+mn-cs"/>
          <a:sym typeface="Gill Sans Light"/>
        </a:defRPr>
      </a:lvl4pPr>
      <a:lvl5pPr marL="1460500" indent="-228600" algn="l" rtl="0" eaLnBrk="0" fontAlgn="base" hangingPunct="0">
        <a:spcBef>
          <a:spcPts val="2700"/>
        </a:spcBef>
        <a:spcAft>
          <a:spcPct val="0"/>
        </a:spcAft>
        <a:buClr>
          <a:srgbClr val="414141"/>
        </a:buClr>
        <a:buSzPct val="81000"/>
        <a:buFont typeface="Gill Sans Light"/>
        <a:buChar char="•"/>
        <a:defRPr sz="2400">
          <a:solidFill>
            <a:schemeClr val="tx1"/>
          </a:solidFill>
          <a:latin typeface="+mn-lt"/>
          <a:ea typeface="+mn-ea"/>
          <a:cs typeface="+mn-cs"/>
          <a:sym typeface="Gill Sans Light"/>
        </a:defRPr>
      </a:lvl5pPr>
      <a:lvl6pPr marL="1917700" indent="-228600" algn="l" rtl="0" fontAlgn="base">
        <a:spcBef>
          <a:spcPts val="2700"/>
        </a:spcBef>
        <a:spcAft>
          <a:spcPct val="0"/>
        </a:spcAft>
        <a:buClr>
          <a:srgbClr val="414141"/>
        </a:buClr>
        <a:buSzPct val="81000"/>
        <a:buFont typeface="Gill Sans Light" charset="0"/>
        <a:buChar char="•"/>
        <a:defRPr sz="2400">
          <a:solidFill>
            <a:schemeClr val="tx1"/>
          </a:solidFill>
          <a:latin typeface="+mn-lt"/>
          <a:ea typeface="+mn-ea"/>
          <a:cs typeface="+mn-cs"/>
          <a:sym typeface="Gill Sans Light" charset="0"/>
        </a:defRPr>
      </a:lvl6pPr>
      <a:lvl7pPr marL="2374900" indent="-228600" algn="l" rtl="0" fontAlgn="base">
        <a:spcBef>
          <a:spcPts val="2700"/>
        </a:spcBef>
        <a:spcAft>
          <a:spcPct val="0"/>
        </a:spcAft>
        <a:buClr>
          <a:srgbClr val="414141"/>
        </a:buClr>
        <a:buSzPct val="81000"/>
        <a:buFont typeface="Gill Sans Light" charset="0"/>
        <a:buChar char="•"/>
        <a:defRPr sz="2400">
          <a:solidFill>
            <a:schemeClr val="tx1"/>
          </a:solidFill>
          <a:latin typeface="+mn-lt"/>
          <a:ea typeface="+mn-ea"/>
          <a:cs typeface="+mn-cs"/>
          <a:sym typeface="Gill Sans Light" charset="0"/>
        </a:defRPr>
      </a:lvl7pPr>
      <a:lvl8pPr marL="2832100" indent="-228600" algn="l" rtl="0" fontAlgn="base">
        <a:spcBef>
          <a:spcPts val="2700"/>
        </a:spcBef>
        <a:spcAft>
          <a:spcPct val="0"/>
        </a:spcAft>
        <a:buClr>
          <a:srgbClr val="414141"/>
        </a:buClr>
        <a:buSzPct val="81000"/>
        <a:buFont typeface="Gill Sans Light" charset="0"/>
        <a:buChar char="•"/>
        <a:defRPr sz="2400">
          <a:solidFill>
            <a:schemeClr val="tx1"/>
          </a:solidFill>
          <a:latin typeface="+mn-lt"/>
          <a:ea typeface="+mn-ea"/>
          <a:cs typeface="+mn-cs"/>
          <a:sym typeface="Gill Sans Light" charset="0"/>
        </a:defRPr>
      </a:lvl8pPr>
      <a:lvl9pPr marL="3289300" indent="-228600" algn="l" rtl="0" fontAlgn="base">
        <a:spcBef>
          <a:spcPts val="2700"/>
        </a:spcBef>
        <a:spcAft>
          <a:spcPct val="0"/>
        </a:spcAft>
        <a:buClr>
          <a:srgbClr val="414141"/>
        </a:buClr>
        <a:buSzPct val="81000"/>
        <a:buFont typeface="Gill Sans Light" charset="0"/>
        <a:buChar char="•"/>
        <a:defRPr sz="2400">
          <a:solidFill>
            <a:schemeClr val="tx1"/>
          </a:solidFill>
          <a:latin typeface="+mn-lt"/>
          <a:ea typeface="+mn-ea"/>
          <a:cs typeface="+mn-cs"/>
          <a:sym typeface="Gill Sans Light" charset="0"/>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697" name="Rectangle 1"/>
          <p:cNvSpPr>
            <a:spLocks/>
          </p:cNvSpPr>
          <p:nvPr/>
        </p:nvSpPr>
        <p:spPr bwMode="auto">
          <a:xfrm>
            <a:off x="8027988" y="44450"/>
            <a:ext cx="865187" cy="317500"/>
          </a:xfrm>
          <a:prstGeom prst="rect">
            <a:avLst/>
          </a:prstGeom>
          <a:noFill/>
          <a:ln w="12700" cap="flat">
            <a:noFill/>
            <a:miter lim="800000"/>
            <a:headEnd type="none" w="med" len="med"/>
            <a:tailEnd type="none" w="med" len="med"/>
          </a:ln>
        </p:spPr>
        <p:txBody>
          <a:bodyPr wrap="none" lIns="0" tIns="0" rIns="40639" bIns="0">
            <a:spAutoFit/>
          </a:bodyPr>
          <a:lstStyle/>
          <a:p>
            <a:pPr marL="39688">
              <a:defRPr/>
            </a:pPr>
            <a:r>
              <a:rPr kumimoji="0" lang="ja-JP" altLang="en-US" sz="1400">
                <a:solidFill>
                  <a:schemeClr val="tx1"/>
                </a:solidFill>
                <a:latin typeface="Lucida Grande" charset="0"/>
                <a:ea typeface="ＭＳ Ｐゴシック" charset="-128"/>
                <a:cs typeface="ヒラギノ角ゴ ProN W3" charset="0"/>
                <a:sym typeface="Lucida Grande" charset="0"/>
              </a:rPr>
              <a:t>機密性２</a:t>
            </a:r>
          </a:p>
        </p:txBody>
      </p:sp>
      <p:sp>
        <p:nvSpPr>
          <p:cNvPr id="320515" name="Rectangle 2"/>
          <p:cNvSpPr>
            <a:spLocks noGrp="1" noChangeArrowheads="1"/>
          </p:cNvSpPr>
          <p:nvPr>
            <p:ph type="title"/>
          </p:nvPr>
        </p:nvSpPr>
        <p:spPr bwMode="auto">
          <a:xfrm>
            <a:off x="457200" y="90488"/>
            <a:ext cx="8229600" cy="1509712"/>
          </a:xfrm>
          <a:prstGeom prst="rect">
            <a:avLst/>
          </a:prstGeom>
          <a:noFill/>
          <a:ln w="12700">
            <a:noFill/>
            <a:miter lim="800000"/>
            <a:headEnd/>
            <a:tailEnd/>
          </a:ln>
        </p:spPr>
        <p:txBody>
          <a:bodyPr vert="horz" wrap="square" lIns="50800" tIns="50800" rIns="91440" bIns="50800" numCol="1" anchor="ctr" anchorCtr="0" compatLnSpc="1">
            <a:prstTxWarp prst="textNoShape">
              <a:avLst/>
            </a:prstTxWarp>
          </a:bodyPr>
          <a:lstStyle/>
          <a:p>
            <a:pPr lvl="0"/>
            <a:r>
              <a:rPr lang="en-US" altLang="ja-JP" smtClean="0">
                <a:sym typeface="Lucida Grande"/>
              </a:rPr>
              <a:t>Click to edit Master title style</a:t>
            </a:r>
          </a:p>
        </p:txBody>
      </p:sp>
      <p:sp>
        <p:nvSpPr>
          <p:cNvPr id="320516" name="Rectangle 3"/>
          <p:cNvSpPr>
            <a:spLocks noGrp="1" noChangeArrowheads="1"/>
          </p:cNvSpPr>
          <p:nvPr>
            <p:ph type="body" idx="1"/>
          </p:nvPr>
        </p:nvSpPr>
        <p:spPr bwMode="auto">
          <a:xfrm>
            <a:off x="457200" y="1600200"/>
            <a:ext cx="8229600" cy="5257800"/>
          </a:xfrm>
          <a:prstGeom prst="rect">
            <a:avLst/>
          </a:prstGeom>
          <a:noFill/>
          <a:ln w="12700">
            <a:noFill/>
            <a:miter lim="800000"/>
            <a:headEnd/>
            <a:tailEnd/>
          </a:ln>
        </p:spPr>
        <p:txBody>
          <a:bodyPr vert="horz" wrap="square" lIns="50800" tIns="50800" rIns="91440" bIns="50800" numCol="1" anchor="t" anchorCtr="0" compatLnSpc="1">
            <a:prstTxWarp prst="textNoShape">
              <a:avLst/>
            </a:prstTxWarp>
          </a:bodyPr>
          <a:lstStyle/>
          <a:p>
            <a:pPr lvl="0"/>
            <a:r>
              <a:rPr lang="en-US" altLang="ja-JP" smtClean="0">
                <a:sym typeface="Lucida Grande"/>
              </a:rPr>
              <a:t>Click to edit Master text styles</a:t>
            </a:r>
          </a:p>
          <a:p>
            <a:pPr lvl="1"/>
            <a:r>
              <a:rPr lang="en-US" altLang="ja-JP" smtClean="0">
                <a:sym typeface="Lucida Grande"/>
              </a:rPr>
              <a:t>Second level</a:t>
            </a:r>
          </a:p>
          <a:p>
            <a:pPr lvl="2"/>
            <a:r>
              <a:rPr lang="en-US" altLang="ja-JP" smtClean="0">
                <a:sym typeface="Lucida Grande"/>
              </a:rPr>
              <a:t>Third level</a:t>
            </a:r>
          </a:p>
          <a:p>
            <a:pPr lvl="3"/>
            <a:r>
              <a:rPr lang="en-US" altLang="ja-JP" smtClean="0">
                <a:sym typeface="Lucida Grande"/>
              </a:rPr>
              <a:t>Fourth level</a:t>
            </a:r>
          </a:p>
          <a:p>
            <a:pPr lvl="4"/>
            <a:r>
              <a:rPr lang="en-US" altLang="ja-JP" smtClean="0">
                <a:sym typeface="Lucida Grande"/>
              </a:rPr>
              <a:t>Fifth level</a:t>
            </a:r>
          </a:p>
        </p:txBody>
      </p:sp>
      <p:sp>
        <p:nvSpPr>
          <p:cNvPr id="29700" name="Text Box 4"/>
          <p:cNvSpPr txBox="1">
            <a:spLocks noGrp="1" noChangeArrowheads="1"/>
          </p:cNvSpPr>
          <p:nvPr>
            <p:ph type="sldNum" sz="quarter" idx="4"/>
          </p:nvPr>
        </p:nvSpPr>
        <p:spPr bwMode="auto">
          <a:xfrm>
            <a:off x="7466013" y="6392863"/>
            <a:ext cx="306387" cy="292100"/>
          </a:xfrm>
          <a:prstGeom prst="rect">
            <a:avLst/>
          </a:prstGeom>
          <a:noFill/>
          <a:ln w="12700">
            <a:noFill/>
            <a:miter lim="800000"/>
            <a:headEnd/>
            <a:tailEnd/>
          </a:ln>
          <a:effectLst/>
        </p:spPr>
        <p:txBody>
          <a:bodyPr vert="horz" wrap="none" lIns="91440" tIns="45720" rIns="91440" bIns="45720" numCol="1" anchor="ctr" anchorCtr="0" compatLnSpc="1">
            <a:prstTxWarp prst="textNoShape">
              <a:avLst/>
            </a:prstTxWarp>
          </a:bodyPr>
          <a:lstStyle>
            <a:lvl1pPr algn="ctr">
              <a:defRPr kumimoji="0" sz="1200">
                <a:solidFill>
                  <a:srgbClr val="898989"/>
                </a:solidFill>
                <a:latin typeface="Lucida Grande" charset="0"/>
                <a:ea typeface="ＭＳ Ｐゴシック" charset="-128"/>
                <a:cs typeface="ヒラギノ角ゴ ProN W3" charset="0"/>
                <a:sym typeface="Lucida Grande" charset="0"/>
              </a:defRPr>
            </a:lvl1pPr>
          </a:lstStyle>
          <a:p>
            <a:pPr>
              <a:defRPr/>
            </a:pPr>
            <a:fld id="{8BB3ADA2-797D-46AE-82F5-BF706393B43D}" type="slidenum">
              <a:rPr lang="en-US" altLang="ja-JP"/>
              <a:pPr>
                <a:defRPr/>
              </a:pPr>
              <a:t>‹#›</a:t>
            </a:fld>
            <a:endParaRPr lang="en-US" altLang="ja-JP" dirty="0"/>
          </a:p>
        </p:txBody>
      </p:sp>
    </p:spTree>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 id="2147483972" r:id="rId6"/>
    <p:sldLayoutId id="2147483973" r:id="rId7"/>
    <p:sldLayoutId id="2147483974" r:id="rId8"/>
    <p:sldLayoutId id="2147483975" r:id="rId9"/>
    <p:sldLayoutId id="2147483976" r:id="rId10"/>
    <p:sldLayoutId id="2147483977" r:id="rId11"/>
  </p:sldLayoutIdLst>
  <p:transition/>
  <p:hf hdr="0" ftr="0" dt="0"/>
  <p:txStyles>
    <p:titleStyle>
      <a:lvl1pPr marL="39688" algn="ctr" rtl="0" eaLnBrk="0" fontAlgn="base" hangingPunct="0">
        <a:spcBef>
          <a:spcPct val="0"/>
        </a:spcBef>
        <a:spcAft>
          <a:spcPct val="0"/>
        </a:spcAft>
        <a:defRPr sz="4400">
          <a:solidFill>
            <a:schemeClr val="tx1"/>
          </a:solidFill>
          <a:latin typeface="+mj-lt"/>
          <a:ea typeface="+mj-ea"/>
          <a:cs typeface="+mj-cs"/>
          <a:sym typeface="Lucida Grande"/>
        </a:defRPr>
      </a:lvl1pPr>
      <a:lvl2pPr marL="39688" algn="ctr" rtl="0" eaLnBrk="0" fontAlgn="base" hangingPunct="0">
        <a:spcBef>
          <a:spcPct val="0"/>
        </a:spcBef>
        <a:spcAft>
          <a:spcPct val="0"/>
        </a:spcAft>
        <a:defRPr sz="4400">
          <a:solidFill>
            <a:schemeClr val="tx1"/>
          </a:solidFill>
          <a:latin typeface="Lucida Grande" charset="0"/>
          <a:ea typeface="ヒラギノ角ゴ ProN W3" charset="0"/>
          <a:cs typeface="ヒラギノ角ゴ ProN W3" charset="0"/>
          <a:sym typeface="Lucida Grande"/>
        </a:defRPr>
      </a:lvl2pPr>
      <a:lvl3pPr marL="39688" algn="ctr" rtl="0" eaLnBrk="0" fontAlgn="base" hangingPunct="0">
        <a:spcBef>
          <a:spcPct val="0"/>
        </a:spcBef>
        <a:spcAft>
          <a:spcPct val="0"/>
        </a:spcAft>
        <a:defRPr sz="4400">
          <a:solidFill>
            <a:schemeClr val="tx1"/>
          </a:solidFill>
          <a:latin typeface="Lucida Grande" charset="0"/>
          <a:ea typeface="ヒラギノ角ゴ ProN W3" charset="0"/>
          <a:cs typeface="ヒラギノ角ゴ ProN W3" charset="0"/>
          <a:sym typeface="Lucida Grande"/>
        </a:defRPr>
      </a:lvl3pPr>
      <a:lvl4pPr marL="39688" algn="ctr" rtl="0" eaLnBrk="0" fontAlgn="base" hangingPunct="0">
        <a:spcBef>
          <a:spcPct val="0"/>
        </a:spcBef>
        <a:spcAft>
          <a:spcPct val="0"/>
        </a:spcAft>
        <a:defRPr sz="4400">
          <a:solidFill>
            <a:schemeClr val="tx1"/>
          </a:solidFill>
          <a:latin typeface="Lucida Grande" charset="0"/>
          <a:ea typeface="ヒラギノ角ゴ ProN W3" charset="0"/>
          <a:cs typeface="ヒラギノ角ゴ ProN W3" charset="0"/>
          <a:sym typeface="Lucida Grande"/>
        </a:defRPr>
      </a:lvl4pPr>
      <a:lvl5pPr marL="39688" algn="ctr" rtl="0" eaLnBrk="0" fontAlgn="base" hangingPunct="0">
        <a:spcBef>
          <a:spcPct val="0"/>
        </a:spcBef>
        <a:spcAft>
          <a:spcPct val="0"/>
        </a:spcAft>
        <a:defRPr sz="4400">
          <a:solidFill>
            <a:schemeClr val="tx1"/>
          </a:solidFill>
          <a:latin typeface="Lucida Grande" charset="0"/>
          <a:ea typeface="ヒラギノ角ゴ ProN W3" charset="0"/>
          <a:cs typeface="ヒラギノ角ゴ ProN W3" charset="0"/>
          <a:sym typeface="Lucida Grande"/>
        </a:defRPr>
      </a:lvl5pPr>
      <a:lvl6pPr marL="496888" algn="ctr" rtl="0" fontAlgn="base">
        <a:spcBef>
          <a:spcPct val="0"/>
        </a:spcBef>
        <a:spcAft>
          <a:spcPct val="0"/>
        </a:spcAft>
        <a:defRPr sz="4400">
          <a:solidFill>
            <a:schemeClr val="tx1"/>
          </a:solidFill>
          <a:latin typeface="Lucida Grande" charset="0"/>
          <a:ea typeface="ヒラギノ角ゴ ProN W3" charset="0"/>
          <a:cs typeface="ヒラギノ角ゴ ProN W3" charset="0"/>
          <a:sym typeface="Lucida Grande" charset="0"/>
        </a:defRPr>
      </a:lvl6pPr>
      <a:lvl7pPr marL="954088" algn="ctr" rtl="0" fontAlgn="base">
        <a:spcBef>
          <a:spcPct val="0"/>
        </a:spcBef>
        <a:spcAft>
          <a:spcPct val="0"/>
        </a:spcAft>
        <a:defRPr sz="4400">
          <a:solidFill>
            <a:schemeClr val="tx1"/>
          </a:solidFill>
          <a:latin typeface="Lucida Grande" charset="0"/>
          <a:ea typeface="ヒラギノ角ゴ ProN W3" charset="0"/>
          <a:cs typeface="ヒラギノ角ゴ ProN W3" charset="0"/>
          <a:sym typeface="Lucida Grande" charset="0"/>
        </a:defRPr>
      </a:lvl7pPr>
      <a:lvl8pPr marL="1411288" algn="ctr" rtl="0" fontAlgn="base">
        <a:spcBef>
          <a:spcPct val="0"/>
        </a:spcBef>
        <a:spcAft>
          <a:spcPct val="0"/>
        </a:spcAft>
        <a:defRPr sz="4400">
          <a:solidFill>
            <a:schemeClr val="tx1"/>
          </a:solidFill>
          <a:latin typeface="Lucida Grande" charset="0"/>
          <a:ea typeface="ヒラギノ角ゴ ProN W3" charset="0"/>
          <a:cs typeface="ヒラギノ角ゴ ProN W3" charset="0"/>
          <a:sym typeface="Lucida Grande" charset="0"/>
        </a:defRPr>
      </a:lvl8pPr>
      <a:lvl9pPr marL="1868488" algn="ctr" rtl="0" fontAlgn="base">
        <a:spcBef>
          <a:spcPct val="0"/>
        </a:spcBef>
        <a:spcAft>
          <a:spcPct val="0"/>
        </a:spcAft>
        <a:defRPr sz="4400">
          <a:solidFill>
            <a:schemeClr val="tx1"/>
          </a:solidFill>
          <a:latin typeface="Lucida Grande" charset="0"/>
          <a:ea typeface="ヒラギノ角ゴ ProN W3" charset="0"/>
          <a:cs typeface="ヒラギノ角ゴ ProN W3" charset="0"/>
          <a:sym typeface="Lucida Grande" charset="0"/>
        </a:defRPr>
      </a:lvl9pPr>
    </p:titleStyle>
    <p:bodyStyle>
      <a:lvl1pPr marL="382588" indent="-342900" algn="l" rtl="0" eaLnBrk="0" fontAlgn="base" hangingPunct="0">
        <a:spcBef>
          <a:spcPts val="800"/>
        </a:spcBef>
        <a:spcAft>
          <a:spcPct val="0"/>
        </a:spcAft>
        <a:buClr>
          <a:srgbClr val="000000"/>
        </a:buClr>
        <a:buSzPct val="100000"/>
        <a:buFont typeface="Arial" charset="0"/>
        <a:buChar char="•"/>
        <a:defRPr sz="3200">
          <a:solidFill>
            <a:schemeClr val="tx1"/>
          </a:solidFill>
          <a:latin typeface="+mn-lt"/>
          <a:ea typeface="+mn-ea"/>
          <a:cs typeface="+mn-cs"/>
          <a:sym typeface="Lucida Grande"/>
        </a:defRPr>
      </a:lvl1pPr>
      <a:lvl2pPr marL="731838" indent="-285750" algn="l" rtl="0" eaLnBrk="0" fontAlgn="base" hangingPunct="0">
        <a:spcBef>
          <a:spcPts val="700"/>
        </a:spcBef>
        <a:spcAft>
          <a:spcPct val="0"/>
        </a:spcAft>
        <a:buClr>
          <a:srgbClr val="000000"/>
        </a:buClr>
        <a:buSzPct val="100000"/>
        <a:buFont typeface="Arial" charset="0"/>
        <a:buChar char="–"/>
        <a:defRPr sz="2800">
          <a:solidFill>
            <a:schemeClr val="tx1"/>
          </a:solidFill>
          <a:latin typeface="+mn-lt"/>
          <a:ea typeface="+mn-ea"/>
          <a:cs typeface="+mn-cs"/>
          <a:sym typeface="Lucida Grande"/>
        </a:defRPr>
      </a:lvl2pPr>
      <a:lvl3pPr marL="1131888" indent="-228600" algn="l" rtl="0" eaLnBrk="0" fontAlgn="base" hangingPunct="0">
        <a:spcBef>
          <a:spcPts val="600"/>
        </a:spcBef>
        <a:spcAft>
          <a:spcPct val="0"/>
        </a:spcAft>
        <a:buClr>
          <a:srgbClr val="000000"/>
        </a:buClr>
        <a:buSzPct val="100000"/>
        <a:buFont typeface="Arial" charset="0"/>
        <a:buChar char="•"/>
        <a:defRPr sz="2400">
          <a:solidFill>
            <a:schemeClr val="tx1"/>
          </a:solidFill>
          <a:latin typeface="+mn-lt"/>
          <a:ea typeface="+mn-ea"/>
          <a:cs typeface="+mn-cs"/>
          <a:sym typeface="Lucida Grande"/>
        </a:defRPr>
      </a:lvl3pPr>
      <a:lvl4pPr marL="1589088" indent="-228600" algn="l" rtl="0" eaLnBrk="0" fontAlgn="base" hangingPunct="0">
        <a:spcBef>
          <a:spcPts val="500"/>
        </a:spcBef>
        <a:spcAft>
          <a:spcPct val="0"/>
        </a:spcAft>
        <a:buClr>
          <a:srgbClr val="000000"/>
        </a:buClr>
        <a:buSzPct val="100000"/>
        <a:buFont typeface="Arial" charset="0"/>
        <a:buChar char="–"/>
        <a:defRPr sz="2000">
          <a:solidFill>
            <a:schemeClr val="tx1"/>
          </a:solidFill>
          <a:latin typeface="+mn-lt"/>
          <a:ea typeface="+mn-ea"/>
          <a:cs typeface="+mn-cs"/>
          <a:sym typeface="Lucida Grande"/>
        </a:defRPr>
      </a:lvl4pPr>
      <a:lvl5pPr marL="2046288" indent="-228600" algn="l" rtl="0" eaLnBrk="0" fontAlgn="base" hangingPunct="0">
        <a:spcBef>
          <a:spcPts val="500"/>
        </a:spcBef>
        <a:spcAft>
          <a:spcPct val="0"/>
        </a:spcAft>
        <a:buClr>
          <a:srgbClr val="000000"/>
        </a:buClr>
        <a:buSzPct val="100000"/>
        <a:buFont typeface="Arial" charset="0"/>
        <a:buChar char="»"/>
        <a:defRPr sz="2000">
          <a:solidFill>
            <a:schemeClr val="tx1"/>
          </a:solidFill>
          <a:latin typeface="+mn-lt"/>
          <a:ea typeface="+mn-ea"/>
          <a:cs typeface="+mn-cs"/>
          <a:sym typeface="Lucida Grande"/>
        </a:defRPr>
      </a:lvl5pPr>
      <a:lvl6pPr marL="2503488" indent="-228600" algn="l" rtl="0" fontAlgn="base">
        <a:spcBef>
          <a:spcPts val="500"/>
        </a:spcBef>
        <a:spcAft>
          <a:spcPct val="0"/>
        </a:spcAft>
        <a:buClr>
          <a:srgbClr val="000000"/>
        </a:buClr>
        <a:buSzPct val="100000"/>
        <a:buFont typeface="Arial" charset="0"/>
        <a:buChar char="»"/>
        <a:defRPr sz="2000">
          <a:solidFill>
            <a:schemeClr val="tx1"/>
          </a:solidFill>
          <a:latin typeface="+mn-lt"/>
          <a:ea typeface="+mn-ea"/>
          <a:cs typeface="+mn-cs"/>
          <a:sym typeface="Lucida Grande" charset="0"/>
        </a:defRPr>
      </a:lvl6pPr>
      <a:lvl7pPr marL="2960688" indent="-228600" algn="l" rtl="0" fontAlgn="base">
        <a:spcBef>
          <a:spcPts val="500"/>
        </a:spcBef>
        <a:spcAft>
          <a:spcPct val="0"/>
        </a:spcAft>
        <a:buClr>
          <a:srgbClr val="000000"/>
        </a:buClr>
        <a:buSzPct val="100000"/>
        <a:buFont typeface="Arial" charset="0"/>
        <a:buChar char="»"/>
        <a:defRPr sz="2000">
          <a:solidFill>
            <a:schemeClr val="tx1"/>
          </a:solidFill>
          <a:latin typeface="+mn-lt"/>
          <a:ea typeface="+mn-ea"/>
          <a:cs typeface="+mn-cs"/>
          <a:sym typeface="Lucida Grande" charset="0"/>
        </a:defRPr>
      </a:lvl7pPr>
      <a:lvl8pPr marL="3417888" indent="-228600" algn="l" rtl="0" fontAlgn="base">
        <a:spcBef>
          <a:spcPts val="500"/>
        </a:spcBef>
        <a:spcAft>
          <a:spcPct val="0"/>
        </a:spcAft>
        <a:buClr>
          <a:srgbClr val="000000"/>
        </a:buClr>
        <a:buSzPct val="100000"/>
        <a:buFont typeface="Arial" charset="0"/>
        <a:buChar char="»"/>
        <a:defRPr sz="2000">
          <a:solidFill>
            <a:schemeClr val="tx1"/>
          </a:solidFill>
          <a:latin typeface="+mn-lt"/>
          <a:ea typeface="+mn-ea"/>
          <a:cs typeface="+mn-cs"/>
          <a:sym typeface="Lucida Grande" charset="0"/>
        </a:defRPr>
      </a:lvl8pPr>
      <a:lvl9pPr marL="3875088" indent="-228600" algn="l" rtl="0" fontAlgn="base">
        <a:spcBef>
          <a:spcPts val="500"/>
        </a:spcBef>
        <a:spcAft>
          <a:spcPct val="0"/>
        </a:spcAft>
        <a:buClr>
          <a:srgbClr val="000000"/>
        </a:buClr>
        <a:buSzPct val="100000"/>
        <a:buFont typeface="Arial" charset="0"/>
        <a:buChar char="»"/>
        <a:defRPr sz="2000">
          <a:solidFill>
            <a:schemeClr val="tx1"/>
          </a:solidFill>
          <a:latin typeface="+mn-lt"/>
          <a:ea typeface="+mn-ea"/>
          <a:cs typeface="+mn-cs"/>
          <a:sym typeface="Lucida Grande" charset="0"/>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978" r:id="rId1"/>
    <p:sldLayoutId id="2147483979" r:id="rId2"/>
    <p:sldLayoutId id="2147483980" r:id="rId3"/>
    <p:sldLayoutId id="2147483981" r:id="rId4"/>
    <p:sldLayoutId id="2147483982" r:id="rId5"/>
    <p:sldLayoutId id="2147483983" r:id="rId6"/>
    <p:sldLayoutId id="2147483984" r:id="rId7"/>
    <p:sldLayoutId id="2147483985" r:id="rId8"/>
    <p:sldLayoutId id="2147483986" r:id="rId9"/>
    <p:sldLayoutId id="2147483987" r:id="rId10"/>
    <p:sldLayoutId id="2147483988" r:id="rId11"/>
  </p:sldLayoutIdLst>
  <p:transition/>
  <p:hf hdr="0" ftr="0" dt="0"/>
  <p:txStyles>
    <p:titleStyle>
      <a:lvl1pPr algn="ctr" rtl="0" eaLnBrk="0" fontAlgn="base" hangingPunct="0">
        <a:spcBef>
          <a:spcPct val="0"/>
        </a:spcBef>
        <a:spcAft>
          <a:spcPct val="0"/>
        </a:spcAft>
        <a:defRPr sz="5000">
          <a:solidFill>
            <a:schemeClr val="tx1"/>
          </a:solidFill>
          <a:latin typeface="+mj-lt"/>
          <a:ea typeface="+mj-ea"/>
          <a:cs typeface="+mj-cs"/>
          <a:sym typeface="Gill Sans Light"/>
        </a:defRPr>
      </a:lvl1pPr>
      <a:lvl2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2pPr>
      <a:lvl3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3pPr>
      <a:lvl4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4pPr>
      <a:lvl5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5pPr>
      <a:lvl6pPr marL="4572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6pPr>
      <a:lvl7pPr marL="9144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7pPr>
      <a:lvl8pPr marL="13716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8pPr>
      <a:lvl9pPr marL="18288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9pPr>
    </p:titleStyle>
    <p:bodyStyle>
      <a:lvl1pPr marL="228600" indent="-228600" algn="l" rtl="0" eaLnBrk="0" fontAlgn="base" hangingPunct="0">
        <a:lnSpc>
          <a:spcPct val="120000"/>
        </a:lnSpc>
        <a:spcBef>
          <a:spcPts val="2700"/>
        </a:spcBef>
        <a:spcAft>
          <a:spcPct val="0"/>
        </a:spcAft>
        <a:buClr>
          <a:srgbClr val="414141"/>
        </a:buClr>
        <a:buSzPct val="81000"/>
        <a:buFont typeface="Gill Sans Light"/>
        <a:buChar char="•"/>
        <a:defRPr sz="3000">
          <a:solidFill>
            <a:schemeClr val="tx1"/>
          </a:solidFill>
          <a:latin typeface="+mn-lt"/>
          <a:ea typeface="+mn-ea"/>
          <a:cs typeface="+mn-cs"/>
          <a:sym typeface="Gill Sans Light"/>
        </a:defRPr>
      </a:lvl1pPr>
      <a:lvl2pPr marL="546100" indent="-228600" algn="l" rtl="0" eaLnBrk="0" fontAlgn="base" hangingPunct="0">
        <a:lnSpc>
          <a:spcPct val="120000"/>
        </a:lnSpc>
        <a:spcBef>
          <a:spcPts val="2700"/>
        </a:spcBef>
        <a:spcAft>
          <a:spcPct val="0"/>
        </a:spcAft>
        <a:buClr>
          <a:srgbClr val="414141"/>
        </a:buClr>
        <a:buSzPct val="81000"/>
        <a:buFont typeface="Gill Sans Light"/>
        <a:buChar char="•"/>
        <a:defRPr sz="3000">
          <a:solidFill>
            <a:schemeClr val="tx1"/>
          </a:solidFill>
          <a:latin typeface="+mn-lt"/>
          <a:ea typeface="+mn-ea"/>
          <a:cs typeface="+mn-cs"/>
          <a:sym typeface="Gill Sans Light"/>
        </a:defRPr>
      </a:lvl2pPr>
      <a:lvl3pPr marL="863600" indent="-228600" algn="l" rtl="0" eaLnBrk="0" fontAlgn="base" hangingPunct="0">
        <a:lnSpc>
          <a:spcPct val="120000"/>
        </a:lnSpc>
        <a:spcBef>
          <a:spcPts val="2700"/>
        </a:spcBef>
        <a:spcAft>
          <a:spcPct val="0"/>
        </a:spcAft>
        <a:buClr>
          <a:srgbClr val="414141"/>
        </a:buClr>
        <a:buSzPct val="81000"/>
        <a:buFont typeface="Gill Sans Light"/>
        <a:buChar char="•"/>
        <a:defRPr sz="3000">
          <a:solidFill>
            <a:schemeClr val="tx1"/>
          </a:solidFill>
          <a:latin typeface="+mn-lt"/>
          <a:ea typeface="+mn-ea"/>
          <a:cs typeface="+mn-cs"/>
          <a:sym typeface="Gill Sans Light"/>
        </a:defRPr>
      </a:lvl3pPr>
      <a:lvl4pPr marL="1181100" indent="-228600" algn="l" rtl="0" eaLnBrk="0" fontAlgn="base" hangingPunct="0">
        <a:lnSpc>
          <a:spcPct val="120000"/>
        </a:lnSpc>
        <a:spcBef>
          <a:spcPts val="2700"/>
        </a:spcBef>
        <a:spcAft>
          <a:spcPct val="0"/>
        </a:spcAft>
        <a:buClr>
          <a:srgbClr val="414141"/>
        </a:buClr>
        <a:buSzPct val="81000"/>
        <a:buFont typeface="Gill Sans Light"/>
        <a:buChar char="•"/>
        <a:defRPr sz="3000">
          <a:solidFill>
            <a:schemeClr val="tx1"/>
          </a:solidFill>
          <a:latin typeface="+mn-lt"/>
          <a:ea typeface="+mn-ea"/>
          <a:cs typeface="+mn-cs"/>
          <a:sym typeface="Gill Sans Light"/>
        </a:defRPr>
      </a:lvl4pPr>
      <a:lvl5pPr marL="1498600" indent="-228600" algn="l" rtl="0" eaLnBrk="0" fontAlgn="base" hangingPunct="0">
        <a:lnSpc>
          <a:spcPct val="120000"/>
        </a:lnSpc>
        <a:spcBef>
          <a:spcPts val="2700"/>
        </a:spcBef>
        <a:spcAft>
          <a:spcPct val="0"/>
        </a:spcAft>
        <a:buClr>
          <a:srgbClr val="414141"/>
        </a:buClr>
        <a:buSzPct val="81000"/>
        <a:buFont typeface="Gill Sans Light"/>
        <a:buChar char="•"/>
        <a:defRPr sz="3000">
          <a:solidFill>
            <a:schemeClr val="tx1"/>
          </a:solidFill>
          <a:latin typeface="+mn-lt"/>
          <a:ea typeface="+mn-ea"/>
          <a:cs typeface="+mn-cs"/>
          <a:sym typeface="Gill Sans Light"/>
        </a:defRPr>
      </a:lvl5pPr>
      <a:lvl6pPr marL="1955800" indent="-228600" algn="l" rtl="0" fontAlgn="base">
        <a:lnSpc>
          <a:spcPct val="120000"/>
        </a:lnSpc>
        <a:spcBef>
          <a:spcPts val="2700"/>
        </a:spcBef>
        <a:spcAft>
          <a:spcPct val="0"/>
        </a:spcAft>
        <a:buClr>
          <a:srgbClr val="414141"/>
        </a:buClr>
        <a:buSzPct val="81000"/>
        <a:buFont typeface="Gill Sans Light" charset="0"/>
        <a:buChar char="•"/>
        <a:defRPr sz="3000">
          <a:solidFill>
            <a:schemeClr val="tx1"/>
          </a:solidFill>
          <a:latin typeface="+mn-lt"/>
          <a:ea typeface="+mn-ea"/>
          <a:cs typeface="+mn-cs"/>
          <a:sym typeface="Gill Sans Light" charset="0"/>
        </a:defRPr>
      </a:lvl6pPr>
      <a:lvl7pPr marL="2413000" indent="-228600" algn="l" rtl="0" fontAlgn="base">
        <a:lnSpc>
          <a:spcPct val="120000"/>
        </a:lnSpc>
        <a:spcBef>
          <a:spcPts val="2700"/>
        </a:spcBef>
        <a:spcAft>
          <a:spcPct val="0"/>
        </a:spcAft>
        <a:buClr>
          <a:srgbClr val="414141"/>
        </a:buClr>
        <a:buSzPct val="81000"/>
        <a:buFont typeface="Gill Sans Light" charset="0"/>
        <a:buChar char="•"/>
        <a:defRPr sz="3000">
          <a:solidFill>
            <a:schemeClr val="tx1"/>
          </a:solidFill>
          <a:latin typeface="+mn-lt"/>
          <a:ea typeface="+mn-ea"/>
          <a:cs typeface="+mn-cs"/>
          <a:sym typeface="Gill Sans Light" charset="0"/>
        </a:defRPr>
      </a:lvl7pPr>
      <a:lvl8pPr marL="2870200" indent="-228600" algn="l" rtl="0" fontAlgn="base">
        <a:lnSpc>
          <a:spcPct val="120000"/>
        </a:lnSpc>
        <a:spcBef>
          <a:spcPts val="2700"/>
        </a:spcBef>
        <a:spcAft>
          <a:spcPct val="0"/>
        </a:spcAft>
        <a:buClr>
          <a:srgbClr val="414141"/>
        </a:buClr>
        <a:buSzPct val="81000"/>
        <a:buFont typeface="Gill Sans Light" charset="0"/>
        <a:buChar char="•"/>
        <a:defRPr sz="3000">
          <a:solidFill>
            <a:schemeClr val="tx1"/>
          </a:solidFill>
          <a:latin typeface="+mn-lt"/>
          <a:ea typeface="+mn-ea"/>
          <a:cs typeface="+mn-cs"/>
          <a:sym typeface="Gill Sans Light" charset="0"/>
        </a:defRPr>
      </a:lvl8pPr>
      <a:lvl9pPr marL="3327400" indent="-228600" algn="l" rtl="0" fontAlgn="base">
        <a:lnSpc>
          <a:spcPct val="120000"/>
        </a:lnSpc>
        <a:spcBef>
          <a:spcPts val="2700"/>
        </a:spcBef>
        <a:spcAft>
          <a:spcPct val="0"/>
        </a:spcAft>
        <a:buClr>
          <a:srgbClr val="414141"/>
        </a:buClr>
        <a:buSzPct val="81000"/>
        <a:buFont typeface="Gill Sans Light" charset="0"/>
        <a:buChar char="•"/>
        <a:defRPr sz="3000">
          <a:solidFill>
            <a:schemeClr val="tx1"/>
          </a:solidFill>
          <a:latin typeface="+mn-lt"/>
          <a:ea typeface="+mn-ea"/>
          <a:cs typeface="+mn-cs"/>
          <a:sym typeface="Gill Sans Light" charset="0"/>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989" r:id="rId1"/>
    <p:sldLayoutId id="2147483990" r:id="rId2"/>
    <p:sldLayoutId id="2147483991" r:id="rId3"/>
    <p:sldLayoutId id="2147483992" r:id="rId4"/>
    <p:sldLayoutId id="2147483993" r:id="rId5"/>
    <p:sldLayoutId id="2147483994" r:id="rId6"/>
    <p:sldLayoutId id="2147483995" r:id="rId7"/>
    <p:sldLayoutId id="2147483996" r:id="rId8"/>
    <p:sldLayoutId id="2147483997" r:id="rId9"/>
    <p:sldLayoutId id="2147483998" r:id="rId10"/>
    <p:sldLayoutId id="2147483999" r:id="rId11"/>
  </p:sldLayoutIdLst>
  <p:transition/>
  <p:hf hdr="0" ftr="0" dt="0"/>
  <p:txStyles>
    <p:titleStyle>
      <a:lvl1pPr algn="ctr" rtl="0" eaLnBrk="0" fontAlgn="base" hangingPunct="0">
        <a:spcBef>
          <a:spcPct val="0"/>
        </a:spcBef>
        <a:spcAft>
          <a:spcPct val="0"/>
        </a:spcAft>
        <a:defRPr sz="5000">
          <a:solidFill>
            <a:schemeClr val="tx1"/>
          </a:solidFill>
          <a:latin typeface="+mj-lt"/>
          <a:ea typeface="+mj-ea"/>
          <a:cs typeface="+mj-cs"/>
          <a:sym typeface="Gill Sans Light"/>
        </a:defRPr>
      </a:lvl1pPr>
      <a:lvl2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2pPr>
      <a:lvl3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3pPr>
      <a:lvl4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4pPr>
      <a:lvl5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5pPr>
      <a:lvl6pPr marL="4572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6pPr>
      <a:lvl7pPr marL="9144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7pPr>
      <a:lvl8pPr marL="13716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8pPr>
      <a:lvl9pPr marL="18288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9pPr>
    </p:titleStyle>
    <p:bodyStyle>
      <a:lvl1pPr marL="228600" indent="-228600" algn="l" rtl="0" eaLnBrk="0" fontAlgn="base" hangingPunct="0">
        <a:lnSpc>
          <a:spcPct val="120000"/>
        </a:lnSpc>
        <a:spcBef>
          <a:spcPts val="2700"/>
        </a:spcBef>
        <a:spcAft>
          <a:spcPct val="0"/>
        </a:spcAft>
        <a:buClr>
          <a:srgbClr val="414141"/>
        </a:buClr>
        <a:buSzPct val="81000"/>
        <a:buFont typeface="Gill Sans Light"/>
        <a:buChar char="•"/>
        <a:defRPr sz="3000">
          <a:solidFill>
            <a:schemeClr val="tx1"/>
          </a:solidFill>
          <a:latin typeface="+mn-lt"/>
          <a:ea typeface="+mn-ea"/>
          <a:cs typeface="+mn-cs"/>
          <a:sym typeface="Gill Sans Light"/>
        </a:defRPr>
      </a:lvl1pPr>
      <a:lvl2pPr marL="546100" indent="-228600" algn="l" rtl="0" eaLnBrk="0" fontAlgn="base" hangingPunct="0">
        <a:lnSpc>
          <a:spcPct val="120000"/>
        </a:lnSpc>
        <a:spcBef>
          <a:spcPts val="2700"/>
        </a:spcBef>
        <a:spcAft>
          <a:spcPct val="0"/>
        </a:spcAft>
        <a:buClr>
          <a:srgbClr val="414141"/>
        </a:buClr>
        <a:buSzPct val="81000"/>
        <a:buFont typeface="Gill Sans Light"/>
        <a:buChar char="•"/>
        <a:defRPr sz="3000">
          <a:solidFill>
            <a:schemeClr val="tx1"/>
          </a:solidFill>
          <a:latin typeface="+mn-lt"/>
          <a:ea typeface="+mn-ea"/>
          <a:cs typeface="+mn-cs"/>
          <a:sym typeface="Gill Sans Light"/>
        </a:defRPr>
      </a:lvl2pPr>
      <a:lvl3pPr marL="863600" indent="-228600" algn="l" rtl="0" eaLnBrk="0" fontAlgn="base" hangingPunct="0">
        <a:lnSpc>
          <a:spcPct val="120000"/>
        </a:lnSpc>
        <a:spcBef>
          <a:spcPts val="2700"/>
        </a:spcBef>
        <a:spcAft>
          <a:spcPct val="0"/>
        </a:spcAft>
        <a:buClr>
          <a:srgbClr val="414141"/>
        </a:buClr>
        <a:buSzPct val="81000"/>
        <a:buFont typeface="Gill Sans Light"/>
        <a:buChar char="•"/>
        <a:defRPr sz="3000">
          <a:solidFill>
            <a:schemeClr val="tx1"/>
          </a:solidFill>
          <a:latin typeface="+mn-lt"/>
          <a:ea typeface="+mn-ea"/>
          <a:cs typeface="+mn-cs"/>
          <a:sym typeface="Gill Sans Light"/>
        </a:defRPr>
      </a:lvl3pPr>
      <a:lvl4pPr marL="1181100" indent="-228600" algn="l" rtl="0" eaLnBrk="0" fontAlgn="base" hangingPunct="0">
        <a:lnSpc>
          <a:spcPct val="120000"/>
        </a:lnSpc>
        <a:spcBef>
          <a:spcPts val="2700"/>
        </a:spcBef>
        <a:spcAft>
          <a:spcPct val="0"/>
        </a:spcAft>
        <a:buClr>
          <a:srgbClr val="414141"/>
        </a:buClr>
        <a:buSzPct val="81000"/>
        <a:buFont typeface="Gill Sans Light"/>
        <a:buChar char="•"/>
        <a:defRPr sz="3000">
          <a:solidFill>
            <a:schemeClr val="tx1"/>
          </a:solidFill>
          <a:latin typeface="+mn-lt"/>
          <a:ea typeface="+mn-ea"/>
          <a:cs typeface="+mn-cs"/>
          <a:sym typeface="Gill Sans Light"/>
        </a:defRPr>
      </a:lvl4pPr>
      <a:lvl5pPr marL="1498600" indent="-228600" algn="l" rtl="0" eaLnBrk="0" fontAlgn="base" hangingPunct="0">
        <a:lnSpc>
          <a:spcPct val="120000"/>
        </a:lnSpc>
        <a:spcBef>
          <a:spcPts val="2700"/>
        </a:spcBef>
        <a:spcAft>
          <a:spcPct val="0"/>
        </a:spcAft>
        <a:buClr>
          <a:srgbClr val="414141"/>
        </a:buClr>
        <a:buSzPct val="81000"/>
        <a:buFont typeface="Gill Sans Light"/>
        <a:buChar char="•"/>
        <a:defRPr sz="3000">
          <a:solidFill>
            <a:schemeClr val="tx1"/>
          </a:solidFill>
          <a:latin typeface="+mn-lt"/>
          <a:ea typeface="+mn-ea"/>
          <a:cs typeface="+mn-cs"/>
          <a:sym typeface="Gill Sans Light"/>
        </a:defRPr>
      </a:lvl5pPr>
      <a:lvl6pPr marL="1955800" indent="-228600" algn="l" rtl="0" fontAlgn="base">
        <a:lnSpc>
          <a:spcPct val="120000"/>
        </a:lnSpc>
        <a:spcBef>
          <a:spcPts val="2700"/>
        </a:spcBef>
        <a:spcAft>
          <a:spcPct val="0"/>
        </a:spcAft>
        <a:buClr>
          <a:srgbClr val="414141"/>
        </a:buClr>
        <a:buSzPct val="81000"/>
        <a:buFont typeface="Gill Sans Light" charset="0"/>
        <a:buChar char="•"/>
        <a:defRPr sz="3000">
          <a:solidFill>
            <a:schemeClr val="tx1"/>
          </a:solidFill>
          <a:latin typeface="+mn-lt"/>
          <a:ea typeface="+mn-ea"/>
          <a:cs typeface="+mn-cs"/>
          <a:sym typeface="Gill Sans Light" charset="0"/>
        </a:defRPr>
      </a:lvl6pPr>
      <a:lvl7pPr marL="2413000" indent="-228600" algn="l" rtl="0" fontAlgn="base">
        <a:lnSpc>
          <a:spcPct val="120000"/>
        </a:lnSpc>
        <a:spcBef>
          <a:spcPts val="2700"/>
        </a:spcBef>
        <a:spcAft>
          <a:spcPct val="0"/>
        </a:spcAft>
        <a:buClr>
          <a:srgbClr val="414141"/>
        </a:buClr>
        <a:buSzPct val="81000"/>
        <a:buFont typeface="Gill Sans Light" charset="0"/>
        <a:buChar char="•"/>
        <a:defRPr sz="3000">
          <a:solidFill>
            <a:schemeClr val="tx1"/>
          </a:solidFill>
          <a:latin typeface="+mn-lt"/>
          <a:ea typeface="+mn-ea"/>
          <a:cs typeface="+mn-cs"/>
          <a:sym typeface="Gill Sans Light" charset="0"/>
        </a:defRPr>
      </a:lvl7pPr>
      <a:lvl8pPr marL="2870200" indent="-228600" algn="l" rtl="0" fontAlgn="base">
        <a:lnSpc>
          <a:spcPct val="120000"/>
        </a:lnSpc>
        <a:spcBef>
          <a:spcPts val="2700"/>
        </a:spcBef>
        <a:spcAft>
          <a:spcPct val="0"/>
        </a:spcAft>
        <a:buClr>
          <a:srgbClr val="414141"/>
        </a:buClr>
        <a:buSzPct val="81000"/>
        <a:buFont typeface="Gill Sans Light" charset="0"/>
        <a:buChar char="•"/>
        <a:defRPr sz="3000">
          <a:solidFill>
            <a:schemeClr val="tx1"/>
          </a:solidFill>
          <a:latin typeface="+mn-lt"/>
          <a:ea typeface="+mn-ea"/>
          <a:cs typeface="+mn-cs"/>
          <a:sym typeface="Gill Sans Light" charset="0"/>
        </a:defRPr>
      </a:lvl8pPr>
      <a:lvl9pPr marL="3327400" indent="-228600" algn="l" rtl="0" fontAlgn="base">
        <a:lnSpc>
          <a:spcPct val="120000"/>
        </a:lnSpc>
        <a:spcBef>
          <a:spcPts val="2700"/>
        </a:spcBef>
        <a:spcAft>
          <a:spcPct val="0"/>
        </a:spcAft>
        <a:buClr>
          <a:srgbClr val="414141"/>
        </a:buClr>
        <a:buSzPct val="81000"/>
        <a:buFont typeface="Gill Sans Light" charset="0"/>
        <a:buChar char="•"/>
        <a:defRPr sz="3000">
          <a:solidFill>
            <a:schemeClr val="tx1"/>
          </a:solidFill>
          <a:latin typeface="+mn-lt"/>
          <a:ea typeface="+mn-ea"/>
          <a:cs typeface="+mn-cs"/>
          <a:sym typeface="Gill Sans Light" charset="0"/>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357378" name="Rectangle 1"/>
          <p:cNvSpPr>
            <a:spLocks noGrp="1" noChangeArrowheads="1"/>
          </p:cNvSpPr>
          <p:nvPr>
            <p:ph type="title"/>
          </p:nvPr>
        </p:nvSpPr>
        <p:spPr bwMode="auto">
          <a:xfrm>
            <a:off x="254000" y="177800"/>
            <a:ext cx="8636000" cy="1714500"/>
          </a:xfrm>
          <a:prstGeom prst="rect">
            <a:avLst/>
          </a:prstGeom>
          <a:noFill/>
          <a:ln w="12700">
            <a:noFill/>
            <a:miter lim="800000"/>
            <a:headEnd/>
            <a:tailEnd/>
          </a:ln>
        </p:spPr>
        <p:txBody>
          <a:bodyPr vert="horz" wrap="square" lIns="38100" tIns="38100" rIns="38100" bIns="38100" numCol="1" anchor="ctr" anchorCtr="0" compatLnSpc="1">
            <a:prstTxWarp prst="textNoShape">
              <a:avLst/>
            </a:prstTxWarp>
          </a:bodyPr>
          <a:lstStyle/>
          <a:p>
            <a:pPr lvl="0"/>
            <a:r>
              <a:rPr lang="en-US" altLang="ja-JP" smtClean="0">
                <a:sym typeface="Gill Sans Light"/>
              </a:rPr>
              <a:t>Click to edit Master title style</a:t>
            </a:r>
          </a:p>
        </p:txBody>
      </p:sp>
    </p:spTree>
  </p:cSld>
  <p:clrMap bg1="lt1" tx1="dk1" bg2="lt2" tx2="dk2" accent1="accent1" accent2="accent2" accent3="accent3" accent4="accent4" accent5="accent5" accent6="accent6" hlink="hlink" folHlink="folHlink"/>
  <p:sldLayoutIdLst>
    <p:sldLayoutId id="2147484000" r:id="rId1"/>
    <p:sldLayoutId id="2147484001" r:id="rId2"/>
    <p:sldLayoutId id="2147484002" r:id="rId3"/>
    <p:sldLayoutId id="2147484003" r:id="rId4"/>
    <p:sldLayoutId id="2147484004" r:id="rId5"/>
    <p:sldLayoutId id="2147484005" r:id="rId6"/>
    <p:sldLayoutId id="2147484006" r:id="rId7"/>
    <p:sldLayoutId id="2147484007" r:id="rId8"/>
    <p:sldLayoutId id="2147484008" r:id="rId9"/>
    <p:sldLayoutId id="2147484009" r:id="rId10"/>
    <p:sldLayoutId id="2147484010" r:id="rId11"/>
  </p:sldLayoutIdLst>
  <p:transition/>
  <p:hf hdr="0" ftr="0" dt="0"/>
  <p:txStyles>
    <p:titleStyle>
      <a:lvl1pPr algn="ctr" rtl="0" eaLnBrk="0" fontAlgn="base" hangingPunct="0">
        <a:spcBef>
          <a:spcPct val="0"/>
        </a:spcBef>
        <a:spcAft>
          <a:spcPct val="0"/>
        </a:spcAft>
        <a:defRPr sz="5000">
          <a:solidFill>
            <a:schemeClr val="tx1"/>
          </a:solidFill>
          <a:latin typeface="+mj-lt"/>
          <a:ea typeface="+mj-ea"/>
          <a:cs typeface="+mj-cs"/>
          <a:sym typeface="Gill Sans Light"/>
        </a:defRPr>
      </a:lvl1pPr>
      <a:lvl2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2pPr>
      <a:lvl3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3pPr>
      <a:lvl4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4pPr>
      <a:lvl5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5pPr>
      <a:lvl6pPr marL="4572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6pPr>
      <a:lvl7pPr marL="9144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7pPr>
      <a:lvl8pPr marL="13716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8pPr>
      <a:lvl9pPr marL="18288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9pPr>
    </p:titleStyle>
    <p:bodyStyle>
      <a:lvl1pPr marL="228600" indent="-228600" algn="l" rtl="0" eaLnBrk="0" fontAlgn="base" hangingPunct="0">
        <a:spcBef>
          <a:spcPts val="2700"/>
        </a:spcBef>
        <a:spcAft>
          <a:spcPct val="0"/>
        </a:spcAft>
        <a:buClr>
          <a:srgbClr val="414141"/>
        </a:buClr>
        <a:buSzPct val="81000"/>
        <a:buFont typeface="Gill Sans Light"/>
        <a:buChar char="•"/>
        <a:defRPr sz="2400">
          <a:solidFill>
            <a:schemeClr val="tx1"/>
          </a:solidFill>
          <a:latin typeface="+mn-lt"/>
          <a:ea typeface="+mn-ea"/>
          <a:cs typeface="+mn-cs"/>
          <a:sym typeface="Gill Sans Light"/>
        </a:defRPr>
      </a:lvl1pPr>
      <a:lvl2pPr marL="546100" indent="-228600" algn="l" rtl="0" eaLnBrk="0" fontAlgn="base" hangingPunct="0">
        <a:spcBef>
          <a:spcPts val="2700"/>
        </a:spcBef>
        <a:spcAft>
          <a:spcPct val="0"/>
        </a:spcAft>
        <a:buClr>
          <a:srgbClr val="414141"/>
        </a:buClr>
        <a:buSzPct val="81000"/>
        <a:buFont typeface="Gill Sans Light"/>
        <a:buChar char="•"/>
        <a:defRPr sz="2400">
          <a:solidFill>
            <a:schemeClr val="tx1"/>
          </a:solidFill>
          <a:latin typeface="+mn-lt"/>
          <a:ea typeface="+mn-ea"/>
          <a:cs typeface="+mn-cs"/>
          <a:sym typeface="Gill Sans Light"/>
        </a:defRPr>
      </a:lvl2pPr>
      <a:lvl3pPr marL="863600" indent="-228600" algn="l" rtl="0" eaLnBrk="0" fontAlgn="base" hangingPunct="0">
        <a:spcBef>
          <a:spcPts val="2700"/>
        </a:spcBef>
        <a:spcAft>
          <a:spcPct val="0"/>
        </a:spcAft>
        <a:buClr>
          <a:srgbClr val="414141"/>
        </a:buClr>
        <a:buSzPct val="81000"/>
        <a:buFont typeface="Gill Sans Light"/>
        <a:buChar char="•"/>
        <a:defRPr sz="2400">
          <a:solidFill>
            <a:schemeClr val="tx1"/>
          </a:solidFill>
          <a:latin typeface="+mn-lt"/>
          <a:ea typeface="+mn-ea"/>
          <a:cs typeface="+mn-cs"/>
          <a:sym typeface="Gill Sans Light"/>
        </a:defRPr>
      </a:lvl3pPr>
      <a:lvl4pPr marL="1181100" indent="-228600" algn="l" rtl="0" eaLnBrk="0" fontAlgn="base" hangingPunct="0">
        <a:spcBef>
          <a:spcPts val="2700"/>
        </a:spcBef>
        <a:spcAft>
          <a:spcPct val="0"/>
        </a:spcAft>
        <a:buClr>
          <a:srgbClr val="414141"/>
        </a:buClr>
        <a:buSzPct val="81000"/>
        <a:buFont typeface="Gill Sans Light"/>
        <a:buChar char="•"/>
        <a:defRPr sz="2400">
          <a:solidFill>
            <a:schemeClr val="tx1"/>
          </a:solidFill>
          <a:latin typeface="+mn-lt"/>
          <a:ea typeface="+mn-ea"/>
          <a:cs typeface="+mn-cs"/>
          <a:sym typeface="Gill Sans Light"/>
        </a:defRPr>
      </a:lvl4pPr>
      <a:lvl5pPr marL="1498600" indent="-228600" algn="l" rtl="0" eaLnBrk="0" fontAlgn="base" hangingPunct="0">
        <a:spcBef>
          <a:spcPts val="2700"/>
        </a:spcBef>
        <a:spcAft>
          <a:spcPct val="0"/>
        </a:spcAft>
        <a:buClr>
          <a:srgbClr val="414141"/>
        </a:buClr>
        <a:buSzPct val="81000"/>
        <a:buFont typeface="Gill Sans Light"/>
        <a:buChar char="•"/>
        <a:defRPr sz="2400">
          <a:solidFill>
            <a:schemeClr val="tx1"/>
          </a:solidFill>
          <a:latin typeface="+mn-lt"/>
          <a:ea typeface="+mn-ea"/>
          <a:cs typeface="+mn-cs"/>
          <a:sym typeface="Gill Sans Light"/>
        </a:defRPr>
      </a:lvl5pPr>
      <a:lvl6pPr marL="1955800" indent="-228600" algn="l" rtl="0" fontAlgn="base">
        <a:spcBef>
          <a:spcPts val="2700"/>
        </a:spcBef>
        <a:spcAft>
          <a:spcPct val="0"/>
        </a:spcAft>
        <a:buClr>
          <a:srgbClr val="414141"/>
        </a:buClr>
        <a:buSzPct val="81000"/>
        <a:buFont typeface="Gill Sans Light" charset="0"/>
        <a:buChar char="•"/>
        <a:defRPr sz="2400">
          <a:solidFill>
            <a:schemeClr val="tx1"/>
          </a:solidFill>
          <a:latin typeface="+mn-lt"/>
          <a:ea typeface="+mn-ea"/>
          <a:cs typeface="+mn-cs"/>
          <a:sym typeface="Gill Sans Light" charset="0"/>
        </a:defRPr>
      </a:lvl6pPr>
      <a:lvl7pPr marL="2413000" indent="-228600" algn="l" rtl="0" fontAlgn="base">
        <a:spcBef>
          <a:spcPts val="2700"/>
        </a:spcBef>
        <a:spcAft>
          <a:spcPct val="0"/>
        </a:spcAft>
        <a:buClr>
          <a:srgbClr val="414141"/>
        </a:buClr>
        <a:buSzPct val="81000"/>
        <a:buFont typeface="Gill Sans Light" charset="0"/>
        <a:buChar char="•"/>
        <a:defRPr sz="2400">
          <a:solidFill>
            <a:schemeClr val="tx1"/>
          </a:solidFill>
          <a:latin typeface="+mn-lt"/>
          <a:ea typeface="+mn-ea"/>
          <a:cs typeface="+mn-cs"/>
          <a:sym typeface="Gill Sans Light" charset="0"/>
        </a:defRPr>
      </a:lvl7pPr>
      <a:lvl8pPr marL="2870200" indent="-228600" algn="l" rtl="0" fontAlgn="base">
        <a:spcBef>
          <a:spcPts val="2700"/>
        </a:spcBef>
        <a:spcAft>
          <a:spcPct val="0"/>
        </a:spcAft>
        <a:buClr>
          <a:srgbClr val="414141"/>
        </a:buClr>
        <a:buSzPct val="81000"/>
        <a:buFont typeface="Gill Sans Light" charset="0"/>
        <a:buChar char="•"/>
        <a:defRPr sz="2400">
          <a:solidFill>
            <a:schemeClr val="tx1"/>
          </a:solidFill>
          <a:latin typeface="+mn-lt"/>
          <a:ea typeface="+mn-ea"/>
          <a:cs typeface="+mn-cs"/>
          <a:sym typeface="Gill Sans Light" charset="0"/>
        </a:defRPr>
      </a:lvl8pPr>
      <a:lvl9pPr marL="3327400" indent="-228600" algn="l" rtl="0" fontAlgn="base">
        <a:spcBef>
          <a:spcPts val="2700"/>
        </a:spcBef>
        <a:spcAft>
          <a:spcPct val="0"/>
        </a:spcAft>
        <a:buClr>
          <a:srgbClr val="414141"/>
        </a:buClr>
        <a:buSzPct val="81000"/>
        <a:buFont typeface="Gill Sans Light" charset="0"/>
        <a:buChar char="•"/>
        <a:defRPr sz="2400">
          <a:solidFill>
            <a:schemeClr val="tx1"/>
          </a:solidFill>
          <a:latin typeface="+mn-lt"/>
          <a:ea typeface="+mn-ea"/>
          <a:cs typeface="+mn-cs"/>
          <a:sym typeface="Gill Sans Light" charset="0"/>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37890" name="Rectangle 1"/>
          <p:cNvSpPr>
            <a:spLocks noGrp="1" noChangeArrowheads="1"/>
          </p:cNvSpPr>
          <p:nvPr>
            <p:ph type="title"/>
          </p:nvPr>
        </p:nvSpPr>
        <p:spPr bwMode="auto">
          <a:xfrm>
            <a:off x="304800" y="990600"/>
            <a:ext cx="4622800" cy="2324100"/>
          </a:xfrm>
          <a:prstGeom prst="rect">
            <a:avLst/>
          </a:prstGeom>
          <a:noFill/>
          <a:ln w="12700">
            <a:noFill/>
            <a:miter lim="800000"/>
            <a:headEnd/>
            <a:tailEnd/>
          </a:ln>
        </p:spPr>
        <p:txBody>
          <a:bodyPr vert="horz" wrap="square" lIns="38100" tIns="38100" rIns="38100" bIns="38100" numCol="1" anchor="b" anchorCtr="0" compatLnSpc="1">
            <a:prstTxWarp prst="textNoShape">
              <a:avLst/>
            </a:prstTxWarp>
          </a:bodyPr>
          <a:lstStyle/>
          <a:p>
            <a:pPr lvl="0"/>
            <a:r>
              <a:rPr lang="en-US" altLang="ja-JP" smtClean="0">
                <a:sym typeface="Herculanum"/>
              </a:rPr>
              <a:t>Click to edit Master title style</a:t>
            </a:r>
          </a:p>
        </p:txBody>
      </p:sp>
      <p:sp>
        <p:nvSpPr>
          <p:cNvPr id="37891" name="Rectangle 2"/>
          <p:cNvSpPr>
            <a:spLocks noGrp="1" noChangeArrowheads="1"/>
          </p:cNvSpPr>
          <p:nvPr>
            <p:ph type="body" idx="1"/>
          </p:nvPr>
        </p:nvSpPr>
        <p:spPr bwMode="auto">
          <a:xfrm>
            <a:off x="304800" y="3378200"/>
            <a:ext cx="4622800" cy="2324100"/>
          </a:xfrm>
          <a:prstGeom prst="rect">
            <a:avLst/>
          </a:prstGeom>
          <a:noFill/>
          <a:ln w="12700">
            <a:noFill/>
            <a:miter lim="800000"/>
            <a:headEnd/>
            <a:tailEnd/>
          </a:ln>
        </p:spPr>
        <p:txBody>
          <a:bodyPr vert="horz" wrap="square" lIns="38100" tIns="38100" rIns="38100" bIns="38100" numCol="1" anchor="t" anchorCtr="0" compatLnSpc="1">
            <a:prstTxWarp prst="textNoShape">
              <a:avLst/>
            </a:prstTxWarp>
          </a:bodyPr>
          <a:lstStyle/>
          <a:p>
            <a:pPr lvl="0"/>
            <a:r>
              <a:rPr lang="en-US" altLang="ja-JP" smtClean="0">
                <a:sym typeface="Palatino"/>
              </a:rPr>
              <a:t>Click to edit Master text styles</a:t>
            </a:r>
          </a:p>
          <a:p>
            <a:pPr lvl="1"/>
            <a:r>
              <a:rPr lang="en-US" altLang="ja-JP" smtClean="0">
                <a:sym typeface="Palatino"/>
              </a:rPr>
              <a:t>Second level</a:t>
            </a:r>
          </a:p>
          <a:p>
            <a:pPr lvl="2"/>
            <a:r>
              <a:rPr lang="en-US" altLang="ja-JP" smtClean="0">
                <a:sym typeface="Palatino"/>
              </a:rPr>
              <a:t>Third level</a:t>
            </a:r>
          </a:p>
          <a:p>
            <a:pPr lvl="3"/>
            <a:r>
              <a:rPr lang="en-US" altLang="ja-JP" smtClean="0">
                <a:sym typeface="Palatino"/>
              </a:rPr>
              <a:t>Fourth level</a:t>
            </a:r>
          </a:p>
          <a:p>
            <a:pPr lvl="4"/>
            <a:r>
              <a:rPr lang="en-US" altLang="ja-JP" smtClean="0">
                <a:sym typeface="Palatino"/>
              </a:rPr>
              <a:t>Fifth level</a:t>
            </a:r>
          </a:p>
        </p:txBody>
      </p:sp>
    </p:spTree>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Lst>
  <p:transition/>
  <p:hf hdr="0" ftr="0" dt="0"/>
  <p:txStyles>
    <p:titleStyle>
      <a:lvl1pPr algn="ctr" rtl="0" eaLnBrk="0" fontAlgn="base" hangingPunct="0">
        <a:spcBef>
          <a:spcPct val="0"/>
        </a:spcBef>
        <a:spcAft>
          <a:spcPct val="0"/>
        </a:spcAft>
        <a:defRPr sz="4800">
          <a:solidFill>
            <a:srgbClr val="3F3F3F"/>
          </a:solidFill>
          <a:latin typeface="+mj-lt"/>
          <a:ea typeface="+mj-ea"/>
          <a:cs typeface="+mj-cs"/>
          <a:sym typeface="Herculanum"/>
        </a:defRPr>
      </a:lvl1pPr>
      <a:lvl2pPr algn="ctr" rtl="0" eaLnBrk="0" fontAlgn="base" hangingPunct="0">
        <a:spcBef>
          <a:spcPct val="0"/>
        </a:spcBef>
        <a:spcAft>
          <a:spcPct val="0"/>
        </a:spcAft>
        <a:defRPr sz="4800">
          <a:solidFill>
            <a:srgbClr val="3F3F3F"/>
          </a:solidFill>
          <a:latin typeface="Herculanum" charset="0"/>
          <a:ea typeface="ヒラギノ明朝 ProN W3" charset="0"/>
          <a:cs typeface="ヒラギノ明朝 ProN W3" charset="0"/>
          <a:sym typeface="Herculanum"/>
        </a:defRPr>
      </a:lvl2pPr>
      <a:lvl3pPr algn="ctr" rtl="0" eaLnBrk="0" fontAlgn="base" hangingPunct="0">
        <a:spcBef>
          <a:spcPct val="0"/>
        </a:spcBef>
        <a:spcAft>
          <a:spcPct val="0"/>
        </a:spcAft>
        <a:defRPr sz="4800">
          <a:solidFill>
            <a:srgbClr val="3F3F3F"/>
          </a:solidFill>
          <a:latin typeface="Herculanum" charset="0"/>
          <a:ea typeface="ヒラギノ明朝 ProN W3" charset="0"/>
          <a:cs typeface="ヒラギノ明朝 ProN W3" charset="0"/>
          <a:sym typeface="Herculanum"/>
        </a:defRPr>
      </a:lvl3pPr>
      <a:lvl4pPr algn="ctr" rtl="0" eaLnBrk="0" fontAlgn="base" hangingPunct="0">
        <a:spcBef>
          <a:spcPct val="0"/>
        </a:spcBef>
        <a:spcAft>
          <a:spcPct val="0"/>
        </a:spcAft>
        <a:defRPr sz="4800">
          <a:solidFill>
            <a:srgbClr val="3F3F3F"/>
          </a:solidFill>
          <a:latin typeface="Herculanum" charset="0"/>
          <a:ea typeface="ヒラギノ明朝 ProN W3" charset="0"/>
          <a:cs typeface="ヒラギノ明朝 ProN W3" charset="0"/>
          <a:sym typeface="Herculanum"/>
        </a:defRPr>
      </a:lvl4pPr>
      <a:lvl5pPr algn="ctr" rtl="0" eaLnBrk="0" fontAlgn="base" hangingPunct="0">
        <a:spcBef>
          <a:spcPct val="0"/>
        </a:spcBef>
        <a:spcAft>
          <a:spcPct val="0"/>
        </a:spcAft>
        <a:defRPr sz="4800">
          <a:solidFill>
            <a:srgbClr val="3F3F3F"/>
          </a:solidFill>
          <a:latin typeface="Herculanum" charset="0"/>
          <a:ea typeface="ヒラギノ明朝 ProN W3" charset="0"/>
          <a:cs typeface="ヒラギノ明朝 ProN W3" charset="0"/>
          <a:sym typeface="Herculanum"/>
        </a:defRPr>
      </a:lvl5pPr>
      <a:lvl6pPr marL="457200" algn="ctr" rtl="0" fontAlgn="base">
        <a:spcBef>
          <a:spcPct val="0"/>
        </a:spcBef>
        <a:spcAft>
          <a:spcPct val="0"/>
        </a:spcAft>
        <a:defRPr sz="4800">
          <a:solidFill>
            <a:srgbClr val="3F3F3F"/>
          </a:solidFill>
          <a:latin typeface="Herculanum" charset="0"/>
          <a:ea typeface="ヒラギノ明朝 ProN W3" charset="0"/>
          <a:cs typeface="ヒラギノ明朝 ProN W3" charset="0"/>
          <a:sym typeface="Herculanum" charset="0"/>
        </a:defRPr>
      </a:lvl6pPr>
      <a:lvl7pPr marL="914400" algn="ctr" rtl="0" fontAlgn="base">
        <a:spcBef>
          <a:spcPct val="0"/>
        </a:spcBef>
        <a:spcAft>
          <a:spcPct val="0"/>
        </a:spcAft>
        <a:defRPr sz="4800">
          <a:solidFill>
            <a:srgbClr val="3F3F3F"/>
          </a:solidFill>
          <a:latin typeface="Herculanum" charset="0"/>
          <a:ea typeface="ヒラギノ明朝 ProN W3" charset="0"/>
          <a:cs typeface="ヒラギノ明朝 ProN W3" charset="0"/>
          <a:sym typeface="Herculanum" charset="0"/>
        </a:defRPr>
      </a:lvl7pPr>
      <a:lvl8pPr marL="1371600" algn="ctr" rtl="0" fontAlgn="base">
        <a:spcBef>
          <a:spcPct val="0"/>
        </a:spcBef>
        <a:spcAft>
          <a:spcPct val="0"/>
        </a:spcAft>
        <a:defRPr sz="4800">
          <a:solidFill>
            <a:srgbClr val="3F3F3F"/>
          </a:solidFill>
          <a:latin typeface="Herculanum" charset="0"/>
          <a:ea typeface="ヒラギノ明朝 ProN W3" charset="0"/>
          <a:cs typeface="ヒラギノ明朝 ProN W3" charset="0"/>
          <a:sym typeface="Herculanum" charset="0"/>
        </a:defRPr>
      </a:lvl8pPr>
      <a:lvl9pPr marL="1828800" algn="ctr" rtl="0" fontAlgn="base">
        <a:spcBef>
          <a:spcPct val="0"/>
        </a:spcBef>
        <a:spcAft>
          <a:spcPct val="0"/>
        </a:spcAft>
        <a:defRPr sz="4800">
          <a:solidFill>
            <a:srgbClr val="3F3F3F"/>
          </a:solidFill>
          <a:latin typeface="Herculanum" charset="0"/>
          <a:ea typeface="ヒラギノ明朝 ProN W3" charset="0"/>
          <a:cs typeface="ヒラギノ明朝 ProN W3" charset="0"/>
          <a:sym typeface="Herculanum" charset="0"/>
        </a:defRPr>
      </a:lvl9pPr>
    </p:titleStyle>
    <p:bodyStyle>
      <a:lvl1pPr algn="ctr" rtl="0" eaLnBrk="0" fontAlgn="base" hangingPunct="0">
        <a:spcBef>
          <a:spcPct val="0"/>
        </a:spcBef>
        <a:spcAft>
          <a:spcPct val="0"/>
        </a:spcAft>
        <a:defRPr sz="2200">
          <a:solidFill>
            <a:schemeClr val="tx1"/>
          </a:solidFill>
          <a:latin typeface="+mn-lt"/>
          <a:ea typeface="+mn-ea"/>
          <a:cs typeface="+mn-cs"/>
          <a:sym typeface="Palatino"/>
        </a:defRPr>
      </a:lvl1pPr>
      <a:lvl2pPr algn="ctr" rtl="0" eaLnBrk="0" fontAlgn="base" hangingPunct="0">
        <a:spcBef>
          <a:spcPct val="0"/>
        </a:spcBef>
        <a:spcAft>
          <a:spcPct val="0"/>
        </a:spcAft>
        <a:defRPr sz="2200">
          <a:solidFill>
            <a:schemeClr val="tx1"/>
          </a:solidFill>
          <a:latin typeface="+mn-lt"/>
          <a:ea typeface="+mn-ea"/>
          <a:cs typeface="+mn-cs"/>
          <a:sym typeface="Palatino"/>
        </a:defRPr>
      </a:lvl2pPr>
      <a:lvl3pPr algn="ctr" rtl="0" eaLnBrk="0" fontAlgn="base" hangingPunct="0">
        <a:spcBef>
          <a:spcPct val="0"/>
        </a:spcBef>
        <a:spcAft>
          <a:spcPct val="0"/>
        </a:spcAft>
        <a:defRPr sz="2200">
          <a:solidFill>
            <a:schemeClr val="tx1"/>
          </a:solidFill>
          <a:latin typeface="+mn-lt"/>
          <a:ea typeface="+mn-ea"/>
          <a:cs typeface="+mn-cs"/>
          <a:sym typeface="Palatino"/>
        </a:defRPr>
      </a:lvl3pPr>
      <a:lvl4pPr algn="ctr" rtl="0" eaLnBrk="0" fontAlgn="base" hangingPunct="0">
        <a:spcBef>
          <a:spcPct val="0"/>
        </a:spcBef>
        <a:spcAft>
          <a:spcPct val="0"/>
        </a:spcAft>
        <a:defRPr sz="2200">
          <a:solidFill>
            <a:schemeClr val="tx1"/>
          </a:solidFill>
          <a:latin typeface="+mn-lt"/>
          <a:ea typeface="+mn-ea"/>
          <a:cs typeface="+mn-cs"/>
          <a:sym typeface="Palatino"/>
        </a:defRPr>
      </a:lvl4pPr>
      <a:lvl5pPr algn="ctr" rtl="0" eaLnBrk="0" fontAlgn="base" hangingPunct="0">
        <a:spcBef>
          <a:spcPct val="0"/>
        </a:spcBef>
        <a:spcAft>
          <a:spcPct val="0"/>
        </a:spcAft>
        <a:defRPr sz="2200">
          <a:solidFill>
            <a:schemeClr val="tx1"/>
          </a:solidFill>
          <a:latin typeface="+mn-lt"/>
          <a:ea typeface="+mn-ea"/>
          <a:cs typeface="+mn-cs"/>
          <a:sym typeface="Palatino"/>
        </a:defRPr>
      </a:lvl5pPr>
      <a:lvl6pPr marL="457200" algn="ctr" rtl="0" fontAlgn="base">
        <a:spcBef>
          <a:spcPct val="0"/>
        </a:spcBef>
        <a:spcAft>
          <a:spcPct val="0"/>
        </a:spcAft>
        <a:defRPr sz="2200">
          <a:solidFill>
            <a:schemeClr val="tx1"/>
          </a:solidFill>
          <a:latin typeface="+mn-lt"/>
          <a:ea typeface="+mn-ea"/>
          <a:cs typeface="+mn-cs"/>
          <a:sym typeface="Palatino" charset="0"/>
        </a:defRPr>
      </a:lvl6pPr>
      <a:lvl7pPr marL="914400" algn="ctr" rtl="0" fontAlgn="base">
        <a:spcBef>
          <a:spcPct val="0"/>
        </a:spcBef>
        <a:spcAft>
          <a:spcPct val="0"/>
        </a:spcAft>
        <a:defRPr sz="2200">
          <a:solidFill>
            <a:schemeClr val="tx1"/>
          </a:solidFill>
          <a:latin typeface="+mn-lt"/>
          <a:ea typeface="+mn-ea"/>
          <a:cs typeface="+mn-cs"/>
          <a:sym typeface="Palatino" charset="0"/>
        </a:defRPr>
      </a:lvl7pPr>
      <a:lvl8pPr marL="1371600" algn="ctr" rtl="0" fontAlgn="base">
        <a:spcBef>
          <a:spcPct val="0"/>
        </a:spcBef>
        <a:spcAft>
          <a:spcPct val="0"/>
        </a:spcAft>
        <a:defRPr sz="2200">
          <a:solidFill>
            <a:schemeClr val="tx1"/>
          </a:solidFill>
          <a:latin typeface="+mn-lt"/>
          <a:ea typeface="+mn-ea"/>
          <a:cs typeface="+mn-cs"/>
          <a:sym typeface="Palatino" charset="0"/>
        </a:defRPr>
      </a:lvl8pPr>
      <a:lvl9pPr marL="1828800" algn="ctr" rtl="0" fontAlgn="base">
        <a:spcBef>
          <a:spcPct val="0"/>
        </a:spcBef>
        <a:spcAft>
          <a:spcPct val="0"/>
        </a:spcAft>
        <a:defRPr sz="2200">
          <a:solidFill>
            <a:schemeClr val="tx1"/>
          </a:solidFill>
          <a:latin typeface="+mn-lt"/>
          <a:ea typeface="+mn-ea"/>
          <a:cs typeface="+mn-cs"/>
          <a:sym typeface="Palatino" charset="0"/>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369666" name="Rectangle 1"/>
          <p:cNvSpPr>
            <a:spLocks noGrp="1" noChangeArrowheads="1"/>
          </p:cNvSpPr>
          <p:nvPr>
            <p:ph type="title"/>
          </p:nvPr>
        </p:nvSpPr>
        <p:spPr bwMode="auto">
          <a:xfrm>
            <a:off x="254000" y="177800"/>
            <a:ext cx="8636000" cy="1714500"/>
          </a:xfrm>
          <a:prstGeom prst="rect">
            <a:avLst/>
          </a:prstGeom>
          <a:noFill/>
          <a:ln w="12700">
            <a:noFill/>
            <a:miter lim="800000"/>
            <a:headEnd/>
            <a:tailEnd/>
          </a:ln>
        </p:spPr>
        <p:txBody>
          <a:bodyPr vert="horz" wrap="square" lIns="38100" tIns="38100" rIns="38100" bIns="38100" numCol="1" anchor="ctr" anchorCtr="0" compatLnSpc="1">
            <a:prstTxWarp prst="textNoShape">
              <a:avLst/>
            </a:prstTxWarp>
          </a:bodyPr>
          <a:lstStyle/>
          <a:p>
            <a:pPr lvl="0"/>
            <a:r>
              <a:rPr lang="en-US" altLang="ja-JP" smtClean="0">
                <a:sym typeface="Gill Sans Light"/>
              </a:rPr>
              <a:t>Click to edit Master title style</a:t>
            </a:r>
          </a:p>
        </p:txBody>
      </p:sp>
    </p:spTree>
  </p:cSld>
  <p:clrMap bg1="lt1" tx1="dk1" bg2="lt2" tx2="dk2" accent1="accent1" accent2="accent2" accent3="accent3" accent4="accent4" accent5="accent5" accent6="accent6" hlink="hlink" folHlink="folHlink"/>
  <p:sldLayoutIdLst>
    <p:sldLayoutId id="2147484011" r:id="rId1"/>
    <p:sldLayoutId id="2147484012" r:id="rId2"/>
    <p:sldLayoutId id="2147484013" r:id="rId3"/>
    <p:sldLayoutId id="2147484014" r:id="rId4"/>
    <p:sldLayoutId id="2147484015" r:id="rId5"/>
    <p:sldLayoutId id="2147484016" r:id="rId6"/>
    <p:sldLayoutId id="2147484017" r:id="rId7"/>
    <p:sldLayoutId id="2147484018" r:id="rId8"/>
    <p:sldLayoutId id="2147484019" r:id="rId9"/>
    <p:sldLayoutId id="2147484020" r:id="rId10"/>
    <p:sldLayoutId id="2147484021" r:id="rId11"/>
  </p:sldLayoutIdLst>
  <p:transition/>
  <p:hf hdr="0" ftr="0" dt="0"/>
  <p:txStyles>
    <p:titleStyle>
      <a:lvl1pPr algn="ctr" rtl="0" eaLnBrk="0" fontAlgn="base" hangingPunct="0">
        <a:spcBef>
          <a:spcPct val="0"/>
        </a:spcBef>
        <a:spcAft>
          <a:spcPct val="0"/>
        </a:spcAft>
        <a:defRPr sz="5000">
          <a:solidFill>
            <a:schemeClr val="tx1"/>
          </a:solidFill>
          <a:latin typeface="+mj-lt"/>
          <a:ea typeface="+mj-ea"/>
          <a:cs typeface="+mj-cs"/>
          <a:sym typeface="Gill Sans Light"/>
        </a:defRPr>
      </a:lvl1pPr>
      <a:lvl2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2pPr>
      <a:lvl3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3pPr>
      <a:lvl4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4pPr>
      <a:lvl5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5pPr>
      <a:lvl6pPr marL="4572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6pPr>
      <a:lvl7pPr marL="9144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7pPr>
      <a:lvl8pPr marL="13716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8pPr>
      <a:lvl9pPr marL="18288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9pPr>
    </p:titleStyle>
    <p:bodyStyle>
      <a:lvl1pPr marL="228600" indent="-228600" algn="l" rtl="0" eaLnBrk="0" fontAlgn="base" hangingPunct="0">
        <a:spcBef>
          <a:spcPts val="2700"/>
        </a:spcBef>
        <a:spcAft>
          <a:spcPct val="0"/>
        </a:spcAft>
        <a:buClr>
          <a:srgbClr val="414141"/>
        </a:buClr>
        <a:buSzPct val="81000"/>
        <a:buFont typeface="Gill Sans Light"/>
        <a:buChar char="•"/>
        <a:defRPr sz="2400">
          <a:solidFill>
            <a:schemeClr val="tx1"/>
          </a:solidFill>
          <a:latin typeface="+mn-lt"/>
          <a:ea typeface="+mn-ea"/>
          <a:cs typeface="+mn-cs"/>
          <a:sym typeface="Gill Sans Light"/>
        </a:defRPr>
      </a:lvl1pPr>
      <a:lvl2pPr marL="546100" indent="-228600" algn="l" rtl="0" eaLnBrk="0" fontAlgn="base" hangingPunct="0">
        <a:spcBef>
          <a:spcPts val="2700"/>
        </a:spcBef>
        <a:spcAft>
          <a:spcPct val="0"/>
        </a:spcAft>
        <a:buClr>
          <a:srgbClr val="414141"/>
        </a:buClr>
        <a:buSzPct val="81000"/>
        <a:buFont typeface="Gill Sans Light"/>
        <a:buChar char="•"/>
        <a:defRPr sz="2400">
          <a:solidFill>
            <a:schemeClr val="tx1"/>
          </a:solidFill>
          <a:latin typeface="+mn-lt"/>
          <a:ea typeface="+mn-ea"/>
          <a:cs typeface="+mn-cs"/>
          <a:sym typeface="Gill Sans Light"/>
        </a:defRPr>
      </a:lvl2pPr>
      <a:lvl3pPr marL="863600" indent="-228600" algn="l" rtl="0" eaLnBrk="0" fontAlgn="base" hangingPunct="0">
        <a:spcBef>
          <a:spcPts val="2700"/>
        </a:spcBef>
        <a:spcAft>
          <a:spcPct val="0"/>
        </a:spcAft>
        <a:buClr>
          <a:srgbClr val="414141"/>
        </a:buClr>
        <a:buSzPct val="81000"/>
        <a:buFont typeface="Gill Sans Light"/>
        <a:buChar char="•"/>
        <a:defRPr sz="2400">
          <a:solidFill>
            <a:schemeClr val="tx1"/>
          </a:solidFill>
          <a:latin typeface="+mn-lt"/>
          <a:ea typeface="+mn-ea"/>
          <a:cs typeface="+mn-cs"/>
          <a:sym typeface="Gill Sans Light"/>
        </a:defRPr>
      </a:lvl3pPr>
      <a:lvl4pPr marL="1181100" indent="-228600" algn="l" rtl="0" eaLnBrk="0" fontAlgn="base" hangingPunct="0">
        <a:spcBef>
          <a:spcPts val="2700"/>
        </a:spcBef>
        <a:spcAft>
          <a:spcPct val="0"/>
        </a:spcAft>
        <a:buClr>
          <a:srgbClr val="414141"/>
        </a:buClr>
        <a:buSzPct val="81000"/>
        <a:buFont typeface="Gill Sans Light"/>
        <a:buChar char="•"/>
        <a:defRPr sz="2400">
          <a:solidFill>
            <a:schemeClr val="tx1"/>
          </a:solidFill>
          <a:latin typeface="+mn-lt"/>
          <a:ea typeface="+mn-ea"/>
          <a:cs typeface="+mn-cs"/>
          <a:sym typeface="Gill Sans Light"/>
        </a:defRPr>
      </a:lvl4pPr>
      <a:lvl5pPr marL="1498600" indent="-228600" algn="l" rtl="0" eaLnBrk="0" fontAlgn="base" hangingPunct="0">
        <a:spcBef>
          <a:spcPts val="2700"/>
        </a:spcBef>
        <a:spcAft>
          <a:spcPct val="0"/>
        </a:spcAft>
        <a:buClr>
          <a:srgbClr val="414141"/>
        </a:buClr>
        <a:buSzPct val="81000"/>
        <a:buFont typeface="Gill Sans Light"/>
        <a:buChar char="•"/>
        <a:defRPr sz="2400">
          <a:solidFill>
            <a:schemeClr val="tx1"/>
          </a:solidFill>
          <a:latin typeface="+mn-lt"/>
          <a:ea typeface="+mn-ea"/>
          <a:cs typeface="+mn-cs"/>
          <a:sym typeface="Gill Sans Light"/>
        </a:defRPr>
      </a:lvl5pPr>
      <a:lvl6pPr marL="1955800" indent="-228600" algn="l" rtl="0" fontAlgn="base">
        <a:spcBef>
          <a:spcPts val="2700"/>
        </a:spcBef>
        <a:spcAft>
          <a:spcPct val="0"/>
        </a:spcAft>
        <a:buClr>
          <a:srgbClr val="414141"/>
        </a:buClr>
        <a:buSzPct val="81000"/>
        <a:buFont typeface="Gill Sans Light" charset="0"/>
        <a:buChar char="•"/>
        <a:defRPr sz="2400">
          <a:solidFill>
            <a:schemeClr val="tx1"/>
          </a:solidFill>
          <a:latin typeface="+mn-lt"/>
          <a:ea typeface="+mn-ea"/>
          <a:cs typeface="+mn-cs"/>
          <a:sym typeface="Gill Sans Light" charset="0"/>
        </a:defRPr>
      </a:lvl6pPr>
      <a:lvl7pPr marL="2413000" indent="-228600" algn="l" rtl="0" fontAlgn="base">
        <a:spcBef>
          <a:spcPts val="2700"/>
        </a:spcBef>
        <a:spcAft>
          <a:spcPct val="0"/>
        </a:spcAft>
        <a:buClr>
          <a:srgbClr val="414141"/>
        </a:buClr>
        <a:buSzPct val="81000"/>
        <a:buFont typeface="Gill Sans Light" charset="0"/>
        <a:buChar char="•"/>
        <a:defRPr sz="2400">
          <a:solidFill>
            <a:schemeClr val="tx1"/>
          </a:solidFill>
          <a:latin typeface="+mn-lt"/>
          <a:ea typeface="+mn-ea"/>
          <a:cs typeface="+mn-cs"/>
          <a:sym typeface="Gill Sans Light" charset="0"/>
        </a:defRPr>
      </a:lvl7pPr>
      <a:lvl8pPr marL="2870200" indent="-228600" algn="l" rtl="0" fontAlgn="base">
        <a:spcBef>
          <a:spcPts val="2700"/>
        </a:spcBef>
        <a:spcAft>
          <a:spcPct val="0"/>
        </a:spcAft>
        <a:buClr>
          <a:srgbClr val="414141"/>
        </a:buClr>
        <a:buSzPct val="81000"/>
        <a:buFont typeface="Gill Sans Light" charset="0"/>
        <a:buChar char="•"/>
        <a:defRPr sz="2400">
          <a:solidFill>
            <a:schemeClr val="tx1"/>
          </a:solidFill>
          <a:latin typeface="+mn-lt"/>
          <a:ea typeface="+mn-ea"/>
          <a:cs typeface="+mn-cs"/>
          <a:sym typeface="Gill Sans Light" charset="0"/>
        </a:defRPr>
      </a:lvl8pPr>
      <a:lvl9pPr marL="3327400" indent="-228600" algn="l" rtl="0" fontAlgn="base">
        <a:spcBef>
          <a:spcPts val="2700"/>
        </a:spcBef>
        <a:spcAft>
          <a:spcPct val="0"/>
        </a:spcAft>
        <a:buClr>
          <a:srgbClr val="414141"/>
        </a:buClr>
        <a:buSzPct val="81000"/>
        <a:buFont typeface="Gill Sans Light" charset="0"/>
        <a:buChar char="•"/>
        <a:defRPr sz="2400">
          <a:solidFill>
            <a:schemeClr val="tx1"/>
          </a:solidFill>
          <a:latin typeface="+mn-lt"/>
          <a:ea typeface="+mn-ea"/>
          <a:cs typeface="+mn-cs"/>
          <a:sym typeface="Gill Sans Light" charset="0"/>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49275" y="107576"/>
            <a:ext cx="8042276" cy="1336956"/>
          </a:xfrm>
          <a:prstGeom prst="rect">
            <a:avLst/>
          </a:prstGeom>
        </p:spPr>
        <p:txBody>
          <a:bodyPr vert="horz" lIns="91440" tIns="45720" rIns="91440" bIns="45720" rtlCol="0" anchor="b" anchorCtr="0">
            <a:noAutofit/>
          </a:bodyPr>
          <a:lstStyle/>
          <a:p>
            <a:r>
              <a:rPr lang="ja-JP" altLang="en-US" smtClean="0"/>
              <a:t>マスター タイトルの書式設定</a:t>
            </a:r>
            <a:endParaRPr/>
          </a:p>
        </p:txBody>
      </p:sp>
      <p:sp>
        <p:nvSpPr>
          <p:cNvPr id="3" name="Text Placeholder 2"/>
          <p:cNvSpPr>
            <a:spLocks noGrp="1"/>
          </p:cNvSpPr>
          <p:nvPr>
            <p:ph type="body" idx="1"/>
          </p:nvPr>
        </p:nvSpPr>
        <p:spPr>
          <a:xfrm>
            <a:off x="549275" y="1600201"/>
            <a:ext cx="8042276" cy="4343400"/>
          </a:xfrm>
          <a:prstGeom prst="rect">
            <a:avLst/>
          </a:prstGeom>
        </p:spPr>
        <p:txBody>
          <a:bodyPr vert="horz" lIns="91440" tIns="45720" rIns="91440" bIns="45720" rtlCol="0">
            <a:normAutofit/>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dirty="0"/>
          </a:p>
        </p:txBody>
      </p:sp>
      <p:sp>
        <p:nvSpPr>
          <p:cNvPr id="4" name="Date Placeholder 3"/>
          <p:cNvSpPr>
            <a:spLocks noGrp="1"/>
          </p:cNvSpPr>
          <p:nvPr>
            <p:ph type="dt" sz="half" idx="2"/>
          </p:nvPr>
        </p:nvSpPr>
        <p:spPr>
          <a:xfrm>
            <a:off x="5629835" y="6275668"/>
            <a:ext cx="2133600" cy="365125"/>
          </a:xfrm>
          <a:prstGeom prst="rect">
            <a:avLst/>
          </a:prstGeom>
        </p:spPr>
        <p:txBody>
          <a:bodyPr vert="horz" lIns="91440" tIns="45720" rIns="91440" bIns="45720" rtlCol="0" anchor="ctr"/>
          <a:lstStyle>
            <a:lvl1pPr algn="r">
              <a:defRPr sz="1200">
                <a:solidFill>
                  <a:schemeClr val="bg1"/>
                </a:solidFill>
              </a:defRPr>
            </a:lvl1pPr>
          </a:lstStyle>
          <a:p>
            <a:r>
              <a:rPr lang="en-US" smtClean="0"/>
              <a:t>2013/05/16</a:t>
            </a:r>
            <a:endParaRPr lang="en-US"/>
          </a:p>
        </p:txBody>
      </p:sp>
      <p:sp>
        <p:nvSpPr>
          <p:cNvPr id="5" name="Footer Placeholder 4"/>
          <p:cNvSpPr>
            <a:spLocks noGrp="1"/>
          </p:cNvSpPr>
          <p:nvPr>
            <p:ph type="ftr" sz="quarter" idx="3"/>
          </p:nvPr>
        </p:nvSpPr>
        <p:spPr>
          <a:xfrm>
            <a:off x="264458" y="6275668"/>
            <a:ext cx="4840941" cy="365125"/>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6" name="Slide Number Placeholder 5"/>
          <p:cNvSpPr>
            <a:spLocks noGrp="1"/>
          </p:cNvSpPr>
          <p:nvPr>
            <p:ph type="sldNum" sz="quarter" idx="4"/>
          </p:nvPr>
        </p:nvSpPr>
        <p:spPr>
          <a:xfrm>
            <a:off x="7897906" y="6275668"/>
            <a:ext cx="990600" cy="365125"/>
          </a:xfrm>
          <a:prstGeom prst="rect">
            <a:avLst/>
          </a:prstGeom>
        </p:spPr>
        <p:txBody>
          <a:bodyPr vert="horz" lIns="91440" tIns="45720" rIns="91440" bIns="45720" rtlCol="0" anchor="ctr"/>
          <a:lstStyle>
            <a:lvl1pPr algn="r">
              <a:defRPr sz="3600">
                <a:solidFill>
                  <a:schemeClr val="bg1"/>
                </a:solidFill>
              </a:defRPr>
            </a:lvl1pPr>
          </a:lstStyle>
          <a:p>
            <a:fld id="{7F5CE407-6216-4202-80E4-A30DC2F709B2}"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4048" r:id="rId1"/>
    <p:sldLayoutId id="2147484049" r:id="rId2"/>
    <p:sldLayoutId id="2147484050" r:id="rId3"/>
    <p:sldLayoutId id="2147484051" r:id="rId4"/>
    <p:sldLayoutId id="2147484052" r:id="rId5"/>
    <p:sldLayoutId id="2147484053" r:id="rId6"/>
    <p:sldLayoutId id="2147484054" r:id="rId7"/>
    <p:sldLayoutId id="2147484055" r:id="rId8"/>
    <p:sldLayoutId id="2147484056" r:id="rId9"/>
    <p:sldLayoutId id="2147484057" r:id="rId10"/>
    <p:sldLayoutId id="2147484058" r:id="rId11"/>
    <p:sldLayoutId id="2147484059" r:id="rId12"/>
  </p:sldLayoutIdLst>
  <p:hf hdr="0" ftr="0" dt="0"/>
  <p:txStyles>
    <p:titleStyle>
      <a:lvl1pPr algn="ctr" defTabSz="914400" rtl="0" eaLnBrk="1" latinLnBrk="0" hangingPunct="1">
        <a:spcBef>
          <a:spcPct val="0"/>
        </a:spcBef>
        <a:buNone/>
        <a:defRPr kumimoji="1" sz="4600" kern="1200">
          <a:solidFill>
            <a:schemeClr val="accent1"/>
          </a:solidFill>
          <a:latin typeface="+mj-lt"/>
          <a:ea typeface="+mj-ea"/>
          <a:cs typeface="+mj-cs"/>
        </a:defRPr>
      </a:lvl1pPr>
    </p:titleStyle>
    <p:bodyStyle>
      <a:lvl1pPr marL="349250" indent="-349250" algn="l" defTabSz="914400" rtl="0" eaLnBrk="1" latinLnBrk="0" hangingPunct="1">
        <a:spcBef>
          <a:spcPts val="2000"/>
        </a:spcBef>
        <a:buClr>
          <a:schemeClr val="accent1">
            <a:lumMod val="60000"/>
            <a:lumOff val="40000"/>
          </a:schemeClr>
        </a:buClr>
        <a:buSzPct val="110000"/>
        <a:buFont typeface="Wingdings 2" pitchFamily="18" charset="2"/>
        <a:buChar char=""/>
        <a:defRPr kumimoji="1" sz="2400" kern="1200">
          <a:solidFill>
            <a:schemeClr val="tx1">
              <a:lumMod val="65000"/>
              <a:lumOff val="35000"/>
            </a:schemeClr>
          </a:solidFill>
          <a:latin typeface="+mn-lt"/>
          <a:ea typeface="+mn-ea"/>
          <a:cs typeface="+mn-cs"/>
        </a:defRPr>
      </a:lvl1pPr>
      <a:lvl2pPr marL="685800" indent="-336550" algn="l" defTabSz="914400" rtl="0" eaLnBrk="1" latinLnBrk="0" hangingPunct="1">
        <a:spcBef>
          <a:spcPts val="600"/>
        </a:spcBef>
        <a:buClr>
          <a:schemeClr val="accent1">
            <a:lumMod val="75000"/>
          </a:schemeClr>
        </a:buClr>
        <a:buSzPct val="110000"/>
        <a:buFont typeface="Wingdings 2" pitchFamily="18" charset="2"/>
        <a:buChar char=""/>
        <a:defRPr kumimoji="1" sz="2200" kern="1200">
          <a:solidFill>
            <a:schemeClr val="tx1">
              <a:lumMod val="65000"/>
              <a:lumOff val="35000"/>
            </a:schemeClr>
          </a:solidFill>
          <a:latin typeface="+mn-lt"/>
          <a:ea typeface="+mn-ea"/>
          <a:cs typeface="+mn-cs"/>
        </a:defRPr>
      </a:lvl2pPr>
      <a:lvl3pPr marL="968375" indent="-282575" algn="l" defTabSz="914400" rtl="0" eaLnBrk="1" latinLnBrk="0" hangingPunct="1">
        <a:spcBef>
          <a:spcPts val="600"/>
        </a:spcBef>
        <a:buClr>
          <a:schemeClr val="accent1">
            <a:lumMod val="60000"/>
            <a:lumOff val="40000"/>
          </a:schemeClr>
        </a:buClr>
        <a:buSzPct val="110000"/>
        <a:buFont typeface="Wingdings 2" pitchFamily="18" charset="2"/>
        <a:buChar char=""/>
        <a:defRPr kumimoji="1" sz="2000" kern="1200">
          <a:solidFill>
            <a:schemeClr val="tx1">
              <a:lumMod val="65000"/>
              <a:lumOff val="35000"/>
            </a:schemeClr>
          </a:solidFill>
          <a:latin typeface="+mn-lt"/>
          <a:ea typeface="+mn-ea"/>
          <a:cs typeface="+mn-cs"/>
        </a:defRPr>
      </a:lvl3pPr>
      <a:lvl4pPr marL="1263650" indent="-295275" algn="l" defTabSz="914400" rtl="0" eaLnBrk="1" latinLnBrk="0" hangingPunct="1">
        <a:spcBef>
          <a:spcPts val="600"/>
        </a:spcBef>
        <a:buClr>
          <a:schemeClr val="accent1">
            <a:lumMod val="75000"/>
          </a:schemeClr>
        </a:buClr>
        <a:buSzPct val="110000"/>
        <a:buFont typeface="Wingdings 2" pitchFamily="18" charset="2"/>
        <a:buChar char=""/>
        <a:defRPr kumimoji="1" sz="1800" kern="1200">
          <a:solidFill>
            <a:schemeClr val="tx1">
              <a:lumMod val="65000"/>
              <a:lumOff val="35000"/>
            </a:schemeClr>
          </a:solidFill>
          <a:latin typeface="+mn-lt"/>
          <a:ea typeface="+mn-ea"/>
          <a:cs typeface="+mn-cs"/>
        </a:defRPr>
      </a:lvl4pPr>
      <a:lvl5pPr marL="1546225" indent="-282575" algn="l" defTabSz="914400" rtl="0" eaLnBrk="1" latinLnBrk="0" hangingPunct="1">
        <a:spcBef>
          <a:spcPts val="600"/>
        </a:spcBef>
        <a:buClr>
          <a:schemeClr val="accent1">
            <a:lumMod val="60000"/>
            <a:lumOff val="40000"/>
          </a:schemeClr>
        </a:buClr>
        <a:buSzPct val="110000"/>
        <a:buFont typeface="Wingdings 2" pitchFamily="18" charset="2"/>
        <a:buChar char=""/>
        <a:defRPr kumimoji="1" sz="1800" kern="1200">
          <a:solidFill>
            <a:schemeClr val="tx1">
              <a:lumMod val="65000"/>
              <a:lumOff val="35000"/>
            </a:schemeClr>
          </a:solidFill>
          <a:latin typeface="+mn-lt"/>
          <a:ea typeface="+mn-ea"/>
          <a:cs typeface="+mn-cs"/>
        </a:defRPr>
      </a:lvl5pPr>
      <a:lvl6pPr marL="1828800" indent="-282575" algn="l" defTabSz="914400" rtl="0" eaLnBrk="1" latinLnBrk="0" hangingPunct="1">
        <a:spcBef>
          <a:spcPct val="20000"/>
        </a:spcBef>
        <a:buClr>
          <a:schemeClr val="accent2"/>
        </a:buClr>
        <a:buSzPct val="110000"/>
        <a:buFont typeface="Wingdings 2" pitchFamily="18" charset="2"/>
        <a:buChar char=""/>
        <a:defRPr kumimoji="1" lang="en-US" sz="1800" kern="1200" dirty="0" smtClean="0">
          <a:solidFill>
            <a:schemeClr val="tx1">
              <a:lumMod val="65000"/>
              <a:lumOff val="35000"/>
            </a:schemeClr>
          </a:solidFill>
          <a:latin typeface="+mn-lt"/>
          <a:ea typeface="+mn-ea"/>
          <a:cs typeface="+mn-cs"/>
        </a:defRPr>
      </a:lvl6pPr>
      <a:lvl7pPr marL="2117725" indent="-282575" algn="l" defTabSz="914400" rtl="0" eaLnBrk="1" latinLnBrk="0" hangingPunct="1">
        <a:spcBef>
          <a:spcPct val="20000"/>
        </a:spcBef>
        <a:buClr>
          <a:schemeClr val="accent1">
            <a:lumMod val="60000"/>
            <a:lumOff val="40000"/>
          </a:schemeClr>
        </a:buClr>
        <a:buSzPct val="110000"/>
        <a:buFont typeface="Wingdings 2" pitchFamily="18" charset="2"/>
        <a:buChar char=""/>
        <a:defRPr kumimoji="1" lang="en-US" sz="1800" kern="1200" dirty="0" smtClean="0">
          <a:solidFill>
            <a:schemeClr val="tx1">
              <a:lumMod val="65000"/>
              <a:lumOff val="35000"/>
            </a:schemeClr>
          </a:solidFill>
          <a:latin typeface="+mn-lt"/>
          <a:ea typeface="+mn-ea"/>
          <a:cs typeface="+mn-cs"/>
        </a:defRPr>
      </a:lvl7pPr>
      <a:lvl8pPr marL="2398713" indent="-282575" algn="l" defTabSz="914400" rtl="0" eaLnBrk="1" latinLnBrk="0" hangingPunct="1">
        <a:spcBef>
          <a:spcPct val="20000"/>
        </a:spcBef>
        <a:buClr>
          <a:schemeClr val="accent2"/>
        </a:buClr>
        <a:buSzPct val="110000"/>
        <a:buFont typeface="Wingdings 2" pitchFamily="18" charset="2"/>
        <a:buChar char=""/>
        <a:defRPr kumimoji="1" lang="en-US" sz="1800" kern="1200" dirty="0" smtClean="0">
          <a:solidFill>
            <a:schemeClr val="tx1">
              <a:lumMod val="65000"/>
              <a:lumOff val="35000"/>
            </a:schemeClr>
          </a:solidFill>
          <a:latin typeface="+mn-lt"/>
          <a:ea typeface="+mn-ea"/>
          <a:cs typeface="+mn-cs"/>
        </a:defRPr>
      </a:lvl8pPr>
      <a:lvl9pPr marL="2689225" indent="-282575" algn="l" defTabSz="914400" rtl="0" eaLnBrk="1" latinLnBrk="0" hangingPunct="1">
        <a:spcBef>
          <a:spcPct val="20000"/>
        </a:spcBef>
        <a:buClr>
          <a:schemeClr val="accent1">
            <a:lumMod val="60000"/>
            <a:lumOff val="40000"/>
          </a:schemeClr>
        </a:buClr>
        <a:buSzPct val="110000"/>
        <a:buFont typeface="Wingdings 2" pitchFamily="18" charset="2"/>
        <a:buChar char=""/>
        <a:defRPr kumimoji="1" lang="en-US" sz="1800" kern="1200" dirty="0">
          <a:solidFill>
            <a:schemeClr val="tx1">
              <a:lumMod val="65000"/>
              <a:lumOff val="35000"/>
            </a:schemeClr>
          </a:solidFill>
          <a:latin typeface="+mn-lt"/>
          <a:ea typeface="+mn-ea"/>
          <a:cs typeface="+mn-cs"/>
        </a:defRPr>
      </a:lvl9pPr>
    </p:bodyStyle>
    <p:otherStyle>
      <a:defPPr>
        <a:defRPr/>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50178" name="Rectangle 1"/>
          <p:cNvSpPr>
            <a:spLocks noGrp="1" noChangeArrowheads="1"/>
          </p:cNvSpPr>
          <p:nvPr>
            <p:ph type="title"/>
          </p:nvPr>
        </p:nvSpPr>
        <p:spPr bwMode="auto">
          <a:xfrm>
            <a:off x="304800" y="4597400"/>
            <a:ext cx="8521700" cy="1562100"/>
          </a:xfrm>
          <a:prstGeom prst="rect">
            <a:avLst/>
          </a:prstGeom>
          <a:noFill/>
          <a:ln w="12700">
            <a:noFill/>
            <a:miter lim="800000"/>
            <a:headEnd/>
            <a:tailEnd/>
          </a:ln>
        </p:spPr>
        <p:txBody>
          <a:bodyPr vert="horz" wrap="square" lIns="38100" tIns="38100" rIns="38100" bIns="38100" numCol="1" anchor="ctr" anchorCtr="0" compatLnSpc="1">
            <a:prstTxWarp prst="textNoShape">
              <a:avLst/>
            </a:prstTxWarp>
          </a:bodyPr>
          <a:lstStyle/>
          <a:p>
            <a:pPr lvl="0"/>
            <a:r>
              <a:rPr lang="en-US" altLang="ja-JP" smtClean="0">
                <a:sym typeface="Herculanum"/>
              </a:rPr>
              <a:t>Click to edit Master title style</a:t>
            </a:r>
          </a:p>
        </p:txBody>
      </p:sp>
    </p:spTree>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Lst>
  <p:transition/>
  <p:hf hdr="0" ftr="0" dt="0"/>
  <p:txStyles>
    <p:titleStyle>
      <a:lvl1pPr algn="ctr" rtl="0" eaLnBrk="0" fontAlgn="base" hangingPunct="0">
        <a:spcBef>
          <a:spcPct val="0"/>
        </a:spcBef>
        <a:spcAft>
          <a:spcPct val="0"/>
        </a:spcAft>
        <a:defRPr sz="5400">
          <a:solidFill>
            <a:srgbClr val="3F3F3F"/>
          </a:solidFill>
          <a:latin typeface="+mj-lt"/>
          <a:ea typeface="+mj-ea"/>
          <a:cs typeface="+mj-cs"/>
          <a:sym typeface="Herculanum"/>
        </a:defRPr>
      </a:lvl1pPr>
      <a:lvl2pPr algn="ctr" rtl="0" eaLnBrk="0" fontAlgn="base" hangingPunct="0">
        <a:spcBef>
          <a:spcPct val="0"/>
        </a:spcBef>
        <a:spcAft>
          <a:spcPct val="0"/>
        </a:spcAft>
        <a:defRPr sz="5400">
          <a:solidFill>
            <a:srgbClr val="3F3F3F"/>
          </a:solidFill>
          <a:latin typeface="Herculanum" charset="0"/>
          <a:ea typeface="ヒラギノ明朝 ProN W3" charset="0"/>
          <a:cs typeface="ヒラギノ明朝 ProN W3" charset="0"/>
          <a:sym typeface="Herculanum"/>
        </a:defRPr>
      </a:lvl2pPr>
      <a:lvl3pPr algn="ctr" rtl="0" eaLnBrk="0" fontAlgn="base" hangingPunct="0">
        <a:spcBef>
          <a:spcPct val="0"/>
        </a:spcBef>
        <a:spcAft>
          <a:spcPct val="0"/>
        </a:spcAft>
        <a:defRPr sz="5400">
          <a:solidFill>
            <a:srgbClr val="3F3F3F"/>
          </a:solidFill>
          <a:latin typeface="Herculanum" charset="0"/>
          <a:ea typeface="ヒラギノ明朝 ProN W3" charset="0"/>
          <a:cs typeface="ヒラギノ明朝 ProN W3" charset="0"/>
          <a:sym typeface="Herculanum"/>
        </a:defRPr>
      </a:lvl3pPr>
      <a:lvl4pPr algn="ctr" rtl="0" eaLnBrk="0" fontAlgn="base" hangingPunct="0">
        <a:spcBef>
          <a:spcPct val="0"/>
        </a:spcBef>
        <a:spcAft>
          <a:spcPct val="0"/>
        </a:spcAft>
        <a:defRPr sz="5400">
          <a:solidFill>
            <a:srgbClr val="3F3F3F"/>
          </a:solidFill>
          <a:latin typeface="Herculanum" charset="0"/>
          <a:ea typeface="ヒラギノ明朝 ProN W3" charset="0"/>
          <a:cs typeface="ヒラギノ明朝 ProN W3" charset="0"/>
          <a:sym typeface="Herculanum"/>
        </a:defRPr>
      </a:lvl4pPr>
      <a:lvl5pPr algn="ctr" rtl="0" eaLnBrk="0" fontAlgn="base" hangingPunct="0">
        <a:spcBef>
          <a:spcPct val="0"/>
        </a:spcBef>
        <a:spcAft>
          <a:spcPct val="0"/>
        </a:spcAft>
        <a:defRPr sz="5400">
          <a:solidFill>
            <a:srgbClr val="3F3F3F"/>
          </a:solidFill>
          <a:latin typeface="Herculanum" charset="0"/>
          <a:ea typeface="ヒラギノ明朝 ProN W3" charset="0"/>
          <a:cs typeface="ヒラギノ明朝 ProN W3" charset="0"/>
          <a:sym typeface="Herculanum"/>
        </a:defRPr>
      </a:lvl5pPr>
      <a:lvl6pPr marL="457200" algn="ctr" rtl="0" fontAlgn="base">
        <a:spcBef>
          <a:spcPct val="0"/>
        </a:spcBef>
        <a:spcAft>
          <a:spcPct val="0"/>
        </a:spcAft>
        <a:defRPr sz="5400">
          <a:solidFill>
            <a:srgbClr val="3F3F3F"/>
          </a:solidFill>
          <a:latin typeface="Herculanum" charset="0"/>
          <a:ea typeface="ヒラギノ明朝 ProN W3" charset="0"/>
          <a:cs typeface="ヒラギノ明朝 ProN W3" charset="0"/>
          <a:sym typeface="Herculanum" charset="0"/>
        </a:defRPr>
      </a:lvl6pPr>
      <a:lvl7pPr marL="914400" algn="ctr" rtl="0" fontAlgn="base">
        <a:spcBef>
          <a:spcPct val="0"/>
        </a:spcBef>
        <a:spcAft>
          <a:spcPct val="0"/>
        </a:spcAft>
        <a:defRPr sz="5400">
          <a:solidFill>
            <a:srgbClr val="3F3F3F"/>
          </a:solidFill>
          <a:latin typeface="Herculanum" charset="0"/>
          <a:ea typeface="ヒラギノ明朝 ProN W3" charset="0"/>
          <a:cs typeface="ヒラギノ明朝 ProN W3" charset="0"/>
          <a:sym typeface="Herculanum" charset="0"/>
        </a:defRPr>
      </a:lvl7pPr>
      <a:lvl8pPr marL="1371600" algn="ctr" rtl="0" fontAlgn="base">
        <a:spcBef>
          <a:spcPct val="0"/>
        </a:spcBef>
        <a:spcAft>
          <a:spcPct val="0"/>
        </a:spcAft>
        <a:defRPr sz="5400">
          <a:solidFill>
            <a:srgbClr val="3F3F3F"/>
          </a:solidFill>
          <a:latin typeface="Herculanum" charset="0"/>
          <a:ea typeface="ヒラギノ明朝 ProN W3" charset="0"/>
          <a:cs typeface="ヒラギノ明朝 ProN W3" charset="0"/>
          <a:sym typeface="Herculanum" charset="0"/>
        </a:defRPr>
      </a:lvl8pPr>
      <a:lvl9pPr marL="1828800" algn="ctr" rtl="0" fontAlgn="base">
        <a:spcBef>
          <a:spcPct val="0"/>
        </a:spcBef>
        <a:spcAft>
          <a:spcPct val="0"/>
        </a:spcAft>
        <a:defRPr sz="5400">
          <a:solidFill>
            <a:srgbClr val="3F3F3F"/>
          </a:solidFill>
          <a:latin typeface="Herculanum" charset="0"/>
          <a:ea typeface="ヒラギノ明朝 ProN W3" charset="0"/>
          <a:cs typeface="ヒラギノ明朝 ProN W3" charset="0"/>
          <a:sym typeface="Herculanum" charset="0"/>
        </a:defRPr>
      </a:lvl9pPr>
    </p:titleStyle>
    <p:bodyStyle>
      <a:lvl1pPr algn="ctr" rtl="0" eaLnBrk="0" fontAlgn="base" hangingPunct="0">
        <a:spcBef>
          <a:spcPct val="0"/>
        </a:spcBef>
        <a:spcAft>
          <a:spcPct val="0"/>
        </a:spcAft>
        <a:defRPr sz="2200">
          <a:solidFill>
            <a:schemeClr val="tx1"/>
          </a:solidFill>
          <a:latin typeface="+mn-lt"/>
          <a:ea typeface="+mn-ea"/>
          <a:cs typeface="+mn-cs"/>
          <a:sym typeface="Palatino"/>
        </a:defRPr>
      </a:lvl1pPr>
      <a:lvl2pPr algn="ctr" rtl="0" eaLnBrk="0" fontAlgn="base" hangingPunct="0">
        <a:spcBef>
          <a:spcPct val="0"/>
        </a:spcBef>
        <a:spcAft>
          <a:spcPct val="0"/>
        </a:spcAft>
        <a:defRPr sz="2200">
          <a:solidFill>
            <a:schemeClr val="tx1"/>
          </a:solidFill>
          <a:latin typeface="+mn-lt"/>
          <a:ea typeface="+mn-ea"/>
          <a:cs typeface="+mn-cs"/>
          <a:sym typeface="Palatino"/>
        </a:defRPr>
      </a:lvl2pPr>
      <a:lvl3pPr algn="ctr" rtl="0" eaLnBrk="0" fontAlgn="base" hangingPunct="0">
        <a:spcBef>
          <a:spcPct val="0"/>
        </a:spcBef>
        <a:spcAft>
          <a:spcPct val="0"/>
        </a:spcAft>
        <a:defRPr sz="2200">
          <a:solidFill>
            <a:schemeClr val="tx1"/>
          </a:solidFill>
          <a:latin typeface="+mn-lt"/>
          <a:ea typeface="+mn-ea"/>
          <a:cs typeface="+mn-cs"/>
          <a:sym typeface="Palatino"/>
        </a:defRPr>
      </a:lvl3pPr>
      <a:lvl4pPr algn="ctr" rtl="0" eaLnBrk="0" fontAlgn="base" hangingPunct="0">
        <a:spcBef>
          <a:spcPct val="0"/>
        </a:spcBef>
        <a:spcAft>
          <a:spcPct val="0"/>
        </a:spcAft>
        <a:defRPr sz="2200">
          <a:solidFill>
            <a:schemeClr val="tx1"/>
          </a:solidFill>
          <a:latin typeface="+mn-lt"/>
          <a:ea typeface="+mn-ea"/>
          <a:cs typeface="+mn-cs"/>
          <a:sym typeface="Palatino"/>
        </a:defRPr>
      </a:lvl4pPr>
      <a:lvl5pPr algn="ctr" rtl="0" eaLnBrk="0" fontAlgn="base" hangingPunct="0">
        <a:spcBef>
          <a:spcPct val="0"/>
        </a:spcBef>
        <a:spcAft>
          <a:spcPct val="0"/>
        </a:spcAft>
        <a:defRPr sz="2200">
          <a:solidFill>
            <a:schemeClr val="tx1"/>
          </a:solidFill>
          <a:latin typeface="+mn-lt"/>
          <a:ea typeface="+mn-ea"/>
          <a:cs typeface="+mn-cs"/>
          <a:sym typeface="Palatino"/>
        </a:defRPr>
      </a:lvl5pPr>
      <a:lvl6pPr marL="457200" algn="ctr" rtl="0" fontAlgn="base">
        <a:spcBef>
          <a:spcPct val="0"/>
        </a:spcBef>
        <a:spcAft>
          <a:spcPct val="0"/>
        </a:spcAft>
        <a:defRPr sz="2200">
          <a:solidFill>
            <a:schemeClr val="tx1"/>
          </a:solidFill>
          <a:latin typeface="+mn-lt"/>
          <a:ea typeface="+mn-ea"/>
          <a:cs typeface="+mn-cs"/>
          <a:sym typeface="Palatino" charset="0"/>
        </a:defRPr>
      </a:lvl6pPr>
      <a:lvl7pPr marL="914400" algn="ctr" rtl="0" fontAlgn="base">
        <a:spcBef>
          <a:spcPct val="0"/>
        </a:spcBef>
        <a:spcAft>
          <a:spcPct val="0"/>
        </a:spcAft>
        <a:defRPr sz="2200">
          <a:solidFill>
            <a:schemeClr val="tx1"/>
          </a:solidFill>
          <a:latin typeface="+mn-lt"/>
          <a:ea typeface="+mn-ea"/>
          <a:cs typeface="+mn-cs"/>
          <a:sym typeface="Palatino" charset="0"/>
        </a:defRPr>
      </a:lvl7pPr>
      <a:lvl8pPr marL="1371600" algn="ctr" rtl="0" fontAlgn="base">
        <a:spcBef>
          <a:spcPct val="0"/>
        </a:spcBef>
        <a:spcAft>
          <a:spcPct val="0"/>
        </a:spcAft>
        <a:defRPr sz="2200">
          <a:solidFill>
            <a:schemeClr val="tx1"/>
          </a:solidFill>
          <a:latin typeface="+mn-lt"/>
          <a:ea typeface="+mn-ea"/>
          <a:cs typeface="+mn-cs"/>
          <a:sym typeface="Palatino" charset="0"/>
        </a:defRPr>
      </a:lvl8pPr>
      <a:lvl9pPr marL="1828800" algn="ctr" rtl="0" fontAlgn="base">
        <a:spcBef>
          <a:spcPct val="0"/>
        </a:spcBef>
        <a:spcAft>
          <a:spcPct val="0"/>
        </a:spcAft>
        <a:defRPr sz="2200">
          <a:solidFill>
            <a:schemeClr val="tx1"/>
          </a:solidFill>
          <a:latin typeface="+mn-lt"/>
          <a:ea typeface="+mn-ea"/>
          <a:cs typeface="+mn-cs"/>
          <a:sym typeface="Palatino" charset="0"/>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62466" name="Rectangle 1"/>
          <p:cNvSpPr>
            <a:spLocks noGrp="1" noChangeArrowheads="1"/>
          </p:cNvSpPr>
          <p:nvPr>
            <p:ph type="title"/>
          </p:nvPr>
        </p:nvSpPr>
        <p:spPr bwMode="auto">
          <a:xfrm>
            <a:off x="304800" y="2235200"/>
            <a:ext cx="8521700" cy="2387600"/>
          </a:xfrm>
          <a:prstGeom prst="rect">
            <a:avLst/>
          </a:prstGeom>
          <a:noFill/>
          <a:ln w="12700">
            <a:noFill/>
            <a:miter lim="800000"/>
            <a:headEnd/>
            <a:tailEnd/>
          </a:ln>
        </p:spPr>
        <p:txBody>
          <a:bodyPr vert="horz" wrap="square" lIns="38100" tIns="38100" rIns="38100" bIns="38100" numCol="1" anchor="ctr" anchorCtr="0" compatLnSpc="1">
            <a:prstTxWarp prst="textNoShape">
              <a:avLst/>
            </a:prstTxWarp>
          </a:bodyPr>
          <a:lstStyle/>
          <a:p>
            <a:pPr lvl="0"/>
            <a:r>
              <a:rPr lang="en-US" altLang="ja-JP" smtClean="0">
                <a:sym typeface="Herculanum"/>
              </a:rPr>
              <a:t>Click to edit Master title style</a:t>
            </a:r>
          </a:p>
        </p:txBody>
      </p:sp>
    </p:spTree>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Lst>
  <p:transition/>
  <p:hf hdr="0" ftr="0" dt="0"/>
  <p:txStyles>
    <p:titleStyle>
      <a:lvl1pPr algn="ctr" rtl="0" eaLnBrk="0" fontAlgn="base" hangingPunct="0">
        <a:spcBef>
          <a:spcPct val="0"/>
        </a:spcBef>
        <a:spcAft>
          <a:spcPct val="0"/>
        </a:spcAft>
        <a:defRPr sz="5400">
          <a:solidFill>
            <a:srgbClr val="3F3F3F"/>
          </a:solidFill>
          <a:latin typeface="+mj-lt"/>
          <a:ea typeface="+mj-ea"/>
          <a:cs typeface="+mj-cs"/>
          <a:sym typeface="Herculanum"/>
        </a:defRPr>
      </a:lvl1pPr>
      <a:lvl2pPr algn="ctr" rtl="0" eaLnBrk="0" fontAlgn="base" hangingPunct="0">
        <a:spcBef>
          <a:spcPct val="0"/>
        </a:spcBef>
        <a:spcAft>
          <a:spcPct val="0"/>
        </a:spcAft>
        <a:defRPr sz="5400">
          <a:solidFill>
            <a:srgbClr val="3F3F3F"/>
          </a:solidFill>
          <a:latin typeface="Herculanum" charset="0"/>
          <a:ea typeface="ヒラギノ明朝 ProN W3" charset="0"/>
          <a:cs typeface="ヒラギノ明朝 ProN W3" charset="0"/>
          <a:sym typeface="Herculanum"/>
        </a:defRPr>
      </a:lvl2pPr>
      <a:lvl3pPr algn="ctr" rtl="0" eaLnBrk="0" fontAlgn="base" hangingPunct="0">
        <a:spcBef>
          <a:spcPct val="0"/>
        </a:spcBef>
        <a:spcAft>
          <a:spcPct val="0"/>
        </a:spcAft>
        <a:defRPr sz="5400">
          <a:solidFill>
            <a:srgbClr val="3F3F3F"/>
          </a:solidFill>
          <a:latin typeface="Herculanum" charset="0"/>
          <a:ea typeface="ヒラギノ明朝 ProN W3" charset="0"/>
          <a:cs typeface="ヒラギノ明朝 ProN W3" charset="0"/>
          <a:sym typeface="Herculanum"/>
        </a:defRPr>
      </a:lvl3pPr>
      <a:lvl4pPr algn="ctr" rtl="0" eaLnBrk="0" fontAlgn="base" hangingPunct="0">
        <a:spcBef>
          <a:spcPct val="0"/>
        </a:spcBef>
        <a:spcAft>
          <a:spcPct val="0"/>
        </a:spcAft>
        <a:defRPr sz="5400">
          <a:solidFill>
            <a:srgbClr val="3F3F3F"/>
          </a:solidFill>
          <a:latin typeface="Herculanum" charset="0"/>
          <a:ea typeface="ヒラギノ明朝 ProN W3" charset="0"/>
          <a:cs typeface="ヒラギノ明朝 ProN W3" charset="0"/>
          <a:sym typeface="Herculanum"/>
        </a:defRPr>
      </a:lvl4pPr>
      <a:lvl5pPr algn="ctr" rtl="0" eaLnBrk="0" fontAlgn="base" hangingPunct="0">
        <a:spcBef>
          <a:spcPct val="0"/>
        </a:spcBef>
        <a:spcAft>
          <a:spcPct val="0"/>
        </a:spcAft>
        <a:defRPr sz="5400">
          <a:solidFill>
            <a:srgbClr val="3F3F3F"/>
          </a:solidFill>
          <a:latin typeface="Herculanum" charset="0"/>
          <a:ea typeface="ヒラギノ明朝 ProN W3" charset="0"/>
          <a:cs typeface="ヒラギノ明朝 ProN W3" charset="0"/>
          <a:sym typeface="Herculanum"/>
        </a:defRPr>
      </a:lvl5pPr>
      <a:lvl6pPr marL="457200" algn="ctr" rtl="0" fontAlgn="base">
        <a:spcBef>
          <a:spcPct val="0"/>
        </a:spcBef>
        <a:spcAft>
          <a:spcPct val="0"/>
        </a:spcAft>
        <a:defRPr sz="5400">
          <a:solidFill>
            <a:srgbClr val="3F3F3F"/>
          </a:solidFill>
          <a:latin typeface="Herculanum" charset="0"/>
          <a:ea typeface="ヒラギノ明朝 ProN W3" charset="0"/>
          <a:cs typeface="ヒラギノ明朝 ProN W3" charset="0"/>
          <a:sym typeface="Herculanum" charset="0"/>
        </a:defRPr>
      </a:lvl6pPr>
      <a:lvl7pPr marL="914400" algn="ctr" rtl="0" fontAlgn="base">
        <a:spcBef>
          <a:spcPct val="0"/>
        </a:spcBef>
        <a:spcAft>
          <a:spcPct val="0"/>
        </a:spcAft>
        <a:defRPr sz="5400">
          <a:solidFill>
            <a:srgbClr val="3F3F3F"/>
          </a:solidFill>
          <a:latin typeface="Herculanum" charset="0"/>
          <a:ea typeface="ヒラギノ明朝 ProN W3" charset="0"/>
          <a:cs typeface="ヒラギノ明朝 ProN W3" charset="0"/>
          <a:sym typeface="Herculanum" charset="0"/>
        </a:defRPr>
      </a:lvl7pPr>
      <a:lvl8pPr marL="1371600" algn="ctr" rtl="0" fontAlgn="base">
        <a:spcBef>
          <a:spcPct val="0"/>
        </a:spcBef>
        <a:spcAft>
          <a:spcPct val="0"/>
        </a:spcAft>
        <a:defRPr sz="5400">
          <a:solidFill>
            <a:srgbClr val="3F3F3F"/>
          </a:solidFill>
          <a:latin typeface="Herculanum" charset="0"/>
          <a:ea typeface="ヒラギノ明朝 ProN W3" charset="0"/>
          <a:cs typeface="ヒラギノ明朝 ProN W3" charset="0"/>
          <a:sym typeface="Herculanum" charset="0"/>
        </a:defRPr>
      </a:lvl8pPr>
      <a:lvl9pPr marL="1828800" algn="ctr" rtl="0" fontAlgn="base">
        <a:spcBef>
          <a:spcPct val="0"/>
        </a:spcBef>
        <a:spcAft>
          <a:spcPct val="0"/>
        </a:spcAft>
        <a:defRPr sz="5400">
          <a:solidFill>
            <a:srgbClr val="3F3F3F"/>
          </a:solidFill>
          <a:latin typeface="Herculanum" charset="0"/>
          <a:ea typeface="ヒラギノ明朝 ProN W3" charset="0"/>
          <a:cs typeface="ヒラギノ明朝 ProN W3" charset="0"/>
          <a:sym typeface="Herculanum" charset="0"/>
        </a:defRPr>
      </a:lvl9pPr>
    </p:titleStyle>
    <p:bodyStyle>
      <a:lvl1pPr algn="ctr" rtl="0" eaLnBrk="0" fontAlgn="base" hangingPunct="0">
        <a:spcBef>
          <a:spcPct val="0"/>
        </a:spcBef>
        <a:spcAft>
          <a:spcPct val="0"/>
        </a:spcAft>
        <a:defRPr sz="2200">
          <a:solidFill>
            <a:schemeClr val="tx1"/>
          </a:solidFill>
          <a:latin typeface="+mn-lt"/>
          <a:ea typeface="+mn-ea"/>
          <a:cs typeface="+mn-cs"/>
          <a:sym typeface="Palatino"/>
        </a:defRPr>
      </a:lvl1pPr>
      <a:lvl2pPr algn="ctr" rtl="0" eaLnBrk="0" fontAlgn="base" hangingPunct="0">
        <a:spcBef>
          <a:spcPct val="0"/>
        </a:spcBef>
        <a:spcAft>
          <a:spcPct val="0"/>
        </a:spcAft>
        <a:defRPr sz="2200">
          <a:solidFill>
            <a:schemeClr val="tx1"/>
          </a:solidFill>
          <a:latin typeface="+mn-lt"/>
          <a:ea typeface="+mn-ea"/>
          <a:cs typeface="+mn-cs"/>
          <a:sym typeface="Palatino"/>
        </a:defRPr>
      </a:lvl2pPr>
      <a:lvl3pPr algn="ctr" rtl="0" eaLnBrk="0" fontAlgn="base" hangingPunct="0">
        <a:spcBef>
          <a:spcPct val="0"/>
        </a:spcBef>
        <a:spcAft>
          <a:spcPct val="0"/>
        </a:spcAft>
        <a:defRPr sz="2200">
          <a:solidFill>
            <a:schemeClr val="tx1"/>
          </a:solidFill>
          <a:latin typeface="+mn-lt"/>
          <a:ea typeface="+mn-ea"/>
          <a:cs typeface="+mn-cs"/>
          <a:sym typeface="Palatino"/>
        </a:defRPr>
      </a:lvl3pPr>
      <a:lvl4pPr algn="ctr" rtl="0" eaLnBrk="0" fontAlgn="base" hangingPunct="0">
        <a:spcBef>
          <a:spcPct val="0"/>
        </a:spcBef>
        <a:spcAft>
          <a:spcPct val="0"/>
        </a:spcAft>
        <a:defRPr sz="2200">
          <a:solidFill>
            <a:schemeClr val="tx1"/>
          </a:solidFill>
          <a:latin typeface="+mn-lt"/>
          <a:ea typeface="+mn-ea"/>
          <a:cs typeface="+mn-cs"/>
          <a:sym typeface="Palatino"/>
        </a:defRPr>
      </a:lvl4pPr>
      <a:lvl5pPr algn="ctr" rtl="0" eaLnBrk="0" fontAlgn="base" hangingPunct="0">
        <a:spcBef>
          <a:spcPct val="0"/>
        </a:spcBef>
        <a:spcAft>
          <a:spcPct val="0"/>
        </a:spcAft>
        <a:defRPr sz="2200">
          <a:solidFill>
            <a:schemeClr val="tx1"/>
          </a:solidFill>
          <a:latin typeface="+mn-lt"/>
          <a:ea typeface="+mn-ea"/>
          <a:cs typeface="+mn-cs"/>
          <a:sym typeface="Palatino"/>
        </a:defRPr>
      </a:lvl5pPr>
      <a:lvl6pPr marL="457200" algn="ctr" rtl="0" fontAlgn="base">
        <a:spcBef>
          <a:spcPct val="0"/>
        </a:spcBef>
        <a:spcAft>
          <a:spcPct val="0"/>
        </a:spcAft>
        <a:defRPr sz="2200">
          <a:solidFill>
            <a:schemeClr val="tx1"/>
          </a:solidFill>
          <a:latin typeface="+mn-lt"/>
          <a:ea typeface="+mn-ea"/>
          <a:cs typeface="+mn-cs"/>
          <a:sym typeface="Palatino" charset="0"/>
        </a:defRPr>
      </a:lvl6pPr>
      <a:lvl7pPr marL="914400" algn="ctr" rtl="0" fontAlgn="base">
        <a:spcBef>
          <a:spcPct val="0"/>
        </a:spcBef>
        <a:spcAft>
          <a:spcPct val="0"/>
        </a:spcAft>
        <a:defRPr sz="2200">
          <a:solidFill>
            <a:schemeClr val="tx1"/>
          </a:solidFill>
          <a:latin typeface="+mn-lt"/>
          <a:ea typeface="+mn-ea"/>
          <a:cs typeface="+mn-cs"/>
          <a:sym typeface="Palatino" charset="0"/>
        </a:defRPr>
      </a:lvl7pPr>
      <a:lvl8pPr marL="1371600" algn="ctr" rtl="0" fontAlgn="base">
        <a:spcBef>
          <a:spcPct val="0"/>
        </a:spcBef>
        <a:spcAft>
          <a:spcPct val="0"/>
        </a:spcAft>
        <a:defRPr sz="2200">
          <a:solidFill>
            <a:schemeClr val="tx1"/>
          </a:solidFill>
          <a:latin typeface="+mn-lt"/>
          <a:ea typeface="+mn-ea"/>
          <a:cs typeface="+mn-cs"/>
          <a:sym typeface="Palatino" charset="0"/>
        </a:defRPr>
      </a:lvl8pPr>
      <a:lvl9pPr marL="1828800" algn="ctr" rtl="0" fontAlgn="base">
        <a:spcBef>
          <a:spcPct val="0"/>
        </a:spcBef>
        <a:spcAft>
          <a:spcPct val="0"/>
        </a:spcAft>
        <a:defRPr sz="2200">
          <a:solidFill>
            <a:schemeClr val="tx1"/>
          </a:solidFill>
          <a:latin typeface="+mn-lt"/>
          <a:ea typeface="+mn-ea"/>
          <a:cs typeface="+mn-cs"/>
          <a:sym typeface="Palatino" charset="0"/>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74754" name="Rectangle 1"/>
          <p:cNvSpPr>
            <a:spLocks noGrp="1" noChangeArrowheads="1"/>
          </p:cNvSpPr>
          <p:nvPr>
            <p:ph type="title"/>
          </p:nvPr>
        </p:nvSpPr>
        <p:spPr bwMode="auto">
          <a:xfrm>
            <a:off x="304800" y="2235200"/>
            <a:ext cx="8521700" cy="1435100"/>
          </a:xfrm>
          <a:prstGeom prst="rect">
            <a:avLst/>
          </a:prstGeom>
          <a:noFill/>
          <a:ln w="12700">
            <a:noFill/>
            <a:miter lim="800000"/>
            <a:headEnd/>
            <a:tailEnd/>
          </a:ln>
        </p:spPr>
        <p:txBody>
          <a:bodyPr vert="horz" wrap="square" lIns="38100" tIns="38100" rIns="38100" bIns="38100" numCol="1" anchor="b" anchorCtr="0" compatLnSpc="1">
            <a:prstTxWarp prst="textNoShape">
              <a:avLst/>
            </a:prstTxWarp>
          </a:bodyPr>
          <a:lstStyle/>
          <a:p>
            <a:pPr lvl="0"/>
            <a:r>
              <a:rPr lang="en-US" altLang="ja-JP" smtClean="0">
                <a:sym typeface="Herculanum"/>
              </a:rPr>
              <a:t>Click to edit Master title style</a:t>
            </a:r>
          </a:p>
        </p:txBody>
      </p:sp>
      <p:sp>
        <p:nvSpPr>
          <p:cNvPr id="74755" name="Rectangle 2"/>
          <p:cNvSpPr>
            <a:spLocks noGrp="1" noChangeArrowheads="1"/>
          </p:cNvSpPr>
          <p:nvPr>
            <p:ph type="body" idx="1"/>
          </p:nvPr>
        </p:nvSpPr>
        <p:spPr bwMode="auto">
          <a:xfrm>
            <a:off x="304800" y="3759200"/>
            <a:ext cx="8521700" cy="863600"/>
          </a:xfrm>
          <a:prstGeom prst="rect">
            <a:avLst/>
          </a:prstGeom>
          <a:noFill/>
          <a:ln w="12700">
            <a:noFill/>
            <a:miter lim="800000"/>
            <a:headEnd/>
            <a:tailEnd/>
          </a:ln>
        </p:spPr>
        <p:txBody>
          <a:bodyPr vert="horz" wrap="square" lIns="38100" tIns="38100" rIns="38100" bIns="38100" numCol="1" anchor="t" anchorCtr="0" compatLnSpc="1">
            <a:prstTxWarp prst="textNoShape">
              <a:avLst/>
            </a:prstTxWarp>
          </a:bodyPr>
          <a:lstStyle/>
          <a:p>
            <a:pPr lvl="0"/>
            <a:r>
              <a:rPr lang="en-US" altLang="ja-JP" smtClean="0">
                <a:sym typeface="Palatino"/>
              </a:rPr>
              <a:t>Click to edit Master text styles</a:t>
            </a:r>
          </a:p>
          <a:p>
            <a:pPr lvl="1"/>
            <a:r>
              <a:rPr lang="en-US" altLang="ja-JP" smtClean="0">
                <a:sym typeface="Palatino"/>
              </a:rPr>
              <a:t>Second level</a:t>
            </a:r>
          </a:p>
          <a:p>
            <a:pPr lvl="2"/>
            <a:r>
              <a:rPr lang="en-US" altLang="ja-JP" smtClean="0">
                <a:sym typeface="Palatino"/>
              </a:rPr>
              <a:t>Third level</a:t>
            </a:r>
          </a:p>
          <a:p>
            <a:pPr lvl="3"/>
            <a:r>
              <a:rPr lang="en-US" altLang="ja-JP" smtClean="0">
                <a:sym typeface="Palatino"/>
              </a:rPr>
              <a:t>Fourth level</a:t>
            </a:r>
          </a:p>
          <a:p>
            <a:pPr lvl="4"/>
            <a:r>
              <a:rPr lang="en-US" altLang="ja-JP" smtClean="0">
                <a:sym typeface="Palatino"/>
              </a:rPr>
              <a:t>Fifth level</a:t>
            </a:r>
          </a:p>
        </p:txBody>
      </p:sp>
    </p:spTree>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Lst>
  <p:transition/>
  <p:hf hdr="0" ftr="0" dt="0"/>
  <p:txStyles>
    <p:titleStyle>
      <a:lvl1pPr algn="ctr" rtl="0" eaLnBrk="0" fontAlgn="base" hangingPunct="0">
        <a:spcBef>
          <a:spcPct val="0"/>
        </a:spcBef>
        <a:spcAft>
          <a:spcPct val="0"/>
        </a:spcAft>
        <a:defRPr sz="5400">
          <a:solidFill>
            <a:srgbClr val="3F3F3F"/>
          </a:solidFill>
          <a:latin typeface="+mj-lt"/>
          <a:ea typeface="+mj-ea"/>
          <a:cs typeface="+mj-cs"/>
          <a:sym typeface="Herculanum"/>
        </a:defRPr>
      </a:lvl1pPr>
      <a:lvl2pPr algn="ctr" rtl="0" eaLnBrk="0" fontAlgn="base" hangingPunct="0">
        <a:spcBef>
          <a:spcPct val="0"/>
        </a:spcBef>
        <a:spcAft>
          <a:spcPct val="0"/>
        </a:spcAft>
        <a:defRPr sz="5400">
          <a:solidFill>
            <a:srgbClr val="3F3F3F"/>
          </a:solidFill>
          <a:latin typeface="Herculanum" charset="0"/>
          <a:ea typeface="ヒラギノ明朝 ProN W3" charset="0"/>
          <a:cs typeface="ヒラギノ明朝 ProN W3" charset="0"/>
          <a:sym typeface="Herculanum"/>
        </a:defRPr>
      </a:lvl2pPr>
      <a:lvl3pPr algn="ctr" rtl="0" eaLnBrk="0" fontAlgn="base" hangingPunct="0">
        <a:spcBef>
          <a:spcPct val="0"/>
        </a:spcBef>
        <a:spcAft>
          <a:spcPct val="0"/>
        </a:spcAft>
        <a:defRPr sz="5400">
          <a:solidFill>
            <a:srgbClr val="3F3F3F"/>
          </a:solidFill>
          <a:latin typeface="Herculanum" charset="0"/>
          <a:ea typeface="ヒラギノ明朝 ProN W3" charset="0"/>
          <a:cs typeface="ヒラギノ明朝 ProN W3" charset="0"/>
          <a:sym typeface="Herculanum"/>
        </a:defRPr>
      </a:lvl3pPr>
      <a:lvl4pPr algn="ctr" rtl="0" eaLnBrk="0" fontAlgn="base" hangingPunct="0">
        <a:spcBef>
          <a:spcPct val="0"/>
        </a:spcBef>
        <a:spcAft>
          <a:spcPct val="0"/>
        </a:spcAft>
        <a:defRPr sz="5400">
          <a:solidFill>
            <a:srgbClr val="3F3F3F"/>
          </a:solidFill>
          <a:latin typeface="Herculanum" charset="0"/>
          <a:ea typeface="ヒラギノ明朝 ProN W3" charset="0"/>
          <a:cs typeface="ヒラギノ明朝 ProN W3" charset="0"/>
          <a:sym typeface="Herculanum"/>
        </a:defRPr>
      </a:lvl4pPr>
      <a:lvl5pPr algn="ctr" rtl="0" eaLnBrk="0" fontAlgn="base" hangingPunct="0">
        <a:spcBef>
          <a:spcPct val="0"/>
        </a:spcBef>
        <a:spcAft>
          <a:spcPct val="0"/>
        </a:spcAft>
        <a:defRPr sz="5400">
          <a:solidFill>
            <a:srgbClr val="3F3F3F"/>
          </a:solidFill>
          <a:latin typeface="Herculanum" charset="0"/>
          <a:ea typeface="ヒラギノ明朝 ProN W3" charset="0"/>
          <a:cs typeface="ヒラギノ明朝 ProN W3" charset="0"/>
          <a:sym typeface="Herculanum"/>
        </a:defRPr>
      </a:lvl5pPr>
      <a:lvl6pPr marL="457200" algn="ctr" rtl="0" fontAlgn="base">
        <a:spcBef>
          <a:spcPct val="0"/>
        </a:spcBef>
        <a:spcAft>
          <a:spcPct val="0"/>
        </a:spcAft>
        <a:defRPr sz="5400">
          <a:solidFill>
            <a:srgbClr val="3F3F3F"/>
          </a:solidFill>
          <a:latin typeface="Herculanum" charset="0"/>
          <a:ea typeface="ヒラギノ明朝 ProN W3" charset="0"/>
          <a:cs typeface="ヒラギノ明朝 ProN W3" charset="0"/>
          <a:sym typeface="Herculanum" charset="0"/>
        </a:defRPr>
      </a:lvl6pPr>
      <a:lvl7pPr marL="914400" algn="ctr" rtl="0" fontAlgn="base">
        <a:spcBef>
          <a:spcPct val="0"/>
        </a:spcBef>
        <a:spcAft>
          <a:spcPct val="0"/>
        </a:spcAft>
        <a:defRPr sz="5400">
          <a:solidFill>
            <a:srgbClr val="3F3F3F"/>
          </a:solidFill>
          <a:latin typeface="Herculanum" charset="0"/>
          <a:ea typeface="ヒラギノ明朝 ProN W3" charset="0"/>
          <a:cs typeface="ヒラギノ明朝 ProN W3" charset="0"/>
          <a:sym typeface="Herculanum" charset="0"/>
        </a:defRPr>
      </a:lvl7pPr>
      <a:lvl8pPr marL="1371600" algn="ctr" rtl="0" fontAlgn="base">
        <a:spcBef>
          <a:spcPct val="0"/>
        </a:spcBef>
        <a:spcAft>
          <a:spcPct val="0"/>
        </a:spcAft>
        <a:defRPr sz="5400">
          <a:solidFill>
            <a:srgbClr val="3F3F3F"/>
          </a:solidFill>
          <a:latin typeface="Herculanum" charset="0"/>
          <a:ea typeface="ヒラギノ明朝 ProN W3" charset="0"/>
          <a:cs typeface="ヒラギノ明朝 ProN W3" charset="0"/>
          <a:sym typeface="Herculanum" charset="0"/>
        </a:defRPr>
      </a:lvl8pPr>
      <a:lvl9pPr marL="1828800" algn="ctr" rtl="0" fontAlgn="base">
        <a:spcBef>
          <a:spcPct val="0"/>
        </a:spcBef>
        <a:spcAft>
          <a:spcPct val="0"/>
        </a:spcAft>
        <a:defRPr sz="5400">
          <a:solidFill>
            <a:srgbClr val="3F3F3F"/>
          </a:solidFill>
          <a:latin typeface="Herculanum" charset="0"/>
          <a:ea typeface="ヒラギノ明朝 ProN W3" charset="0"/>
          <a:cs typeface="ヒラギノ明朝 ProN W3" charset="0"/>
          <a:sym typeface="Herculanum" charset="0"/>
        </a:defRPr>
      </a:lvl9pPr>
    </p:titleStyle>
    <p:bodyStyle>
      <a:lvl1pPr algn="ctr" rtl="0" eaLnBrk="0" fontAlgn="base" hangingPunct="0">
        <a:spcBef>
          <a:spcPct val="0"/>
        </a:spcBef>
        <a:spcAft>
          <a:spcPct val="0"/>
        </a:spcAft>
        <a:defRPr sz="2200">
          <a:solidFill>
            <a:schemeClr val="tx1"/>
          </a:solidFill>
          <a:latin typeface="+mn-lt"/>
          <a:ea typeface="+mn-ea"/>
          <a:cs typeface="+mn-cs"/>
          <a:sym typeface="Palatino"/>
        </a:defRPr>
      </a:lvl1pPr>
      <a:lvl2pPr algn="ctr" rtl="0" eaLnBrk="0" fontAlgn="base" hangingPunct="0">
        <a:spcBef>
          <a:spcPct val="0"/>
        </a:spcBef>
        <a:spcAft>
          <a:spcPct val="0"/>
        </a:spcAft>
        <a:defRPr sz="2200">
          <a:solidFill>
            <a:schemeClr val="tx1"/>
          </a:solidFill>
          <a:latin typeface="+mn-lt"/>
          <a:ea typeface="+mn-ea"/>
          <a:cs typeface="+mn-cs"/>
          <a:sym typeface="Palatino"/>
        </a:defRPr>
      </a:lvl2pPr>
      <a:lvl3pPr algn="ctr" rtl="0" eaLnBrk="0" fontAlgn="base" hangingPunct="0">
        <a:spcBef>
          <a:spcPct val="0"/>
        </a:spcBef>
        <a:spcAft>
          <a:spcPct val="0"/>
        </a:spcAft>
        <a:defRPr sz="2200">
          <a:solidFill>
            <a:schemeClr val="tx1"/>
          </a:solidFill>
          <a:latin typeface="+mn-lt"/>
          <a:ea typeface="+mn-ea"/>
          <a:cs typeface="+mn-cs"/>
          <a:sym typeface="Palatino"/>
        </a:defRPr>
      </a:lvl3pPr>
      <a:lvl4pPr algn="ctr" rtl="0" eaLnBrk="0" fontAlgn="base" hangingPunct="0">
        <a:spcBef>
          <a:spcPct val="0"/>
        </a:spcBef>
        <a:spcAft>
          <a:spcPct val="0"/>
        </a:spcAft>
        <a:defRPr sz="2200">
          <a:solidFill>
            <a:schemeClr val="tx1"/>
          </a:solidFill>
          <a:latin typeface="+mn-lt"/>
          <a:ea typeface="+mn-ea"/>
          <a:cs typeface="+mn-cs"/>
          <a:sym typeface="Palatino"/>
        </a:defRPr>
      </a:lvl4pPr>
      <a:lvl5pPr algn="ctr" rtl="0" eaLnBrk="0" fontAlgn="base" hangingPunct="0">
        <a:spcBef>
          <a:spcPct val="0"/>
        </a:spcBef>
        <a:spcAft>
          <a:spcPct val="0"/>
        </a:spcAft>
        <a:defRPr sz="2200">
          <a:solidFill>
            <a:schemeClr val="tx1"/>
          </a:solidFill>
          <a:latin typeface="+mn-lt"/>
          <a:ea typeface="+mn-ea"/>
          <a:cs typeface="+mn-cs"/>
          <a:sym typeface="Palatino"/>
        </a:defRPr>
      </a:lvl5pPr>
      <a:lvl6pPr marL="457200" algn="ctr" rtl="0" fontAlgn="base">
        <a:spcBef>
          <a:spcPct val="0"/>
        </a:spcBef>
        <a:spcAft>
          <a:spcPct val="0"/>
        </a:spcAft>
        <a:defRPr sz="2200">
          <a:solidFill>
            <a:schemeClr val="tx1"/>
          </a:solidFill>
          <a:latin typeface="+mn-lt"/>
          <a:ea typeface="+mn-ea"/>
          <a:cs typeface="+mn-cs"/>
          <a:sym typeface="Palatino" charset="0"/>
        </a:defRPr>
      </a:lvl6pPr>
      <a:lvl7pPr marL="914400" algn="ctr" rtl="0" fontAlgn="base">
        <a:spcBef>
          <a:spcPct val="0"/>
        </a:spcBef>
        <a:spcAft>
          <a:spcPct val="0"/>
        </a:spcAft>
        <a:defRPr sz="2200">
          <a:solidFill>
            <a:schemeClr val="tx1"/>
          </a:solidFill>
          <a:latin typeface="+mn-lt"/>
          <a:ea typeface="+mn-ea"/>
          <a:cs typeface="+mn-cs"/>
          <a:sym typeface="Palatino" charset="0"/>
        </a:defRPr>
      </a:lvl7pPr>
      <a:lvl8pPr marL="1371600" algn="ctr" rtl="0" fontAlgn="base">
        <a:spcBef>
          <a:spcPct val="0"/>
        </a:spcBef>
        <a:spcAft>
          <a:spcPct val="0"/>
        </a:spcAft>
        <a:defRPr sz="2200">
          <a:solidFill>
            <a:schemeClr val="tx1"/>
          </a:solidFill>
          <a:latin typeface="+mn-lt"/>
          <a:ea typeface="+mn-ea"/>
          <a:cs typeface="+mn-cs"/>
          <a:sym typeface="Palatino" charset="0"/>
        </a:defRPr>
      </a:lvl8pPr>
      <a:lvl9pPr marL="1828800" algn="ctr" rtl="0" fontAlgn="base">
        <a:spcBef>
          <a:spcPct val="0"/>
        </a:spcBef>
        <a:spcAft>
          <a:spcPct val="0"/>
        </a:spcAft>
        <a:defRPr sz="2200">
          <a:solidFill>
            <a:schemeClr val="tx1"/>
          </a:solidFill>
          <a:latin typeface="+mn-lt"/>
          <a:ea typeface="+mn-ea"/>
          <a:cs typeface="+mn-cs"/>
          <a:sym typeface="Palatino" charset="0"/>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87042" name="Rectangle 1"/>
          <p:cNvSpPr>
            <a:spLocks noGrp="1" noChangeArrowheads="1"/>
          </p:cNvSpPr>
          <p:nvPr>
            <p:ph type="body" idx="1"/>
          </p:nvPr>
        </p:nvSpPr>
        <p:spPr bwMode="auto">
          <a:xfrm>
            <a:off x="304800" y="889000"/>
            <a:ext cx="8521700" cy="5080000"/>
          </a:xfrm>
          <a:prstGeom prst="rect">
            <a:avLst/>
          </a:prstGeom>
          <a:noFill/>
          <a:ln w="12700">
            <a:noFill/>
            <a:miter lim="800000"/>
            <a:headEnd/>
            <a:tailEnd/>
          </a:ln>
        </p:spPr>
        <p:txBody>
          <a:bodyPr vert="horz" wrap="square" lIns="38100" tIns="38100" rIns="38100" bIns="38100" numCol="1" anchor="ctr" anchorCtr="0" compatLnSpc="1">
            <a:prstTxWarp prst="textNoShape">
              <a:avLst/>
            </a:prstTxWarp>
          </a:bodyPr>
          <a:lstStyle/>
          <a:p>
            <a:pPr lvl="0"/>
            <a:r>
              <a:rPr lang="en-US" altLang="ja-JP" smtClean="0">
                <a:sym typeface="Palatino"/>
              </a:rPr>
              <a:t>Click to edit Master text styles</a:t>
            </a:r>
          </a:p>
          <a:p>
            <a:pPr lvl="1"/>
            <a:r>
              <a:rPr lang="en-US" altLang="ja-JP" smtClean="0">
                <a:sym typeface="Palatino"/>
              </a:rPr>
              <a:t>Second level</a:t>
            </a:r>
          </a:p>
          <a:p>
            <a:pPr lvl="2"/>
            <a:r>
              <a:rPr lang="en-US" altLang="ja-JP" smtClean="0">
                <a:sym typeface="Palatino"/>
              </a:rPr>
              <a:t>Third level</a:t>
            </a:r>
          </a:p>
          <a:p>
            <a:pPr lvl="3"/>
            <a:r>
              <a:rPr lang="en-US" altLang="ja-JP" smtClean="0">
                <a:sym typeface="Palatino"/>
              </a:rPr>
              <a:t>Fourth level</a:t>
            </a:r>
          </a:p>
          <a:p>
            <a:pPr lvl="4"/>
            <a:r>
              <a:rPr lang="en-US" altLang="ja-JP" smtClean="0">
                <a:sym typeface="Palatino"/>
              </a:rPr>
              <a:t>Fifth level</a:t>
            </a:r>
          </a:p>
        </p:txBody>
      </p:sp>
    </p:spTree>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Lst>
  <p:transition/>
  <p:hf hdr="0" ftr="0" dt="0"/>
  <p:txStyles>
    <p:titleStyle>
      <a:lvl1pPr algn="ctr" rtl="0" eaLnBrk="0" fontAlgn="base" hangingPunct="0">
        <a:spcBef>
          <a:spcPct val="0"/>
        </a:spcBef>
        <a:spcAft>
          <a:spcPct val="0"/>
        </a:spcAft>
        <a:defRPr sz="5400">
          <a:solidFill>
            <a:srgbClr val="3F3F3F"/>
          </a:solidFill>
          <a:latin typeface="+mj-lt"/>
          <a:ea typeface="+mj-ea"/>
          <a:cs typeface="+mj-cs"/>
          <a:sym typeface="Herculanum"/>
        </a:defRPr>
      </a:lvl1pPr>
      <a:lvl2pPr algn="ctr" rtl="0" eaLnBrk="0" fontAlgn="base" hangingPunct="0">
        <a:spcBef>
          <a:spcPct val="0"/>
        </a:spcBef>
        <a:spcAft>
          <a:spcPct val="0"/>
        </a:spcAft>
        <a:defRPr sz="5400">
          <a:solidFill>
            <a:srgbClr val="3F3F3F"/>
          </a:solidFill>
          <a:latin typeface="Herculanum" charset="0"/>
          <a:ea typeface="ヒラギノ明朝 ProN W3" charset="0"/>
          <a:cs typeface="ヒラギノ明朝 ProN W3" charset="0"/>
          <a:sym typeface="Herculanum"/>
        </a:defRPr>
      </a:lvl2pPr>
      <a:lvl3pPr algn="ctr" rtl="0" eaLnBrk="0" fontAlgn="base" hangingPunct="0">
        <a:spcBef>
          <a:spcPct val="0"/>
        </a:spcBef>
        <a:spcAft>
          <a:spcPct val="0"/>
        </a:spcAft>
        <a:defRPr sz="5400">
          <a:solidFill>
            <a:srgbClr val="3F3F3F"/>
          </a:solidFill>
          <a:latin typeface="Herculanum" charset="0"/>
          <a:ea typeface="ヒラギノ明朝 ProN W3" charset="0"/>
          <a:cs typeface="ヒラギノ明朝 ProN W3" charset="0"/>
          <a:sym typeface="Herculanum"/>
        </a:defRPr>
      </a:lvl3pPr>
      <a:lvl4pPr algn="ctr" rtl="0" eaLnBrk="0" fontAlgn="base" hangingPunct="0">
        <a:spcBef>
          <a:spcPct val="0"/>
        </a:spcBef>
        <a:spcAft>
          <a:spcPct val="0"/>
        </a:spcAft>
        <a:defRPr sz="5400">
          <a:solidFill>
            <a:srgbClr val="3F3F3F"/>
          </a:solidFill>
          <a:latin typeface="Herculanum" charset="0"/>
          <a:ea typeface="ヒラギノ明朝 ProN W3" charset="0"/>
          <a:cs typeface="ヒラギノ明朝 ProN W3" charset="0"/>
          <a:sym typeface="Herculanum"/>
        </a:defRPr>
      </a:lvl4pPr>
      <a:lvl5pPr algn="ctr" rtl="0" eaLnBrk="0" fontAlgn="base" hangingPunct="0">
        <a:spcBef>
          <a:spcPct val="0"/>
        </a:spcBef>
        <a:spcAft>
          <a:spcPct val="0"/>
        </a:spcAft>
        <a:defRPr sz="5400">
          <a:solidFill>
            <a:srgbClr val="3F3F3F"/>
          </a:solidFill>
          <a:latin typeface="Herculanum" charset="0"/>
          <a:ea typeface="ヒラギノ明朝 ProN W3" charset="0"/>
          <a:cs typeface="ヒラギノ明朝 ProN W3" charset="0"/>
          <a:sym typeface="Herculanum"/>
        </a:defRPr>
      </a:lvl5pPr>
      <a:lvl6pPr marL="457200" algn="ctr" rtl="0" fontAlgn="base">
        <a:spcBef>
          <a:spcPct val="0"/>
        </a:spcBef>
        <a:spcAft>
          <a:spcPct val="0"/>
        </a:spcAft>
        <a:defRPr sz="5400">
          <a:solidFill>
            <a:srgbClr val="3F3F3F"/>
          </a:solidFill>
          <a:latin typeface="Herculanum" charset="0"/>
          <a:ea typeface="ヒラギノ明朝 ProN W3" charset="0"/>
          <a:cs typeface="ヒラギノ明朝 ProN W3" charset="0"/>
          <a:sym typeface="Herculanum" charset="0"/>
        </a:defRPr>
      </a:lvl6pPr>
      <a:lvl7pPr marL="914400" algn="ctr" rtl="0" fontAlgn="base">
        <a:spcBef>
          <a:spcPct val="0"/>
        </a:spcBef>
        <a:spcAft>
          <a:spcPct val="0"/>
        </a:spcAft>
        <a:defRPr sz="5400">
          <a:solidFill>
            <a:srgbClr val="3F3F3F"/>
          </a:solidFill>
          <a:latin typeface="Herculanum" charset="0"/>
          <a:ea typeface="ヒラギノ明朝 ProN W3" charset="0"/>
          <a:cs typeface="ヒラギノ明朝 ProN W3" charset="0"/>
          <a:sym typeface="Herculanum" charset="0"/>
        </a:defRPr>
      </a:lvl7pPr>
      <a:lvl8pPr marL="1371600" algn="ctr" rtl="0" fontAlgn="base">
        <a:spcBef>
          <a:spcPct val="0"/>
        </a:spcBef>
        <a:spcAft>
          <a:spcPct val="0"/>
        </a:spcAft>
        <a:defRPr sz="5400">
          <a:solidFill>
            <a:srgbClr val="3F3F3F"/>
          </a:solidFill>
          <a:latin typeface="Herculanum" charset="0"/>
          <a:ea typeface="ヒラギノ明朝 ProN W3" charset="0"/>
          <a:cs typeface="ヒラギノ明朝 ProN W3" charset="0"/>
          <a:sym typeface="Herculanum" charset="0"/>
        </a:defRPr>
      </a:lvl8pPr>
      <a:lvl9pPr marL="1828800" algn="ctr" rtl="0" fontAlgn="base">
        <a:spcBef>
          <a:spcPct val="0"/>
        </a:spcBef>
        <a:spcAft>
          <a:spcPct val="0"/>
        </a:spcAft>
        <a:defRPr sz="5400">
          <a:solidFill>
            <a:srgbClr val="3F3F3F"/>
          </a:solidFill>
          <a:latin typeface="Herculanum" charset="0"/>
          <a:ea typeface="ヒラギノ明朝 ProN W3" charset="0"/>
          <a:cs typeface="ヒラギノ明朝 ProN W3" charset="0"/>
          <a:sym typeface="Herculanum" charset="0"/>
        </a:defRPr>
      </a:lvl9pPr>
    </p:titleStyle>
    <p:bodyStyle>
      <a:lvl1pPr marL="650875" indent="-307975" algn="l" rtl="0" eaLnBrk="0" fontAlgn="base" hangingPunct="0">
        <a:spcBef>
          <a:spcPts val="2900"/>
        </a:spcBef>
        <a:spcAft>
          <a:spcPct val="0"/>
        </a:spcAft>
        <a:buSzPct val="52000"/>
        <a:buChar char="•"/>
        <a:defRPr sz="2800">
          <a:solidFill>
            <a:schemeClr val="tx1"/>
          </a:solidFill>
          <a:latin typeface="+mn-lt"/>
          <a:ea typeface="+mn-ea"/>
          <a:cs typeface="+mn-cs"/>
          <a:sym typeface="Palatino"/>
        </a:defRPr>
      </a:lvl1pPr>
      <a:lvl2pPr marL="1006475" indent="-307975" algn="l" rtl="0" eaLnBrk="0" fontAlgn="base" hangingPunct="0">
        <a:spcBef>
          <a:spcPts val="2900"/>
        </a:spcBef>
        <a:spcAft>
          <a:spcPct val="0"/>
        </a:spcAft>
        <a:buSzPct val="52000"/>
        <a:buChar char="•"/>
        <a:defRPr sz="2800">
          <a:solidFill>
            <a:schemeClr val="tx1"/>
          </a:solidFill>
          <a:latin typeface="+mn-lt"/>
          <a:ea typeface="+mn-ea"/>
          <a:cs typeface="+mn-cs"/>
          <a:sym typeface="Palatino"/>
        </a:defRPr>
      </a:lvl2pPr>
      <a:lvl3pPr marL="1349375" indent="-307975" algn="l" rtl="0" eaLnBrk="0" fontAlgn="base" hangingPunct="0">
        <a:spcBef>
          <a:spcPts val="2900"/>
        </a:spcBef>
        <a:spcAft>
          <a:spcPct val="0"/>
        </a:spcAft>
        <a:buSzPct val="52000"/>
        <a:buChar char="•"/>
        <a:defRPr sz="2800">
          <a:solidFill>
            <a:schemeClr val="tx1"/>
          </a:solidFill>
          <a:latin typeface="+mn-lt"/>
          <a:ea typeface="+mn-ea"/>
          <a:cs typeface="+mn-cs"/>
          <a:sym typeface="Palatino"/>
        </a:defRPr>
      </a:lvl3pPr>
      <a:lvl4pPr marL="1704975" indent="-307975" algn="l" rtl="0" eaLnBrk="0" fontAlgn="base" hangingPunct="0">
        <a:spcBef>
          <a:spcPts val="2900"/>
        </a:spcBef>
        <a:spcAft>
          <a:spcPct val="0"/>
        </a:spcAft>
        <a:buSzPct val="52000"/>
        <a:buChar char="•"/>
        <a:defRPr sz="2800">
          <a:solidFill>
            <a:schemeClr val="tx1"/>
          </a:solidFill>
          <a:latin typeface="+mn-lt"/>
          <a:ea typeface="+mn-ea"/>
          <a:cs typeface="+mn-cs"/>
          <a:sym typeface="Palatino"/>
        </a:defRPr>
      </a:lvl4pPr>
      <a:lvl5pPr marL="2060575" indent="-307975" algn="l" rtl="0" eaLnBrk="0" fontAlgn="base" hangingPunct="0">
        <a:spcBef>
          <a:spcPts val="2900"/>
        </a:spcBef>
        <a:spcAft>
          <a:spcPct val="0"/>
        </a:spcAft>
        <a:buSzPct val="52000"/>
        <a:buChar char="•"/>
        <a:defRPr sz="2800">
          <a:solidFill>
            <a:schemeClr val="tx1"/>
          </a:solidFill>
          <a:latin typeface="+mn-lt"/>
          <a:ea typeface="+mn-ea"/>
          <a:cs typeface="+mn-cs"/>
          <a:sym typeface="Palatino"/>
        </a:defRPr>
      </a:lvl5pPr>
      <a:lvl6pPr marL="2517775" indent="-307975" algn="l" rtl="0" fontAlgn="base">
        <a:spcBef>
          <a:spcPts val="2900"/>
        </a:spcBef>
        <a:spcAft>
          <a:spcPct val="0"/>
        </a:spcAft>
        <a:buSzPct val="52000"/>
        <a:buChar char="•"/>
        <a:defRPr sz="2800">
          <a:solidFill>
            <a:schemeClr val="tx1"/>
          </a:solidFill>
          <a:latin typeface="+mn-lt"/>
          <a:ea typeface="+mn-ea"/>
          <a:cs typeface="+mn-cs"/>
          <a:sym typeface="Palatino" charset="0"/>
        </a:defRPr>
      </a:lvl6pPr>
      <a:lvl7pPr marL="2974975" indent="-307975" algn="l" rtl="0" fontAlgn="base">
        <a:spcBef>
          <a:spcPts val="2900"/>
        </a:spcBef>
        <a:spcAft>
          <a:spcPct val="0"/>
        </a:spcAft>
        <a:buSzPct val="52000"/>
        <a:buChar char="•"/>
        <a:defRPr sz="2800">
          <a:solidFill>
            <a:schemeClr val="tx1"/>
          </a:solidFill>
          <a:latin typeface="+mn-lt"/>
          <a:ea typeface="+mn-ea"/>
          <a:cs typeface="+mn-cs"/>
          <a:sym typeface="Palatino" charset="0"/>
        </a:defRPr>
      </a:lvl7pPr>
      <a:lvl8pPr marL="3432175" indent="-307975" algn="l" rtl="0" fontAlgn="base">
        <a:spcBef>
          <a:spcPts val="2900"/>
        </a:spcBef>
        <a:spcAft>
          <a:spcPct val="0"/>
        </a:spcAft>
        <a:buSzPct val="52000"/>
        <a:buChar char="•"/>
        <a:defRPr sz="2800">
          <a:solidFill>
            <a:schemeClr val="tx1"/>
          </a:solidFill>
          <a:latin typeface="+mn-lt"/>
          <a:ea typeface="+mn-ea"/>
          <a:cs typeface="+mn-cs"/>
          <a:sym typeface="Palatino" charset="0"/>
        </a:defRPr>
      </a:lvl8pPr>
      <a:lvl9pPr marL="3889375" indent="-307975" algn="l" rtl="0" fontAlgn="base">
        <a:spcBef>
          <a:spcPts val="2900"/>
        </a:spcBef>
        <a:spcAft>
          <a:spcPct val="0"/>
        </a:spcAft>
        <a:buSzPct val="52000"/>
        <a:buChar char="•"/>
        <a:defRPr sz="2800">
          <a:solidFill>
            <a:schemeClr val="tx1"/>
          </a:solidFill>
          <a:latin typeface="+mn-lt"/>
          <a:ea typeface="+mn-ea"/>
          <a:cs typeface="+mn-cs"/>
          <a:sym typeface="Palatino" charset="0"/>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99330" name="Rectangle 1"/>
          <p:cNvSpPr>
            <a:spLocks noGrp="1" noChangeArrowheads="1"/>
          </p:cNvSpPr>
          <p:nvPr>
            <p:ph type="title"/>
          </p:nvPr>
        </p:nvSpPr>
        <p:spPr bwMode="auto">
          <a:xfrm>
            <a:off x="304800" y="101600"/>
            <a:ext cx="8521700" cy="965200"/>
          </a:xfrm>
          <a:prstGeom prst="rect">
            <a:avLst/>
          </a:prstGeom>
          <a:noFill/>
          <a:ln w="12700">
            <a:noFill/>
            <a:miter lim="800000"/>
            <a:headEnd/>
            <a:tailEnd/>
          </a:ln>
        </p:spPr>
        <p:txBody>
          <a:bodyPr vert="horz" wrap="square" lIns="38100" tIns="38100" rIns="38100" bIns="38100" numCol="1" anchor="ctr" anchorCtr="0" compatLnSpc="1">
            <a:prstTxWarp prst="textNoShape">
              <a:avLst/>
            </a:prstTxWarp>
          </a:bodyPr>
          <a:lstStyle/>
          <a:p>
            <a:pPr lvl="0"/>
            <a:r>
              <a:rPr lang="en-US" altLang="ja-JP" smtClean="0">
                <a:sym typeface="Herculanum"/>
              </a:rPr>
              <a:t>Click to edit Master title style</a:t>
            </a:r>
          </a:p>
        </p:txBody>
      </p:sp>
    </p:spTree>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Lst>
  <p:transition/>
  <p:hf hdr="0" ftr="0" dt="0"/>
  <p:txStyles>
    <p:titleStyle>
      <a:lvl1pPr algn="ctr" rtl="0" eaLnBrk="0" fontAlgn="base" hangingPunct="0">
        <a:spcBef>
          <a:spcPct val="0"/>
        </a:spcBef>
        <a:spcAft>
          <a:spcPct val="0"/>
        </a:spcAft>
        <a:defRPr sz="5400">
          <a:solidFill>
            <a:srgbClr val="3F3F3F"/>
          </a:solidFill>
          <a:latin typeface="+mj-lt"/>
          <a:ea typeface="+mj-ea"/>
          <a:cs typeface="+mj-cs"/>
          <a:sym typeface="Herculanum"/>
        </a:defRPr>
      </a:lvl1pPr>
      <a:lvl2pPr algn="ctr" rtl="0" eaLnBrk="0" fontAlgn="base" hangingPunct="0">
        <a:spcBef>
          <a:spcPct val="0"/>
        </a:spcBef>
        <a:spcAft>
          <a:spcPct val="0"/>
        </a:spcAft>
        <a:defRPr sz="5400">
          <a:solidFill>
            <a:srgbClr val="3F3F3F"/>
          </a:solidFill>
          <a:latin typeface="Herculanum" charset="0"/>
          <a:ea typeface="ヒラギノ明朝 ProN W3" charset="0"/>
          <a:cs typeface="ヒラギノ明朝 ProN W3" charset="0"/>
          <a:sym typeface="Herculanum"/>
        </a:defRPr>
      </a:lvl2pPr>
      <a:lvl3pPr algn="ctr" rtl="0" eaLnBrk="0" fontAlgn="base" hangingPunct="0">
        <a:spcBef>
          <a:spcPct val="0"/>
        </a:spcBef>
        <a:spcAft>
          <a:spcPct val="0"/>
        </a:spcAft>
        <a:defRPr sz="5400">
          <a:solidFill>
            <a:srgbClr val="3F3F3F"/>
          </a:solidFill>
          <a:latin typeface="Herculanum" charset="0"/>
          <a:ea typeface="ヒラギノ明朝 ProN W3" charset="0"/>
          <a:cs typeface="ヒラギノ明朝 ProN W3" charset="0"/>
          <a:sym typeface="Herculanum"/>
        </a:defRPr>
      </a:lvl3pPr>
      <a:lvl4pPr algn="ctr" rtl="0" eaLnBrk="0" fontAlgn="base" hangingPunct="0">
        <a:spcBef>
          <a:spcPct val="0"/>
        </a:spcBef>
        <a:spcAft>
          <a:spcPct val="0"/>
        </a:spcAft>
        <a:defRPr sz="5400">
          <a:solidFill>
            <a:srgbClr val="3F3F3F"/>
          </a:solidFill>
          <a:latin typeface="Herculanum" charset="0"/>
          <a:ea typeface="ヒラギノ明朝 ProN W3" charset="0"/>
          <a:cs typeface="ヒラギノ明朝 ProN W3" charset="0"/>
          <a:sym typeface="Herculanum"/>
        </a:defRPr>
      </a:lvl4pPr>
      <a:lvl5pPr algn="ctr" rtl="0" eaLnBrk="0" fontAlgn="base" hangingPunct="0">
        <a:spcBef>
          <a:spcPct val="0"/>
        </a:spcBef>
        <a:spcAft>
          <a:spcPct val="0"/>
        </a:spcAft>
        <a:defRPr sz="5400">
          <a:solidFill>
            <a:srgbClr val="3F3F3F"/>
          </a:solidFill>
          <a:latin typeface="Herculanum" charset="0"/>
          <a:ea typeface="ヒラギノ明朝 ProN W3" charset="0"/>
          <a:cs typeface="ヒラギノ明朝 ProN W3" charset="0"/>
          <a:sym typeface="Herculanum"/>
        </a:defRPr>
      </a:lvl5pPr>
      <a:lvl6pPr marL="457200" algn="ctr" rtl="0" fontAlgn="base">
        <a:spcBef>
          <a:spcPct val="0"/>
        </a:spcBef>
        <a:spcAft>
          <a:spcPct val="0"/>
        </a:spcAft>
        <a:defRPr sz="5400">
          <a:solidFill>
            <a:srgbClr val="3F3F3F"/>
          </a:solidFill>
          <a:latin typeface="Herculanum" charset="0"/>
          <a:ea typeface="ヒラギノ明朝 ProN W3" charset="0"/>
          <a:cs typeface="ヒラギノ明朝 ProN W3" charset="0"/>
          <a:sym typeface="Herculanum" charset="0"/>
        </a:defRPr>
      </a:lvl6pPr>
      <a:lvl7pPr marL="914400" algn="ctr" rtl="0" fontAlgn="base">
        <a:spcBef>
          <a:spcPct val="0"/>
        </a:spcBef>
        <a:spcAft>
          <a:spcPct val="0"/>
        </a:spcAft>
        <a:defRPr sz="5400">
          <a:solidFill>
            <a:srgbClr val="3F3F3F"/>
          </a:solidFill>
          <a:latin typeface="Herculanum" charset="0"/>
          <a:ea typeface="ヒラギノ明朝 ProN W3" charset="0"/>
          <a:cs typeface="ヒラギノ明朝 ProN W3" charset="0"/>
          <a:sym typeface="Herculanum" charset="0"/>
        </a:defRPr>
      </a:lvl7pPr>
      <a:lvl8pPr marL="1371600" algn="ctr" rtl="0" fontAlgn="base">
        <a:spcBef>
          <a:spcPct val="0"/>
        </a:spcBef>
        <a:spcAft>
          <a:spcPct val="0"/>
        </a:spcAft>
        <a:defRPr sz="5400">
          <a:solidFill>
            <a:srgbClr val="3F3F3F"/>
          </a:solidFill>
          <a:latin typeface="Herculanum" charset="0"/>
          <a:ea typeface="ヒラギノ明朝 ProN W3" charset="0"/>
          <a:cs typeface="ヒラギノ明朝 ProN W3" charset="0"/>
          <a:sym typeface="Herculanum" charset="0"/>
        </a:defRPr>
      </a:lvl8pPr>
      <a:lvl9pPr marL="1828800" algn="ctr" rtl="0" fontAlgn="base">
        <a:spcBef>
          <a:spcPct val="0"/>
        </a:spcBef>
        <a:spcAft>
          <a:spcPct val="0"/>
        </a:spcAft>
        <a:defRPr sz="5400">
          <a:solidFill>
            <a:srgbClr val="3F3F3F"/>
          </a:solidFill>
          <a:latin typeface="Herculanum" charset="0"/>
          <a:ea typeface="ヒラギノ明朝 ProN W3" charset="0"/>
          <a:cs typeface="ヒラギノ明朝 ProN W3" charset="0"/>
          <a:sym typeface="Herculanum" charset="0"/>
        </a:defRPr>
      </a:lvl9pPr>
    </p:titleStyle>
    <p:bodyStyle>
      <a:lvl1pPr marL="688975" indent="-307975" algn="l" rtl="0" eaLnBrk="0" fontAlgn="base" hangingPunct="0">
        <a:spcBef>
          <a:spcPts val="2500"/>
        </a:spcBef>
        <a:spcAft>
          <a:spcPct val="0"/>
        </a:spcAft>
        <a:buSzPct val="52000"/>
        <a:buChar char="•"/>
        <a:defRPr sz="2800">
          <a:solidFill>
            <a:schemeClr val="tx1"/>
          </a:solidFill>
          <a:latin typeface="+mn-lt"/>
          <a:ea typeface="+mn-ea"/>
          <a:cs typeface="+mn-cs"/>
          <a:sym typeface="Palatino"/>
        </a:defRPr>
      </a:lvl1pPr>
      <a:lvl2pPr marL="1044575" indent="-307975" algn="l" rtl="0" eaLnBrk="0" fontAlgn="base" hangingPunct="0">
        <a:spcBef>
          <a:spcPts val="2500"/>
        </a:spcBef>
        <a:spcAft>
          <a:spcPct val="0"/>
        </a:spcAft>
        <a:buSzPct val="52000"/>
        <a:buChar char="•"/>
        <a:defRPr sz="2800">
          <a:solidFill>
            <a:schemeClr val="tx1"/>
          </a:solidFill>
          <a:latin typeface="+mn-lt"/>
          <a:ea typeface="+mn-ea"/>
          <a:cs typeface="+mn-cs"/>
          <a:sym typeface="Palatino"/>
        </a:defRPr>
      </a:lvl2pPr>
      <a:lvl3pPr marL="1387475" indent="-307975" algn="l" rtl="0" eaLnBrk="0" fontAlgn="base" hangingPunct="0">
        <a:spcBef>
          <a:spcPts val="2500"/>
        </a:spcBef>
        <a:spcAft>
          <a:spcPct val="0"/>
        </a:spcAft>
        <a:buSzPct val="52000"/>
        <a:buChar char="•"/>
        <a:defRPr sz="2800">
          <a:solidFill>
            <a:schemeClr val="tx1"/>
          </a:solidFill>
          <a:latin typeface="+mn-lt"/>
          <a:ea typeface="+mn-ea"/>
          <a:cs typeface="+mn-cs"/>
          <a:sym typeface="Palatino"/>
        </a:defRPr>
      </a:lvl3pPr>
      <a:lvl4pPr marL="1743075" indent="-307975" algn="l" rtl="0" eaLnBrk="0" fontAlgn="base" hangingPunct="0">
        <a:spcBef>
          <a:spcPts val="2500"/>
        </a:spcBef>
        <a:spcAft>
          <a:spcPct val="0"/>
        </a:spcAft>
        <a:buSzPct val="52000"/>
        <a:buChar char="•"/>
        <a:defRPr sz="2800">
          <a:solidFill>
            <a:schemeClr val="tx1"/>
          </a:solidFill>
          <a:latin typeface="+mn-lt"/>
          <a:ea typeface="+mn-ea"/>
          <a:cs typeface="+mn-cs"/>
          <a:sym typeface="Palatino"/>
        </a:defRPr>
      </a:lvl4pPr>
      <a:lvl5pPr marL="2098675" indent="-307975" algn="l" rtl="0" eaLnBrk="0" fontAlgn="base" hangingPunct="0">
        <a:spcBef>
          <a:spcPts val="2500"/>
        </a:spcBef>
        <a:spcAft>
          <a:spcPct val="0"/>
        </a:spcAft>
        <a:buSzPct val="52000"/>
        <a:buChar char="•"/>
        <a:defRPr sz="2800">
          <a:solidFill>
            <a:schemeClr val="tx1"/>
          </a:solidFill>
          <a:latin typeface="+mn-lt"/>
          <a:ea typeface="+mn-ea"/>
          <a:cs typeface="+mn-cs"/>
          <a:sym typeface="Palatino"/>
        </a:defRPr>
      </a:lvl5pPr>
      <a:lvl6pPr marL="2555875" indent="-307975" algn="l" rtl="0" fontAlgn="base">
        <a:spcBef>
          <a:spcPts val="2500"/>
        </a:spcBef>
        <a:spcAft>
          <a:spcPct val="0"/>
        </a:spcAft>
        <a:buSzPct val="52000"/>
        <a:buChar char="•"/>
        <a:defRPr sz="2800">
          <a:solidFill>
            <a:schemeClr val="tx1"/>
          </a:solidFill>
          <a:latin typeface="+mn-lt"/>
          <a:ea typeface="+mn-ea"/>
          <a:cs typeface="+mn-cs"/>
          <a:sym typeface="Palatino" charset="0"/>
        </a:defRPr>
      </a:lvl6pPr>
      <a:lvl7pPr marL="3013075" indent="-307975" algn="l" rtl="0" fontAlgn="base">
        <a:spcBef>
          <a:spcPts val="2500"/>
        </a:spcBef>
        <a:spcAft>
          <a:spcPct val="0"/>
        </a:spcAft>
        <a:buSzPct val="52000"/>
        <a:buChar char="•"/>
        <a:defRPr sz="2800">
          <a:solidFill>
            <a:schemeClr val="tx1"/>
          </a:solidFill>
          <a:latin typeface="+mn-lt"/>
          <a:ea typeface="+mn-ea"/>
          <a:cs typeface="+mn-cs"/>
          <a:sym typeface="Palatino" charset="0"/>
        </a:defRPr>
      </a:lvl7pPr>
      <a:lvl8pPr marL="3470275" indent="-307975" algn="l" rtl="0" fontAlgn="base">
        <a:spcBef>
          <a:spcPts val="2500"/>
        </a:spcBef>
        <a:spcAft>
          <a:spcPct val="0"/>
        </a:spcAft>
        <a:buSzPct val="52000"/>
        <a:buChar char="•"/>
        <a:defRPr sz="2800">
          <a:solidFill>
            <a:schemeClr val="tx1"/>
          </a:solidFill>
          <a:latin typeface="+mn-lt"/>
          <a:ea typeface="+mn-ea"/>
          <a:cs typeface="+mn-cs"/>
          <a:sym typeface="Palatino" charset="0"/>
        </a:defRPr>
      </a:lvl8pPr>
      <a:lvl9pPr marL="3927475" indent="-307975" algn="l" rtl="0" fontAlgn="base">
        <a:spcBef>
          <a:spcPts val="2500"/>
        </a:spcBef>
        <a:spcAft>
          <a:spcPct val="0"/>
        </a:spcAft>
        <a:buSzPct val="52000"/>
        <a:buChar char="•"/>
        <a:defRPr sz="2800">
          <a:solidFill>
            <a:schemeClr val="tx1"/>
          </a:solidFill>
          <a:latin typeface="+mn-lt"/>
          <a:ea typeface="+mn-ea"/>
          <a:cs typeface="+mn-cs"/>
          <a:sym typeface="Palatino" charset="0"/>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111618" name="Rectangle 1"/>
          <p:cNvSpPr>
            <a:spLocks noGrp="1" noChangeArrowheads="1"/>
          </p:cNvSpPr>
          <p:nvPr>
            <p:ph type="title"/>
          </p:nvPr>
        </p:nvSpPr>
        <p:spPr bwMode="auto">
          <a:xfrm>
            <a:off x="304800" y="101600"/>
            <a:ext cx="8521700" cy="965200"/>
          </a:xfrm>
          <a:prstGeom prst="rect">
            <a:avLst/>
          </a:prstGeom>
          <a:noFill/>
          <a:ln w="12700">
            <a:noFill/>
            <a:miter lim="800000"/>
            <a:headEnd/>
            <a:tailEnd/>
          </a:ln>
        </p:spPr>
        <p:txBody>
          <a:bodyPr vert="horz" wrap="square" lIns="38100" tIns="38100" rIns="38100" bIns="38100" numCol="1" anchor="ctr" anchorCtr="0" compatLnSpc="1">
            <a:prstTxWarp prst="textNoShape">
              <a:avLst/>
            </a:prstTxWarp>
          </a:bodyPr>
          <a:lstStyle/>
          <a:p>
            <a:pPr lvl="0"/>
            <a:r>
              <a:rPr lang="en-US" altLang="ja-JP" smtClean="0">
                <a:sym typeface="Herculanum"/>
              </a:rPr>
              <a:t>Click to edit Master title style</a:t>
            </a:r>
          </a:p>
        </p:txBody>
      </p:sp>
      <p:sp>
        <p:nvSpPr>
          <p:cNvPr id="111619" name="Rectangle 2"/>
          <p:cNvSpPr>
            <a:spLocks noGrp="1" noChangeArrowheads="1"/>
          </p:cNvSpPr>
          <p:nvPr>
            <p:ph type="body" idx="1"/>
          </p:nvPr>
        </p:nvSpPr>
        <p:spPr bwMode="auto">
          <a:xfrm>
            <a:off x="304800" y="1663700"/>
            <a:ext cx="4622800" cy="4572000"/>
          </a:xfrm>
          <a:prstGeom prst="rect">
            <a:avLst/>
          </a:prstGeom>
          <a:noFill/>
          <a:ln w="12700">
            <a:noFill/>
            <a:miter lim="800000"/>
            <a:headEnd/>
            <a:tailEnd/>
          </a:ln>
        </p:spPr>
        <p:txBody>
          <a:bodyPr vert="horz" wrap="square" lIns="38100" tIns="38100" rIns="38100" bIns="38100" numCol="1" anchor="ctr" anchorCtr="0" compatLnSpc="1">
            <a:prstTxWarp prst="textNoShape">
              <a:avLst/>
            </a:prstTxWarp>
          </a:bodyPr>
          <a:lstStyle/>
          <a:p>
            <a:pPr lvl="0"/>
            <a:r>
              <a:rPr lang="en-US" altLang="ja-JP" smtClean="0">
                <a:sym typeface="Palatino"/>
              </a:rPr>
              <a:t>Click to edit Master text styles</a:t>
            </a:r>
          </a:p>
          <a:p>
            <a:pPr lvl="1"/>
            <a:r>
              <a:rPr lang="en-US" altLang="ja-JP" smtClean="0">
                <a:sym typeface="Palatino"/>
              </a:rPr>
              <a:t>Second level</a:t>
            </a:r>
          </a:p>
          <a:p>
            <a:pPr lvl="2"/>
            <a:r>
              <a:rPr lang="en-US" altLang="ja-JP" smtClean="0">
                <a:sym typeface="Palatino"/>
              </a:rPr>
              <a:t>Third level</a:t>
            </a:r>
          </a:p>
          <a:p>
            <a:pPr lvl="3"/>
            <a:r>
              <a:rPr lang="en-US" altLang="ja-JP" smtClean="0">
                <a:sym typeface="Palatino"/>
              </a:rPr>
              <a:t>Fourth level</a:t>
            </a:r>
          </a:p>
          <a:p>
            <a:pPr lvl="4"/>
            <a:r>
              <a:rPr lang="en-US" altLang="ja-JP" smtClean="0">
                <a:sym typeface="Palatino"/>
              </a:rPr>
              <a:t>Fifth level</a:t>
            </a:r>
          </a:p>
        </p:txBody>
      </p:sp>
    </p:spTree>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Lst>
  <p:transition/>
  <p:hf hdr="0" ftr="0" dt="0"/>
  <p:txStyles>
    <p:titleStyle>
      <a:lvl1pPr algn="ctr" rtl="0" eaLnBrk="0" fontAlgn="base" hangingPunct="0">
        <a:spcBef>
          <a:spcPct val="0"/>
        </a:spcBef>
        <a:spcAft>
          <a:spcPct val="0"/>
        </a:spcAft>
        <a:defRPr sz="5400">
          <a:solidFill>
            <a:srgbClr val="3F3F3F"/>
          </a:solidFill>
          <a:latin typeface="+mj-lt"/>
          <a:ea typeface="+mj-ea"/>
          <a:cs typeface="+mj-cs"/>
          <a:sym typeface="Herculanum"/>
        </a:defRPr>
      </a:lvl1pPr>
      <a:lvl2pPr algn="ctr" rtl="0" eaLnBrk="0" fontAlgn="base" hangingPunct="0">
        <a:spcBef>
          <a:spcPct val="0"/>
        </a:spcBef>
        <a:spcAft>
          <a:spcPct val="0"/>
        </a:spcAft>
        <a:defRPr sz="5400">
          <a:solidFill>
            <a:srgbClr val="3F3F3F"/>
          </a:solidFill>
          <a:latin typeface="Herculanum" charset="0"/>
          <a:ea typeface="ヒラギノ明朝 ProN W3" charset="0"/>
          <a:cs typeface="ヒラギノ明朝 ProN W3" charset="0"/>
          <a:sym typeface="Herculanum"/>
        </a:defRPr>
      </a:lvl2pPr>
      <a:lvl3pPr algn="ctr" rtl="0" eaLnBrk="0" fontAlgn="base" hangingPunct="0">
        <a:spcBef>
          <a:spcPct val="0"/>
        </a:spcBef>
        <a:spcAft>
          <a:spcPct val="0"/>
        </a:spcAft>
        <a:defRPr sz="5400">
          <a:solidFill>
            <a:srgbClr val="3F3F3F"/>
          </a:solidFill>
          <a:latin typeface="Herculanum" charset="0"/>
          <a:ea typeface="ヒラギノ明朝 ProN W3" charset="0"/>
          <a:cs typeface="ヒラギノ明朝 ProN W3" charset="0"/>
          <a:sym typeface="Herculanum"/>
        </a:defRPr>
      </a:lvl3pPr>
      <a:lvl4pPr algn="ctr" rtl="0" eaLnBrk="0" fontAlgn="base" hangingPunct="0">
        <a:spcBef>
          <a:spcPct val="0"/>
        </a:spcBef>
        <a:spcAft>
          <a:spcPct val="0"/>
        </a:spcAft>
        <a:defRPr sz="5400">
          <a:solidFill>
            <a:srgbClr val="3F3F3F"/>
          </a:solidFill>
          <a:latin typeface="Herculanum" charset="0"/>
          <a:ea typeface="ヒラギノ明朝 ProN W3" charset="0"/>
          <a:cs typeface="ヒラギノ明朝 ProN W3" charset="0"/>
          <a:sym typeface="Herculanum"/>
        </a:defRPr>
      </a:lvl4pPr>
      <a:lvl5pPr algn="ctr" rtl="0" eaLnBrk="0" fontAlgn="base" hangingPunct="0">
        <a:spcBef>
          <a:spcPct val="0"/>
        </a:spcBef>
        <a:spcAft>
          <a:spcPct val="0"/>
        </a:spcAft>
        <a:defRPr sz="5400">
          <a:solidFill>
            <a:srgbClr val="3F3F3F"/>
          </a:solidFill>
          <a:latin typeface="Herculanum" charset="0"/>
          <a:ea typeface="ヒラギノ明朝 ProN W3" charset="0"/>
          <a:cs typeface="ヒラギノ明朝 ProN W3" charset="0"/>
          <a:sym typeface="Herculanum"/>
        </a:defRPr>
      </a:lvl5pPr>
      <a:lvl6pPr marL="457200" algn="ctr" rtl="0" fontAlgn="base">
        <a:spcBef>
          <a:spcPct val="0"/>
        </a:spcBef>
        <a:spcAft>
          <a:spcPct val="0"/>
        </a:spcAft>
        <a:defRPr sz="5400">
          <a:solidFill>
            <a:srgbClr val="3F3F3F"/>
          </a:solidFill>
          <a:latin typeface="Herculanum" charset="0"/>
          <a:ea typeface="ヒラギノ明朝 ProN W3" charset="0"/>
          <a:cs typeface="ヒラギノ明朝 ProN W3" charset="0"/>
          <a:sym typeface="Herculanum" charset="0"/>
        </a:defRPr>
      </a:lvl6pPr>
      <a:lvl7pPr marL="914400" algn="ctr" rtl="0" fontAlgn="base">
        <a:spcBef>
          <a:spcPct val="0"/>
        </a:spcBef>
        <a:spcAft>
          <a:spcPct val="0"/>
        </a:spcAft>
        <a:defRPr sz="5400">
          <a:solidFill>
            <a:srgbClr val="3F3F3F"/>
          </a:solidFill>
          <a:latin typeface="Herculanum" charset="0"/>
          <a:ea typeface="ヒラギノ明朝 ProN W3" charset="0"/>
          <a:cs typeface="ヒラギノ明朝 ProN W3" charset="0"/>
          <a:sym typeface="Herculanum" charset="0"/>
        </a:defRPr>
      </a:lvl7pPr>
      <a:lvl8pPr marL="1371600" algn="ctr" rtl="0" fontAlgn="base">
        <a:spcBef>
          <a:spcPct val="0"/>
        </a:spcBef>
        <a:spcAft>
          <a:spcPct val="0"/>
        </a:spcAft>
        <a:defRPr sz="5400">
          <a:solidFill>
            <a:srgbClr val="3F3F3F"/>
          </a:solidFill>
          <a:latin typeface="Herculanum" charset="0"/>
          <a:ea typeface="ヒラギノ明朝 ProN W3" charset="0"/>
          <a:cs typeface="ヒラギノ明朝 ProN W3" charset="0"/>
          <a:sym typeface="Herculanum" charset="0"/>
        </a:defRPr>
      </a:lvl8pPr>
      <a:lvl9pPr marL="1828800" algn="ctr" rtl="0" fontAlgn="base">
        <a:spcBef>
          <a:spcPct val="0"/>
        </a:spcBef>
        <a:spcAft>
          <a:spcPct val="0"/>
        </a:spcAft>
        <a:defRPr sz="5400">
          <a:solidFill>
            <a:srgbClr val="3F3F3F"/>
          </a:solidFill>
          <a:latin typeface="Herculanum" charset="0"/>
          <a:ea typeface="ヒラギノ明朝 ProN W3" charset="0"/>
          <a:cs typeface="ヒラギノ明朝 ProN W3" charset="0"/>
          <a:sym typeface="Herculanum" charset="0"/>
        </a:defRPr>
      </a:lvl9pPr>
    </p:titleStyle>
    <p:bodyStyle>
      <a:lvl1pPr marL="620713" indent="-277813" algn="l" rtl="0" eaLnBrk="0" fontAlgn="base" hangingPunct="0">
        <a:spcBef>
          <a:spcPts val="3200"/>
        </a:spcBef>
        <a:spcAft>
          <a:spcPct val="0"/>
        </a:spcAft>
        <a:buSzPct val="52000"/>
        <a:buChar char="•"/>
        <a:defRPr sz="2200">
          <a:solidFill>
            <a:schemeClr val="tx1"/>
          </a:solidFill>
          <a:latin typeface="+mn-lt"/>
          <a:ea typeface="+mn-ea"/>
          <a:cs typeface="+mn-cs"/>
          <a:sym typeface="Palatino"/>
        </a:defRPr>
      </a:lvl1pPr>
      <a:lvl2pPr marL="976313" indent="-277813" algn="l" rtl="0" eaLnBrk="0" fontAlgn="base" hangingPunct="0">
        <a:spcBef>
          <a:spcPts val="3200"/>
        </a:spcBef>
        <a:spcAft>
          <a:spcPct val="0"/>
        </a:spcAft>
        <a:buSzPct val="52000"/>
        <a:buChar char="•"/>
        <a:defRPr sz="2200">
          <a:solidFill>
            <a:schemeClr val="tx1"/>
          </a:solidFill>
          <a:latin typeface="+mn-lt"/>
          <a:ea typeface="+mn-ea"/>
          <a:cs typeface="+mn-cs"/>
          <a:sym typeface="Palatino"/>
        </a:defRPr>
      </a:lvl2pPr>
      <a:lvl3pPr marL="1319213" indent="-277813" algn="l" rtl="0" eaLnBrk="0" fontAlgn="base" hangingPunct="0">
        <a:spcBef>
          <a:spcPts val="3200"/>
        </a:spcBef>
        <a:spcAft>
          <a:spcPct val="0"/>
        </a:spcAft>
        <a:buSzPct val="52000"/>
        <a:buChar char="•"/>
        <a:defRPr sz="2200">
          <a:solidFill>
            <a:schemeClr val="tx1"/>
          </a:solidFill>
          <a:latin typeface="+mn-lt"/>
          <a:ea typeface="+mn-ea"/>
          <a:cs typeface="+mn-cs"/>
          <a:sym typeface="Palatino"/>
        </a:defRPr>
      </a:lvl3pPr>
      <a:lvl4pPr marL="1674813" indent="-277813" algn="l" rtl="0" eaLnBrk="0" fontAlgn="base" hangingPunct="0">
        <a:spcBef>
          <a:spcPts val="3200"/>
        </a:spcBef>
        <a:spcAft>
          <a:spcPct val="0"/>
        </a:spcAft>
        <a:buSzPct val="52000"/>
        <a:buChar char="•"/>
        <a:defRPr sz="2200">
          <a:solidFill>
            <a:schemeClr val="tx1"/>
          </a:solidFill>
          <a:latin typeface="+mn-lt"/>
          <a:ea typeface="+mn-ea"/>
          <a:cs typeface="+mn-cs"/>
          <a:sym typeface="Palatino"/>
        </a:defRPr>
      </a:lvl4pPr>
      <a:lvl5pPr marL="2030413" indent="-277813" algn="l" rtl="0" eaLnBrk="0" fontAlgn="base" hangingPunct="0">
        <a:spcBef>
          <a:spcPts val="3200"/>
        </a:spcBef>
        <a:spcAft>
          <a:spcPct val="0"/>
        </a:spcAft>
        <a:buSzPct val="52000"/>
        <a:buChar char="•"/>
        <a:defRPr sz="2200">
          <a:solidFill>
            <a:schemeClr val="tx1"/>
          </a:solidFill>
          <a:latin typeface="+mn-lt"/>
          <a:ea typeface="+mn-ea"/>
          <a:cs typeface="+mn-cs"/>
          <a:sym typeface="Palatino"/>
        </a:defRPr>
      </a:lvl5pPr>
      <a:lvl6pPr marL="2487613" indent="-277813" algn="l" rtl="0" fontAlgn="base">
        <a:spcBef>
          <a:spcPts val="3200"/>
        </a:spcBef>
        <a:spcAft>
          <a:spcPct val="0"/>
        </a:spcAft>
        <a:buSzPct val="52000"/>
        <a:buChar char="•"/>
        <a:defRPr sz="2200">
          <a:solidFill>
            <a:schemeClr val="tx1"/>
          </a:solidFill>
          <a:latin typeface="+mn-lt"/>
          <a:ea typeface="+mn-ea"/>
          <a:cs typeface="+mn-cs"/>
          <a:sym typeface="Palatino" charset="0"/>
        </a:defRPr>
      </a:lvl6pPr>
      <a:lvl7pPr marL="2944813" indent="-277813" algn="l" rtl="0" fontAlgn="base">
        <a:spcBef>
          <a:spcPts val="3200"/>
        </a:spcBef>
        <a:spcAft>
          <a:spcPct val="0"/>
        </a:spcAft>
        <a:buSzPct val="52000"/>
        <a:buChar char="•"/>
        <a:defRPr sz="2200">
          <a:solidFill>
            <a:schemeClr val="tx1"/>
          </a:solidFill>
          <a:latin typeface="+mn-lt"/>
          <a:ea typeface="+mn-ea"/>
          <a:cs typeface="+mn-cs"/>
          <a:sym typeface="Palatino" charset="0"/>
        </a:defRPr>
      </a:lvl7pPr>
      <a:lvl8pPr marL="3402013" indent="-277813" algn="l" rtl="0" fontAlgn="base">
        <a:spcBef>
          <a:spcPts val="3200"/>
        </a:spcBef>
        <a:spcAft>
          <a:spcPct val="0"/>
        </a:spcAft>
        <a:buSzPct val="52000"/>
        <a:buChar char="•"/>
        <a:defRPr sz="2200">
          <a:solidFill>
            <a:schemeClr val="tx1"/>
          </a:solidFill>
          <a:latin typeface="+mn-lt"/>
          <a:ea typeface="+mn-ea"/>
          <a:cs typeface="+mn-cs"/>
          <a:sym typeface="Palatino" charset="0"/>
        </a:defRPr>
      </a:lvl8pPr>
      <a:lvl9pPr marL="3859213" indent="-277813" algn="l" rtl="0" fontAlgn="base">
        <a:spcBef>
          <a:spcPts val="3200"/>
        </a:spcBef>
        <a:spcAft>
          <a:spcPct val="0"/>
        </a:spcAft>
        <a:buSzPct val="52000"/>
        <a:buChar char="•"/>
        <a:defRPr sz="2200">
          <a:solidFill>
            <a:schemeClr val="tx1"/>
          </a:solidFill>
          <a:latin typeface="+mn-lt"/>
          <a:ea typeface="+mn-ea"/>
          <a:cs typeface="+mn-cs"/>
          <a:sym typeface="Palatino" charset="0"/>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338.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xml"/><Relationship Id="rId1" Type="http://schemas.openxmlformats.org/officeDocument/2006/relationships/slideLayout" Target="../slideLayouts/slideLayout338.xml"/></Relationships>
</file>

<file path=ppt/slides/_rels/slide1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1.xml"/><Relationship Id="rId1" Type="http://schemas.openxmlformats.org/officeDocument/2006/relationships/slideLayout" Target="../slideLayouts/slideLayout338.xml"/><Relationship Id="rId4" Type="http://schemas.openxmlformats.org/officeDocument/2006/relationships/image" Target="../media/image8.png"/></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2.xml"/><Relationship Id="rId1" Type="http://schemas.openxmlformats.org/officeDocument/2006/relationships/slideLayout" Target="../slideLayouts/slideLayout338.xml"/><Relationship Id="rId4" Type="http://schemas.openxmlformats.org/officeDocument/2006/relationships/chart" Target="../charts/chart2.xml"/></Relationships>
</file>

<file path=ppt/slides/_rels/slide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3.xml"/><Relationship Id="rId1" Type="http://schemas.openxmlformats.org/officeDocument/2006/relationships/slideLayout" Target="../slideLayouts/slideLayout338.xml"/><Relationship Id="rId4" Type="http://schemas.openxmlformats.org/officeDocument/2006/relationships/chart" Target="../charts/chart3.xml"/></Relationships>
</file>

<file path=ppt/slides/_rels/slide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4.xml"/><Relationship Id="rId1" Type="http://schemas.openxmlformats.org/officeDocument/2006/relationships/slideLayout" Target="../slideLayouts/slideLayout332.xml"/></Relationships>
</file>

<file path=ppt/slides/_rels/slide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32.xml"/></Relationships>
</file>

<file path=ppt/slides/_rels/slide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5.xml"/><Relationship Id="rId1" Type="http://schemas.openxmlformats.org/officeDocument/2006/relationships/slideLayout" Target="../slideLayouts/slideLayout332.xml"/></Relationships>
</file>

<file path=ppt/slides/_rels/slide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32.xml"/></Relationships>
</file>

<file path=ppt/slides/_rels/slide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6.xml"/><Relationship Id="rId1" Type="http://schemas.openxmlformats.org/officeDocument/2006/relationships/slideLayout" Target="../slideLayouts/slideLayout332.xml"/></Relationships>
</file>

<file path=ppt/slides/_rels/slide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32.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338.xml"/></Relationships>
</file>

<file path=ppt/slides/_rels/slide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38.xml"/></Relationships>
</file>

<file path=ppt/slides/_rels/slide3.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303" Type="http://schemas.openxmlformats.org/officeDocument/2006/relationships/tags" Target="../tags/tag303.xml"/><Relationship Id="rId21" Type="http://schemas.openxmlformats.org/officeDocument/2006/relationships/tags" Target="../tags/tag21.xml"/><Relationship Id="rId42" Type="http://schemas.openxmlformats.org/officeDocument/2006/relationships/tags" Target="../tags/tag42.xml"/><Relationship Id="rId63" Type="http://schemas.openxmlformats.org/officeDocument/2006/relationships/tags" Target="../tags/tag63.xml"/><Relationship Id="rId84" Type="http://schemas.openxmlformats.org/officeDocument/2006/relationships/tags" Target="../tags/tag84.xml"/><Relationship Id="rId138" Type="http://schemas.openxmlformats.org/officeDocument/2006/relationships/tags" Target="../tags/tag138.xml"/><Relationship Id="rId159" Type="http://schemas.openxmlformats.org/officeDocument/2006/relationships/tags" Target="../tags/tag159.xml"/><Relationship Id="rId324" Type="http://schemas.openxmlformats.org/officeDocument/2006/relationships/tags" Target="../tags/tag324.xml"/><Relationship Id="rId345" Type="http://schemas.openxmlformats.org/officeDocument/2006/relationships/tags" Target="../tags/tag345.xml"/><Relationship Id="rId366" Type="http://schemas.openxmlformats.org/officeDocument/2006/relationships/tags" Target="../tags/tag366.xml"/><Relationship Id="rId170" Type="http://schemas.openxmlformats.org/officeDocument/2006/relationships/tags" Target="../tags/tag170.xml"/><Relationship Id="rId191" Type="http://schemas.openxmlformats.org/officeDocument/2006/relationships/tags" Target="../tags/tag191.xml"/><Relationship Id="rId205" Type="http://schemas.openxmlformats.org/officeDocument/2006/relationships/tags" Target="../tags/tag205.xml"/><Relationship Id="rId226" Type="http://schemas.openxmlformats.org/officeDocument/2006/relationships/tags" Target="../tags/tag226.xml"/><Relationship Id="rId247" Type="http://schemas.openxmlformats.org/officeDocument/2006/relationships/tags" Target="../tags/tag247.xml"/><Relationship Id="rId107" Type="http://schemas.openxmlformats.org/officeDocument/2006/relationships/tags" Target="../tags/tag107.xml"/><Relationship Id="rId268" Type="http://schemas.openxmlformats.org/officeDocument/2006/relationships/tags" Target="../tags/tag268.xml"/><Relationship Id="rId289" Type="http://schemas.openxmlformats.org/officeDocument/2006/relationships/tags" Target="../tags/tag289.xml"/><Relationship Id="rId11" Type="http://schemas.openxmlformats.org/officeDocument/2006/relationships/tags" Target="../tags/tag11.xml"/><Relationship Id="rId32" Type="http://schemas.openxmlformats.org/officeDocument/2006/relationships/tags" Target="../tags/tag32.xml"/><Relationship Id="rId53" Type="http://schemas.openxmlformats.org/officeDocument/2006/relationships/tags" Target="../tags/tag53.xml"/><Relationship Id="rId74" Type="http://schemas.openxmlformats.org/officeDocument/2006/relationships/tags" Target="../tags/tag74.xml"/><Relationship Id="rId128" Type="http://schemas.openxmlformats.org/officeDocument/2006/relationships/tags" Target="../tags/tag128.xml"/><Relationship Id="rId149" Type="http://schemas.openxmlformats.org/officeDocument/2006/relationships/tags" Target="../tags/tag149.xml"/><Relationship Id="rId314" Type="http://schemas.openxmlformats.org/officeDocument/2006/relationships/tags" Target="../tags/tag314.xml"/><Relationship Id="rId335" Type="http://schemas.openxmlformats.org/officeDocument/2006/relationships/tags" Target="../tags/tag335.xml"/><Relationship Id="rId356" Type="http://schemas.openxmlformats.org/officeDocument/2006/relationships/tags" Target="../tags/tag356.xml"/><Relationship Id="rId377" Type="http://schemas.openxmlformats.org/officeDocument/2006/relationships/tags" Target="../tags/tag377.xml"/><Relationship Id="rId5" Type="http://schemas.openxmlformats.org/officeDocument/2006/relationships/tags" Target="../tags/tag5.xml"/><Relationship Id="rId95" Type="http://schemas.openxmlformats.org/officeDocument/2006/relationships/tags" Target="../tags/tag95.xml"/><Relationship Id="rId160" Type="http://schemas.openxmlformats.org/officeDocument/2006/relationships/tags" Target="../tags/tag160.xml"/><Relationship Id="rId181" Type="http://schemas.openxmlformats.org/officeDocument/2006/relationships/tags" Target="../tags/tag181.xml"/><Relationship Id="rId216" Type="http://schemas.openxmlformats.org/officeDocument/2006/relationships/tags" Target="../tags/tag216.xml"/><Relationship Id="rId237" Type="http://schemas.openxmlformats.org/officeDocument/2006/relationships/tags" Target="../tags/tag237.xml"/><Relationship Id="rId258" Type="http://schemas.openxmlformats.org/officeDocument/2006/relationships/tags" Target="../tags/tag258.xml"/><Relationship Id="rId279" Type="http://schemas.openxmlformats.org/officeDocument/2006/relationships/tags" Target="../tags/tag279.xml"/><Relationship Id="rId22" Type="http://schemas.openxmlformats.org/officeDocument/2006/relationships/tags" Target="../tags/tag22.xml"/><Relationship Id="rId43" Type="http://schemas.openxmlformats.org/officeDocument/2006/relationships/tags" Target="../tags/tag43.xml"/><Relationship Id="rId64" Type="http://schemas.openxmlformats.org/officeDocument/2006/relationships/tags" Target="../tags/tag64.xml"/><Relationship Id="rId118" Type="http://schemas.openxmlformats.org/officeDocument/2006/relationships/tags" Target="../tags/tag118.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25" Type="http://schemas.openxmlformats.org/officeDocument/2006/relationships/tags" Target="../tags/tag325.xml"/><Relationship Id="rId346" Type="http://schemas.openxmlformats.org/officeDocument/2006/relationships/tags" Target="../tags/tag346.xml"/><Relationship Id="rId367" Type="http://schemas.openxmlformats.org/officeDocument/2006/relationships/tags" Target="../tags/tag367.xml"/><Relationship Id="rId85" Type="http://schemas.openxmlformats.org/officeDocument/2006/relationships/tags" Target="../tags/tag85.xml"/><Relationship Id="rId150" Type="http://schemas.openxmlformats.org/officeDocument/2006/relationships/tags" Target="../tags/tag150.xml"/><Relationship Id="rId171" Type="http://schemas.openxmlformats.org/officeDocument/2006/relationships/tags" Target="../tags/tag171.xml"/><Relationship Id="rId192" Type="http://schemas.openxmlformats.org/officeDocument/2006/relationships/tags" Target="../tags/tag192.xml"/><Relationship Id="rId206" Type="http://schemas.openxmlformats.org/officeDocument/2006/relationships/tags" Target="../tags/tag206.xml"/><Relationship Id="rId227" Type="http://schemas.openxmlformats.org/officeDocument/2006/relationships/tags" Target="../tags/tag227.xml"/><Relationship Id="rId248" Type="http://schemas.openxmlformats.org/officeDocument/2006/relationships/tags" Target="../tags/tag248.xml"/><Relationship Id="rId269" Type="http://schemas.openxmlformats.org/officeDocument/2006/relationships/tags" Target="../tags/tag269.xml"/><Relationship Id="rId12" Type="http://schemas.openxmlformats.org/officeDocument/2006/relationships/tags" Target="../tags/tag12.xml"/><Relationship Id="rId33" Type="http://schemas.openxmlformats.org/officeDocument/2006/relationships/tags" Target="../tags/tag33.xml"/><Relationship Id="rId108" Type="http://schemas.openxmlformats.org/officeDocument/2006/relationships/tags" Target="../tags/tag108.xml"/><Relationship Id="rId129" Type="http://schemas.openxmlformats.org/officeDocument/2006/relationships/tags" Target="../tags/tag129.xml"/><Relationship Id="rId280" Type="http://schemas.openxmlformats.org/officeDocument/2006/relationships/tags" Target="../tags/tag280.xml"/><Relationship Id="rId315" Type="http://schemas.openxmlformats.org/officeDocument/2006/relationships/tags" Target="../tags/tag315.xml"/><Relationship Id="rId336" Type="http://schemas.openxmlformats.org/officeDocument/2006/relationships/tags" Target="../tags/tag336.xml"/><Relationship Id="rId357" Type="http://schemas.openxmlformats.org/officeDocument/2006/relationships/tags" Target="../tags/tag357.xml"/><Relationship Id="rId54" Type="http://schemas.openxmlformats.org/officeDocument/2006/relationships/tags" Target="../tags/tag54.xml"/><Relationship Id="rId75" Type="http://schemas.openxmlformats.org/officeDocument/2006/relationships/tags" Target="../tags/tag75.xml"/><Relationship Id="rId96" Type="http://schemas.openxmlformats.org/officeDocument/2006/relationships/tags" Target="../tags/tag96.xml"/><Relationship Id="rId140" Type="http://schemas.openxmlformats.org/officeDocument/2006/relationships/tags" Target="../tags/tag140.xml"/><Relationship Id="rId161" Type="http://schemas.openxmlformats.org/officeDocument/2006/relationships/tags" Target="../tags/tag161.xml"/><Relationship Id="rId182" Type="http://schemas.openxmlformats.org/officeDocument/2006/relationships/tags" Target="../tags/tag182.xml"/><Relationship Id="rId217" Type="http://schemas.openxmlformats.org/officeDocument/2006/relationships/tags" Target="../tags/tag217.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291" Type="http://schemas.openxmlformats.org/officeDocument/2006/relationships/tags" Target="../tags/tag291.xml"/><Relationship Id="rId305" Type="http://schemas.openxmlformats.org/officeDocument/2006/relationships/tags" Target="../tags/tag305.xml"/><Relationship Id="rId326" Type="http://schemas.openxmlformats.org/officeDocument/2006/relationships/tags" Target="../tags/tag326.xml"/><Relationship Id="rId347" Type="http://schemas.openxmlformats.org/officeDocument/2006/relationships/tags" Target="../tags/tag347.xml"/><Relationship Id="rId44" Type="http://schemas.openxmlformats.org/officeDocument/2006/relationships/tags" Target="../tags/tag44.xml"/><Relationship Id="rId65" Type="http://schemas.openxmlformats.org/officeDocument/2006/relationships/tags" Target="../tags/tag65.xml"/><Relationship Id="rId86" Type="http://schemas.openxmlformats.org/officeDocument/2006/relationships/tags" Target="../tags/tag86.xml"/><Relationship Id="rId130" Type="http://schemas.openxmlformats.org/officeDocument/2006/relationships/tags" Target="../tags/tag130.xml"/><Relationship Id="rId151" Type="http://schemas.openxmlformats.org/officeDocument/2006/relationships/tags" Target="../tags/tag151.xml"/><Relationship Id="rId368" Type="http://schemas.openxmlformats.org/officeDocument/2006/relationships/tags" Target="../tags/tag368.xml"/><Relationship Id="rId172" Type="http://schemas.openxmlformats.org/officeDocument/2006/relationships/tags" Target="../tags/tag172.xml"/><Relationship Id="rId193" Type="http://schemas.openxmlformats.org/officeDocument/2006/relationships/tags" Target="../tags/tag193.xml"/><Relationship Id="rId207" Type="http://schemas.openxmlformats.org/officeDocument/2006/relationships/tags" Target="../tags/tag207.xml"/><Relationship Id="rId228" Type="http://schemas.openxmlformats.org/officeDocument/2006/relationships/tags" Target="../tags/tag228.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281" Type="http://schemas.openxmlformats.org/officeDocument/2006/relationships/tags" Target="../tags/tag281.xml"/><Relationship Id="rId316" Type="http://schemas.openxmlformats.org/officeDocument/2006/relationships/tags" Target="../tags/tag316.xml"/><Relationship Id="rId337" Type="http://schemas.openxmlformats.org/officeDocument/2006/relationships/tags" Target="../tags/tag337.xml"/><Relationship Id="rId34" Type="http://schemas.openxmlformats.org/officeDocument/2006/relationships/tags" Target="../tags/tag34.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20" Type="http://schemas.openxmlformats.org/officeDocument/2006/relationships/tags" Target="../tags/tag120.xml"/><Relationship Id="rId141" Type="http://schemas.openxmlformats.org/officeDocument/2006/relationships/tags" Target="../tags/tag141.xml"/><Relationship Id="rId358" Type="http://schemas.openxmlformats.org/officeDocument/2006/relationships/tags" Target="../tags/tag358.xml"/><Relationship Id="rId379" Type="http://schemas.openxmlformats.org/officeDocument/2006/relationships/tags" Target="../tags/tag379.xml"/><Relationship Id="rId7" Type="http://schemas.openxmlformats.org/officeDocument/2006/relationships/tags" Target="../tags/tag7.xml"/><Relationship Id="rId162" Type="http://schemas.openxmlformats.org/officeDocument/2006/relationships/tags" Target="../tags/tag162.xml"/><Relationship Id="rId183" Type="http://schemas.openxmlformats.org/officeDocument/2006/relationships/tags" Target="../tags/tag183.xml"/><Relationship Id="rId218" Type="http://schemas.openxmlformats.org/officeDocument/2006/relationships/tags" Target="../tags/tag218.xml"/><Relationship Id="rId239" Type="http://schemas.openxmlformats.org/officeDocument/2006/relationships/tags" Target="../tags/tag239.xml"/><Relationship Id="rId250" Type="http://schemas.openxmlformats.org/officeDocument/2006/relationships/tags" Target="../tags/tag250.xml"/><Relationship Id="rId271" Type="http://schemas.openxmlformats.org/officeDocument/2006/relationships/tags" Target="../tags/tag271.xml"/><Relationship Id="rId292" Type="http://schemas.openxmlformats.org/officeDocument/2006/relationships/tags" Target="../tags/tag292.xml"/><Relationship Id="rId306" Type="http://schemas.openxmlformats.org/officeDocument/2006/relationships/tags" Target="../tags/tag306.xml"/><Relationship Id="rId24" Type="http://schemas.openxmlformats.org/officeDocument/2006/relationships/tags" Target="../tags/tag24.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31" Type="http://schemas.openxmlformats.org/officeDocument/2006/relationships/tags" Target="../tags/tag131.xml"/><Relationship Id="rId327" Type="http://schemas.openxmlformats.org/officeDocument/2006/relationships/tags" Target="../tags/tag327.xml"/><Relationship Id="rId348" Type="http://schemas.openxmlformats.org/officeDocument/2006/relationships/tags" Target="../tags/tag348.xml"/><Relationship Id="rId369" Type="http://schemas.openxmlformats.org/officeDocument/2006/relationships/tags" Target="../tags/tag369.xml"/><Relationship Id="rId152" Type="http://schemas.openxmlformats.org/officeDocument/2006/relationships/tags" Target="../tags/tag152.xml"/><Relationship Id="rId173" Type="http://schemas.openxmlformats.org/officeDocument/2006/relationships/tags" Target="../tags/tag173.xml"/><Relationship Id="rId194" Type="http://schemas.openxmlformats.org/officeDocument/2006/relationships/tags" Target="../tags/tag194.xml"/><Relationship Id="rId208" Type="http://schemas.openxmlformats.org/officeDocument/2006/relationships/tags" Target="../tags/tag208.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261" Type="http://schemas.openxmlformats.org/officeDocument/2006/relationships/tags" Target="../tags/tag261.xml"/><Relationship Id="rId14" Type="http://schemas.openxmlformats.org/officeDocument/2006/relationships/tags" Target="../tags/tag14.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17" Type="http://schemas.openxmlformats.org/officeDocument/2006/relationships/tags" Target="../tags/tag317.xml"/><Relationship Id="rId338" Type="http://schemas.openxmlformats.org/officeDocument/2006/relationships/tags" Target="../tags/tag338.xml"/><Relationship Id="rId359" Type="http://schemas.openxmlformats.org/officeDocument/2006/relationships/tags" Target="../tags/tag359.xml"/><Relationship Id="rId8" Type="http://schemas.openxmlformats.org/officeDocument/2006/relationships/tags" Target="../tags/tag8.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163" Type="http://schemas.openxmlformats.org/officeDocument/2006/relationships/tags" Target="../tags/tag163.xml"/><Relationship Id="rId184" Type="http://schemas.openxmlformats.org/officeDocument/2006/relationships/tags" Target="../tags/tag184.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1" Type="http://schemas.openxmlformats.org/officeDocument/2006/relationships/tags" Target="../tags/tag251.xml"/><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272" Type="http://schemas.openxmlformats.org/officeDocument/2006/relationships/tags" Target="../tags/tag272.xml"/><Relationship Id="rId293" Type="http://schemas.openxmlformats.org/officeDocument/2006/relationships/tags" Target="../tags/tag293.xml"/><Relationship Id="rId307" Type="http://schemas.openxmlformats.org/officeDocument/2006/relationships/tags" Target="../tags/tag307.xml"/><Relationship Id="rId328" Type="http://schemas.openxmlformats.org/officeDocument/2006/relationships/tags" Target="../tags/tag328.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32" Type="http://schemas.openxmlformats.org/officeDocument/2006/relationships/tags" Target="../tags/tag132.xml"/><Relationship Id="rId153" Type="http://schemas.openxmlformats.org/officeDocument/2006/relationships/tags" Target="../tags/tag153.xml"/><Relationship Id="rId174" Type="http://schemas.openxmlformats.org/officeDocument/2006/relationships/tags" Target="../tags/tag174.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381" Type="http://schemas.openxmlformats.org/officeDocument/2006/relationships/tags" Target="../tags/tag381.xml"/><Relationship Id="rId220" Type="http://schemas.openxmlformats.org/officeDocument/2006/relationships/tags" Target="../tags/tag220.xml"/><Relationship Id="rId241" Type="http://schemas.openxmlformats.org/officeDocument/2006/relationships/tags" Target="../tags/tag241.xml"/><Relationship Id="rId15" Type="http://schemas.openxmlformats.org/officeDocument/2006/relationships/tags" Target="../tags/tag15.xml"/><Relationship Id="rId36" Type="http://schemas.openxmlformats.org/officeDocument/2006/relationships/tags" Target="../tags/tag36.xml"/><Relationship Id="rId57" Type="http://schemas.openxmlformats.org/officeDocument/2006/relationships/tags" Target="../tags/tag57.xml"/><Relationship Id="rId262" Type="http://schemas.openxmlformats.org/officeDocument/2006/relationships/tags" Target="../tags/tag262.xml"/><Relationship Id="rId283" Type="http://schemas.openxmlformats.org/officeDocument/2006/relationships/tags" Target="../tags/tag283.xml"/><Relationship Id="rId318" Type="http://schemas.openxmlformats.org/officeDocument/2006/relationships/tags" Target="../tags/tag318.xml"/><Relationship Id="rId339" Type="http://schemas.openxmlformats.org/officeDocument/2006/relationships/tags" Target="../tags/tag339.xml"/><Relationship Id="rId78" Type="http://schemas.openxmlformats.org/officeDocument/2006/relationships/tags" Target="../tags/tag78.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43" Type="http://schemas.openxmlformats.org/officeDocument/2006/relationships/tags" Target="../tags/tag143.xml"/><Relationship Id="rId164" Type="http://schemas.openxmlformats.org/officeDocument/2006/relationships/tags" Target="../tags/tag164.xml"/><Relationship Id="rId185" Type="http://schemas.openxmlformats.org/officeDocument/2006/relationships/tags" Target="../tags/tag185.xml"/><Relationship Id="rId350" Type="http://schemas.openxmlformats.org/officeDocument/2006/relationships/tags" Target="../tags/tag350.xml"/><Relationship Id="rId371" Type="http://schemas.openxmlformats.org/officeDocument/2006/relationships/tags" Target="../tags/tag371.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slideLayout" Target="../slideLayouts/slideLayout338.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383" Type="http://schemas.openxmlformats.org/officeDocument/2006/relationships/notesSlide" Target="../notesSlides/notesSlide3.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384" Type="http://schemas.openxmlformats.org/officeDocument/2006/relationships/image" Target="../media/image8.png"/><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332.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338.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338.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332.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332.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33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2977" name="Rectangle 2"/>
          <p:cNvSpPr>
            <a:spLocks noChangeArrowheads="1"/>
          </p:cNvSpPr>
          <p:nvPr/>
        </p:nvSpPr>
        <p:spPr bwMode="auto">
          <a:xfrm>
            <a:off x="500063" y="2564904"/>
            <a:ext cx="7816850" cy="2376264"/>
          </a:xfrm>
          <a:prstGeom prst="rect">
            <a:avLst/>
          </a:prstGeom>
          <a:noFill/>
          <a:ln w="9525">
            <a:noFill/>
            <a:miter lim="800000"/>
            <a:headEnd/>
            <a:tailEnd/>
          </a:ln>
        </p:spPr>
        <p:txBody>
          <a:bodyPr lIns="92075" tIns="457200" rIns="92075" bIns="457200" anchor="ctr"/>
          <a:lstStyle/>
          <a:p>
            <a:pPr algn="ctr"/>
            <a:r>
              <a:rPr lang="en-US" altLang="zh-CN" sz="4000" b="1" dirty="0" smtClean="0">
                <a:solidFill>
                  <a:srgbClr val="0000FF"/>
                </a:solidFill>
                <a:latin typeface="Arial" charset="0"/>
                <a:sym typeface="Gill Sans Light"/>
              </a:rPr>
              <a:t>PAC AND ITS ACTIVITIES </a:t>
            </a:r>
          </a:p>
          <a:p>
            <a:pPr algn="ctr"/>
            <a:endParaRPr lang="en-US" altLang="ja-JP" sz="2000" dirty="0" smtClean="0">
              <a:solidFill>
                <a:srgbClr val="0000FF"/>
              </a:solidFill>
              <a:latin typeface="Gill Sans Light"/>
              <a:ea typeface="SimSun" pitchFamily="2" charset="-122"/>
              <a:sym typeface="Gill Sans Light"/>
            </a:endParaRPr>
          </a:p>
          <a:p>
            <a:pPr algn="ctr"/>
            <a:r>
              <a:rPr lang="en-US" altLang="ja-JP" sz="2400" b="1" dirty="0" smtClean="0">
                <a:solidFill>
                  <a:srgbClr val="FF0000"/>
                </a:solidFill>
                <a:latin typeface="Arial" pitchFamily="34" charset="0"/>
                <a:ea typeface="SimSun" pitchFamily="2" charset="-122"/>
                <a:cs typeface="Arial" pitchFamily="34" charset="0"/>
                <a:sym typeface="Gill Sans Light"/>
              </a:rPr>
              <a:t>ITU-UNIDO Regional Forum on Sustainable Conformity Assessment</a:t>
            </a:r>
          </a:p>
          <a:p>
            <a:pPr algn="ctr"/>
            <a:r>
              <a:rPr lang="en-US" altLang="zh-CN" sz="2400" b="1" smtClean="0">
                <a:solidFill>
                  <a:srgbClr val="FF0000"/>
                </a:solidFill>
                <a:latin typeface="Arial" pitchFamily="34" charset="0"/>
                <a:ea typeface="SimSun" pitchFamily="2" charset="-122"/>
                <a:cs typeface="Arial" pitchFamily="34" charset="0"/>
                <a:sym typeface="Gill Sans Light"/>
              </a:rPr>
              <a:t>Yangon, Myanmar, 25-27 November 2013</a:t>
            </a:r>
            <a:endParaRPr lang="en-US" altLang="zh-CN" sz="3500" b="1" dirty="0">
              <a:solidFill>
                <a:srgbClr val="FF0000"/>
              </a:solidFill>
              <a:latin typeface="Gill Sans Light"/>
              <a:ea typeface="SimSun" pitchFamily="2" charset="-122"/>
              <a:sym typeface="Gill Sans Light"/>
            </a:endParaRPr>
          </a:p>
        </p:txBody>
      </p:sp>
      <p:pic>
        <p:nvPicPr>
          <p:cNvPr id="382978" name="Picture 5" descr="PAC"/>
          <p:cNvPicPr>
            <a:picLocks noChangeAspect="1" noChangeArrowheads="1"/>
          </p:cNvPicPr>
          <p:nvPr/>
        </p:nvPicPr>
        <p:blipFill>
          <a:blip r:embed="rId3">
            <a:clrChange>
              <a:clrFrom>
                <a:srgbClr val="FFFFFF"/>
              </a:clrFrom>
              <a:clrTo>
                <a:srgbClr val="FFFFFF">
                  <a:alpha val="0"/>
                </a:srgbClr>
              </a:clrTo>
            </a:clrChange>
          </a:blip>
          <a:srcRect/>
          <a:stretch>
            <a:fillRect/>
          </a:stretch>
        </p:blipFill>
        <p:spPr bwMode="auto">
          <a:xfrm>
            <a:off x="2484438" y="0"/>
            <a:ext cx="3962400" cy="2351088"/>
          </a:xfrm>
          <a:prstGeom prst="rect">
            <a:avLst/>
          </a:prstGeom>
          <a:noFill/>
          <a:ln w="9525">
            <a:noFill/>
            <a:miter lim="800000"/>
            <a:headEnd/>
            <a:tailEnd/>
          </a:ln>
        </p:spPr>
      </p:pic>
      <p:sp>
        <p:nvSpPr>
          <p:cNvPr id="382979" name="Text Box 6"/>
          <p:cNvSpPr txBox="1">
            <a:spLocks noChangeArrowheads="1"/>
          </p:cNvSpPr>
          <p:nvPr/>
        </p:nvSpPr>
        <p:spPr bwMode="auto">
          <a:xfrm>
            <a:off x="5181600" y="5229200"/>
            <a:ext cx="3566393" cy="707886"/>
          </a:xfrm>
          <a:prstGeom prst="rect">
            <a:avLst/>
          </a:prstGeom>
          <a:noFill/>
          <a:ln w="9525">
            <a:noFill/>
            <a:miter lim="800000"/>
            <a:headEnd/>
            <a:tailEnd/>
          </a:ln>
        </p:spPr>
        <p:txBody>
          <a:bodyPr wrap="square">
            <a:spAutoFit/>
          </a:bodyPr>
          <a:lstStyle/>
          <a:p>
            <a:pPr algn="ctr"/>
            <a:r>
              <a:rPr lang="en-US" altLang="zh-CN" sz="2000" b="1" dirty="0" err="1" smtClean="0">
                <a:solidFill>
                  <a:schemeClr val="tx1"/>
                </a:solidFill>
                <a:latin typeface="Arial" charset="0"/>
                <a:sym typeface="Gill Sans Light"/>
              </a:rPr>
              <a:t>Venkat</a:t>
            </a:r>
            <a:r>
              <a:rPr lang="en-US" altLang="zh-CN" sz="2000" b="1" dirty="0" smtClean="0">
                <a:solidFill>
                  <a:schemeClr val="tx1"/>
                </a:solidFill>
                <a:latin typeface="Arial" charset="0"/>
                <a:sym typeface="Gill Sans Light"/>
              </a:rPr>
              <a:t> </a:t>
            </a:r>
            <a:r>
              <a:rPr lang="en-US" altLang="zh-CN" sz="2000" b="1" dirty="0" err="1" smtClean="0">
                <a:solidFill>
                  <a:schemeClr val="tx1"/>
                </a:solidFill>
                <a:latin typeface="Arial" charset="0"/>
                <a:sym typeface="Gill Sans Light"/>
              </a:rPr>
              <a:t>Balakrishnan</a:t>
            </a:r>
            <a:endParaRPr lang="en-US" altLang="zh-CN" sz="2000" b="1" dirty="0">
              <a:solidFill>
                <a:schemeClr val="tx1"/>
              </a:solidFill>
              <a:latin typeface="Arial" charset="0"/>
              <a:sym typeface="Gill Sans Light"/>
            </a:endParaRPr>
          </a:p>
          <a:p>
            <a:pPr algn="ctr"/>
            <a:r>
              <a:rPr lang="en-US" altLang="zh-CN" sz="2000" b="1" dirty="0">
                <a:solidFill>
                  <a:schemeClr val="tx1"/>
                </a:solidFill>
                <a:latin typeface="Arial" charset="0"/>
                <a:sym typeface="Gill Sans Light"/>
              </a:rPr>
              <a:t>PAC </a:t>
            </a:r>
            <a:r>
              <a:rPr lang="en-US" altLang="zh-CN" sz="2000" b="1" dirty="0" smtClean="0">
                <a:solidFill>
                  <a:schemeClr val="tx1"/>
                </a:solidFill>
                <a:latin typeface="Arial" charset="0"/>
                <a:sym typeface="Gill Sans Light"/>
              </a:rPr>
              <a:t>Vice Chair</a:t>
            </a:r>
            <a:endParaRPr lang="ja-JP" altLang="en-US" sz="2000" b="1" dirty="0">
              <a:solidFill>
                <a:schemeClr val="tx1"/>
              </a:solidFill>
              <a:latin typeface="Arial" charset="0"/>
              <a:sym typeface="Gill Sans Light"/>
            </a:endParaRPr>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99592" y="2060848"/>
            <a:ext cx="7704856" cy="4431983"/>
          </a:xfrm>
          <a:prstGeom prst="rect">
            <a:avLst/>
          </a:prstGeom>
        </p:spPr>
        <p:txBody>
          <a:bodyPr wrap="square">
            <a:spAutoFit/>
          </a:bodyPr>
          <a:lstStyle/>
          <a:p>
            <a:pPr marL="542925" indent="-542925">
              <a:buClr>
                <a:srgbClr val="FF0000"/>
              </a:buClr>
              <a:buFont typeface="Wingdings" pitchFamily="2" charset="2"/>
              <a:buChar char="q"/>
            </a:pPr>
            <a:r>
              <a:rPr lang="en-AU" sz="2000" b="1" dirty="0" smtClean="0">
                <a:solidFill>
                  <a:schemeClr val="tx1"/>
                </a:solidFill>
                <a:latin typeface="Arial" pitchFamily="34" charset="0"/>
                <a:cs typeface="Arial" pitchFamily="34" charset="0"/>
              </a:rPr>
              <a:t>MLAs create an opportunity for members to develop their capacity to respond to regulatory, industry and community needs in priority areas.</a:t>
            </a:r>
          </a:p>
          <a:p>
            <a:pPr marL="542925" indent="-542925">
              <a:buClr>
                <a:srgbClr val="FF0000"/>
              </a:buClr>
              <a:buFont typeface="Wingdings" pitchFamily="2" charset="2"/>
              <a:buChar char="q"/>
            </a:pPr>
            <a:endParaRPr lang="en-AU" sz="2000" b="1" dirty="0" smtClean="0">
              <a:solidFill>
                <a:schemeClr val="tx1"/>
              </a:solidFill>
              <a:latin typeface="Arial" pitchFamily="34" charset="0"/>
              <a:cs typeface="Arial" pitchFamily="34" charset="0"/>
            </a:endParaRPr>
          </a:p>
          <a:p>
            <a:pPr marL="1000125" lvl="1" indent="-542925">
              <a:buClr>
                <a:srgbClr val="FF0000"/>
              </a:buClr>
              <a:buFont typeface="Wingdings" pitchFamily="2" charset="2"/>
              <a:buChar char="§"/>
            </a:pPr>
            <a:r>
              <a:rPr lang="en-AU" sz="2000" b="1" dirty="0">
                <a:latin typeface="Arial" pitchFamily="34" charset="0"/>
                <a:cs typeface="Arial" pitchFamily="34" charset="0"/>
              </a:rPr>
              <a:t>The direct benefits are derived from improved individual organisational performance</a:t>
            </a:r>
            <a:r>
              <a:rPr lang="en-AU" sz="2000" b="1" dirty="0" smtClean="0">
                <a:latin typeface="Arial" pitchFamily="34" charset="0"/>
                <a:cs typeface="Arial" pitchFamily="34" charset="0"/>
              </a:rPr>
              <a:t>.</a:t>
            </a:r>
          </a:p>
          <a:p>
            <a:pPr marL="1000125" lvl="1" indent="-542925">
              <a:buClr>
                <a:srgbClr val="FF0000"/>
              </a:buClr>
              <a:buFont typeface="Wingdings" pitchFamily="2" charset="2"/>
              <a:buChar char="§"/>
            </a:pPr>
            <a:endParaRPr lang="en-AU" sz="2000" b="1" dirty="0">
              <a:latin typeface="Arial" pitchFamily="34" charset="0"/>
              <a:cs typeface="Arial" pitchFamily="34" charset="0"/>
            </a:endParaRPr>
          </a:p>
          <a:p>
            <a:pPr marL="542925" indent="-542925">
              <a:buClr>
                <a:srgbClr val="FF0000"/>
              </a:buClr>
              <a:buFont typeface="Wingdings" pitchFamily="2" charset="2"/>
              <a:buChar char="q"/>
            </a:pPr>
            <a:r>
              <a:rPr lang="en-AU" sz="2000" b="1" dirty="0" smtClean="0">
                <a:solidFill>
                  <a:schemeClr val="tx1"/>
                </a:solidFill>
                <a:latin typeface="Arial" pitchFamily="34" charset="0"/>
                <a:cs typeface="Arial" pitchFamily="34" charset="0"/>
              </a:rPr>
              <a:t>Numerous </a:t>
            </a:r>
            <a:r>
              <a:rPr lang="en-AU" sz="2000" b="1" dirty="0">
                <a:solidFill>
                  <a:schemeClr val="tx1"/>
                </a:solidFill>
                <a:latin typeface="Arial" pitchFamily="34" charset="0"/>
                <a:cs typeface="Arial" pitchFamily="34" charset="0"/>
              </a:rPr>
              <a:t>capacity building programs flow through to the certification body level and trickle down to industry</a:t>
            </a:r>
            <a:r>
              <a:rPr lang="en-AU" sz="2000" b="1" dirty="0" smtClean="0">
                <a:solidFill>
                  <a:schemeClr val="tx1"/>
                </a:solidFill>
                <a:latin typeface="Arial" pitchFamily="34" charset="0"/>
                <a:cs typeface="Arial" pitchFamily="34" charset="0"/>
              </a:rPr>
              <a:t>.</a:t>
            </a:r>
          </a:p>
          <a:p>
            <a:pPr marL="542925" indent="-542925">
              <a:buClr>
                <a:srgbClr val="FF0000"/>
              </a:buClr>
              <a:buFont typeface="Wingdings" pitchFamily="2" charset="2"/>
              <a:buChar char="q"/>
            </a:pPr>
            <a:endParaRPr lang="en-AU" sz="2000" b="1" dirty="0" smtClean="0">
              <a:solidFill>
                <a:schemeClr val="tx1"/>
              </a:solidFill>
              <a:latin typeface="Arial" pitchFamily="34" charset="0"/>
              <a:cs typeface="Arial" pitchFamily="34" charset="0"/>
            </a:endParaRPr>
          </a:p>
          <a:p>
            <a:pPr marL="982663" lvl="1" indent="-525463">
              <a:buClr>
                <a:srgbClr val="FF0000"/>
              </a:buClr>
              <a:buFont typeface="Wingdings" pitchFamily="2" charset="2"/>
              <a:buChar char="§"/>
            </a:pPr>
            <a:r>
              <a:rPr lang="en-AU" sz="2000" b="1" dirty="0" smtClean="0">
                <a:latin typeface="Arial" pitchFamily="34" charset="0"/>
                <a:cs typeface="Arial" pitchFamily="34" charset="0"/>
              </a:rPr>
              <a:t>The </a:t>
            </a:r>
            <a:r>
              <a:rPr lang="en-AU" sz="2000" b="1" dirty="0">
                <a:latin typeface="Arial" pitchFamily="34" charset="0"/>
                <a:cs typeface="Arial" pitchFamily="34" charset="0"/>
              </a:rPr>
              <a:t>indirect benefits are derived from the capacity building and maturing market capability.</a:t>
            </a:r>
          </a:p>
          <a:p>
            <a:pPr marL="542925" indent="-542925">
              <a:buClr>
                <a:srgbClr val="FF0000"/>
              </a:buClr>
              <a:buFont typeface="Wingdings" pitchFamily="2" charset="2"/>
              <a:buChar char="q"/>
            </a:pPr>
            <a:endParaRPr lang="en-AU" sz="2400" b="1" dirty="0" smtClean="0">
              <a:solidFill>
                <a:schemeClr val="tx1"/>
              </a:solidFill>
              <a:latin typeface="Arial" pitchFamily="34" charset="0"/>
              <a:cs typeface="Arial" pitchFamily="34" charset="0"/>
            </a:endParaRPr>
          </a:p>
          <a:p>
            <a:pPr>
              <a:buFont typeface="Wingdings" pitchFamily="2" charset="2"/>
              <a:buChar char="§"/>
            </a:pPr>
            <a:endParaRPr lang="en-AU" dirty="0"/>
          </a:p>
        </p:txBody>
      </p:sp>
      <p:pic>
        <p:nvPicPr>
          <p:cNvPr id="3" name="Picture 3"/>
          <p:cNvPicPr>
            <a:picLocks noChangeAspect="1"/>
          </p:cNvPicPr>
          <p:nvPr/>
        </p:nvPicPr>
        <p:blipFill>
          <a:blip r:embed="rId3"/>
          <a:srcRect/>
          <a:stretch>
            <a:fillRect/>
          </a:stretch>
        </p:blipFill>
        <p:spPr bwMode="auto">
          <a:xfrm>
            <a:off x="0" y="116632"/>
            <a:ext cx="1979613" cy="1168400"/>
          </a:xfrm>
          <a:prstGeom prst="rect">
            <a:avLst/>
          </a:prstGeom>
          <a:noFill/>
          <a:ln w="9525">
            <a:noFill/>
            <a:miter lim="800000"/>
            <a:headEnd/>
            <a:tailEnd/>
          </a:ln>
        </p:spPr>
      </p:pic>
      <p:sp>
        <p:nvSpPr>
          <p:cNvPr id="4" name="Text Box 5"/>
          <p:cNvSpPr txBox="1">
            <a:spLocks noChangeArrowheads="1"/>
          </p:cNvSpPr>
          <p:nvPr/>
        </p:nvSpPr>
        <p:spPr bwMode="auto">
          <a:xfrm>
            <a:off x="2051720" y="476671"/>
            <a:ext cx="5688632" cy="646331"/>
          </a:xfrm>
          <a:prstGeom prst="rect">
            <a:avLst/>
          </a:prstGeom>
          <a:noFill/>
          <a:ln w="9525">
            <a:noFill/>
            <a:miter lim="800000"/>
            <a:headEnd/>
            <a:tailEnd/>
          </a:ln>
        </p:spPr>
        <p:txBody>
          <a:bodyPr wrap="square">
            <a:spAutoFit/>
          </a:bodyPr>
          <a:lstStyle/>
          <a:p>
            <a:pPr algn="ctr">
              <a:spcBef>
                <a:spcPct val="50000"/>
              </a:spcBef>
            </a:pPr>
            <a:r>
              <a:rPr lang="en-AU" altLang="ja-JP" sz="3600" dirty="0" smtClean="0">
                <a:solidFill>
                  <a:srgbClr val="0000FF"/>
                </a:solidFill>
                <a:latin typeface="Arial Black"/>
                <a:cs typeface="Arial Black"/>
              </a:rPr>
              <a:t>Benefits</a:t>
            </a:r>
            <a:endParaRPr lang="ja-JP" altLang="en-US" sz="3600" b="1" dirty="0">
              <a:solidFill>
                <a:srgbClr val="0000FF"/>
              </a:solidFill>
              <a:latin typeface="Arial Black"/>
              <a:cs typeface="Arial Black"/>
            </a:endParaRPr>
          </a:p>
        </p:txBody>
      </p:sp>
      <p:sp>
        <p:nvSpPr>
          <p:cNvPr id="5" name="スライド番号プレースホルダー 4"/>
          <p:cNvSpPr>
            <a:spLocks noGrp="1"/>
          </p:cNvSpPr>
          <p:nvPr>
            <p:ph type="sldNum" sz="quarter" idx="12"/>
          </p:nvPr>
        </p:nvSpPr>
        <p:spPr/>
        <p:txBody>
          <a:bodyPr/>
          <a:lstStyle/>
          <a:p>
            <a:fld id="{7F5CE407-6216-4202-80E4-A30DC2F709B2}" type="slidenum">
              <a:rPr lang="en-US" smtClean="0"/>
              <a:pPr/>
              <a:t>10</a:t>
            </a:fld>
            <a:endParaRPr lang="en-US"/>
          </a:p>
        </p:txBody>
      </p:sp>
    </p:spTree>
    <p:extLst>
      <p:ext uri="{BB962C8B-B14F-4D97-AF65-F5344CB8AC3E}">
        <p14:creationId xmlns:p14="http://schemas.microsoft.com/office/powerpoint/2010/main" xmlns="" val="3807573953"/>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グラフ 5"/>
          <p:cNvGraphicFramePr>
            <a:graphicFrameLocks/>
          </p:cNvGraphicFramePr>
          <p:nvPr>
            <p:extLst>
              <p:ext uri="{D42A27DB-BD31-4B8C-83A1-F6EECF244321}">
                <p14:modId xmlns:p14="http://schemas.microsoft.com/office/powerpoint/2010/main" xmlns="" val="3762144908"/>
              </p:ext>
            </p:extLst>
          </p:nvPr>
        </p:nvGraphicFramePr>
        <p:xfrm>
          <a:off x="467544" y="1556792"/>
          <a:ext cx="8424936" cy="5301208"/>
        </p:xfrm>
        <a:graphic>
          <a:graphicData uri="http://schemas.openxmlformats.org/drawingml/2006/chart">
            <c:chart xmlns:c="http://schemas.openxmlformats.org/drawingml/2006/chart" xmlns:r="http://schemas.openxmlformats.org/officeDocument/2006/relationships" r:id="rId3"/>
          </a:graphicData>
        </a:graphic>
      </p:graphicFrame>
      <p:pic>
        <p:nvPicPr>
          <p:cNvPr id="7" name="Picture 3"/>
          <p:cNvPicPr>
            <a:picLocks noChangeAspect="1"/>
          </p:cNvPicPr>
          <p:nvPr/>
        </p:nvPicPr>
        <p:blipFill>
          <a:blip r:embed="rId4"/>
          <a:srcRect/>
          <a:stretch>
            <a:fillRect/>
          </a:stretch>
        </p:blipFill>
        <p:spPr bwMode="auto">
          <a:xfrm>
            <a:off x="10509" y="116632"/>
            <a:ext cx="1979613" cy="1168400"/>
          </a:xfrm>
          <a:prstGeom prst="rect">
            <a:avLst/>
          </a:prstGeom>
          <a:noFill/>
          <a:ln w="9525">
            <a:noFill/>
            <a:miter lim="800000"/>
            <a:headEnd/>
            <a:tailEnd/>
          </a:ln>
        </p:spPr>
      </p:pic>
      <p:sp>
        <p:nvSpPr>
          <p:cNvPr id="8" name="正方形/長方形 7"/>
          <p:cNvSpPr/>
          <p:nvPr/>
        </p:nvSpPr>
        <p:spPr>
          <a:xfrm>
            <a:off x="2267744" y="260648"/>
            <a:ext cx="6264696" cy="861774"/>
          </a:xfrm>
          <a:prstGeom prst="rect">
            <a:avLst/>
          </a:prstGeom>
        </p:spPr>
        <p:txBody>
          <a:bodyPr wrap="square">
            <a:spAutoFit/>
          </a:bodyPr>
          <a:lstStyle/>
          <a:p>
            <a:r>
              <a:rPr lang="en-US" altLang="ja-JP" sz="3200" b="1" dirty="0" smtClean="0">
                <a:solidFill>
                  <a:srgbClr val="0000FF"/>
                </a:solidFill>
                <a:latin typeface="Arial Black"/>
                <a:cs typeface="Arial Black"/>
              </a:rPr>
              <a:t>Regional share in 2011</a:t>
            </a:r>
          </a:p>
          <a:p>
            <a:r>
              <a:rPr lang="en-US" altLang="ja-JP" b="1" dirty="0" smtClean="0">
                <a:solidFill>
                  <a:srgbClr val="0000FF"/>
                </a:solidFill>
                <a:latin typeface="Arial Black"/>
                <a:cs typeface="Arial Black"/>
              </a:rPr>
              <a:t>                                                (ISO </a:t>
            </a:r>
            <a:r>
              <a:rPr lang="en-US" altLang="ja-JP" b="1" dirty="0">
                <a:solidFill>
                  <a:srgbClr val="0000FF"/>
                </a:solidFill>
                <a:latin typeface="Arial Black"/>
                <a:cs typeface="Arial Black"/>
              </a:rPr>
              <a:t>Survey </a:t>
            </a:r>
            <a:r>
              <a:rPr lang="en-US" altLang="ja-JP" b="1" dirty="0" smtClean="0">
                <a:solidFill>
                  <a:srgbClr val="0000FF"/>
                </a:solidFill>
                <a:latin typeface="Arial Black"/>
                <a:cs typeface="Arial Black"/>
              </a:rPr>
              <a:t>2011) </a:t>
            </a:r>
            <a:endParaRPr lang="ja-JP" altLang="en-US" dirty="0"/>
          </a:p>
        </p:txBody>
      </p:sp>
      <p:sp>
        <p:nvSpPr>
          <p:cNvPr id="9" name="テキスト ボックス 8"/>
          <p:cNvSpPr txBox="1"/>
          <p:nvPr/>
        </p:nvSpPr>
        <p:spPr>
          <a:xfrm>
            <a:off x="1331640" y="2420888"/>
            <a:ext cx="648072" cy="307777"/>
          </a:xfrm>
          <a:prstGeom prst="rect">
            <a:avLst/>
          </a:prstGeom>
          <a:noFill/>
        </p:spPr>
        <p:txBody>
          <a:bodyPr wrap="square" rtlCol="0">
            <a:spAutoFit/>
          </a:bodyPr>
          <a:lstStyle/>
          <a:p>
            <a:r>
              <a:rPr lang="en-GB" sz="1400" dirty="0" smtClean="0">
                <a:latin typeface="Arial"/>
                <a:cs typeface="Arial"/>
              </a:rPr>
              <a:t>42.4</a:t>
            </a:r>
            <a:endParaRPr lang="en-GB" sz="1400" dirty="0">
              <a:latin typeface="Arial"/>
              <a:cs typeface="Arial"/>
            </a:endParaRPr>
          </a:p>
        </p:txBody>
      </p:sp>
      <p:sp>
        <p:nvSpPr>
          <p:cNvPr id="10" name="テキスト ボックス 9"/>
          <p:cNvSpPr txBox="1"/>
          <p:nvPr/>
        </p:nvSpPr>
        <p:spPr>
          <a:xfrm>
            <a:off x="3275856" y="2708920"/>
            <a:ext cx="648072" cy="307777"/>
          </a:xfrm>
          <a:prstGeom prst="rect">
            <a:avLst/>
          </a:prstGeom>
          <a:noFill/>
        </p:spPr>
        <p:txBody>
          <a:bodyPr wrap="square" rtlCol="0">
            <a:spAutoFit/>
          </a:bodyPr>
          <a:lstStyle/>
          <a:p>
            <a:r>
              <a:rPr lang="en-GB" sz="1400" dirty="0" smtClean="0">
                <a:latin typeface="Arial"/>
                <a:cs typeface="Arial"/>
              </a:rPr>
              <a:t>44.5</a:t>
            </a:r>
            <a:endParaRPr lang="en-GB" sz="1400" dirty="0">
              <a:latin typeface="Arial"/>
              <a:cs typeface="Arial"/>
            </a:endParaRPr>
          </a:p>
        </p:txBody>
      </p:sp>
      <p:sp>
        <p:nvSpPr>
          <p:cNvPr id="11" name="テキスト ボックス 10"/>
          <p:cNvSpPr txBox="1"/>
          <p:nvPr/>
        </p:nvSpPr>
        <p:spPr>
          <a:xfrm>
            <a:off x="4283968" y="2852936"/>
            <a:ext cx="648072" cy="307777"/>
          </a:xfrm>
          <a:prstGeom prst="rect">
            <a:avLst/>
          </a:prstGeom>
          <a:noFill/>
        </p:spPr>
        <p:txBody>
          <a:bodyPr wrap="square" rtlCol="0">
            <a:spAutoFit/>
          </a:bodyPr>
          <a:lstStyle/>
          <a:p>
            <a:r>
              <a:rPr lang="en-GB" sz="1400" dirty="0" smtClean="0">
                <a:latin typeface="Arial"/>
                <a:cs typeface="Arial"/>
              </a:rPr>
              <a:t>55.2</a:t>
            </a:r>
            <a:endParaRPr lang="en-GB" sz="1400" dirty="0">
              <a:latin typeface="Arial"/>
              <a:cs typeface="Arial"/>
            </a:endParaRPr>
          </a:p>
        </p:txBody>
      </p:sp>
      <p:sp>
        <p:nvSpPr>
          <p:cNvPr id="12" name="テキスト ボックス 11"/>
          <p:cNvSpPr txBox="1"/>
          <p:nvPr/>
        </p:nvSpPr>
        <p:spPr>
          <a:xfrm>
            <a:off x="6300192" y="1916832"/>
            <a:ext cx="720080" cy="307777"/>
          </a:xfrm>
          <a:prstGeom prst="rect">
            <a:avLst/>
          </a:prstGeom>
          <a:noFill/>
        </p:spPr>
        <p:txBody>
          <a:bodyPr wrap="square" rtlCol="0">
            <a:spAutoFit/>
          </a:bodyPr>
          <a:lstStyle/>
          <a:p>
            <a:r>
              <a:rPr lang="en-GB" sz="1400" dirty="0" smtClean="0">
                <a:latin typeface="Arial"/>
                <a:cs typeface="Arial"/>
              </a:rPr>
              <a:t>10.6</a:t>
            </a:r>
            <a:endParaRPr lang="en-GB" sz="1400" dirty="0">
              <a:latin typeface="Arial"/>
              <a:cs typeface="Arial"/>
            </a:endParaRPr>
          </a:p>
        </p:txBody>
      </p:sp>
      <p:sp>
        <p:nvSpPr>
          <p:cNvPr id="13" name="テキスト ボックス 12"/>
          <p:cNvSpPr txBox="1"/>
          <p:nvPr/>
        </p:nvSpPr>
        <p:spPr>
          <a:xfrm>
            <a:off x="1259632" y="4581128"/>
            <a:ext cx="648072" cy="307777"/>
          </a:xfrm>
          <a:prstGeom prst="rect">
            <a:avLst/>
          </a:prstGeom>
          <a:noFill/>
        </p:spPr>
        <p:txBody>
          <a:bodyPr wrap="square" rtlCol="0">
            <a:spAutoFit/>
          </a:bodyPr>
          <a:lstStyle/>
          <a:p>
            <a:r>
              <a:rPr lang="en-GB" sz="1400" dirty="0" smtClean="0">
                <a:latin typeface="Arial"/>
                <a:cs typeface="Arial"/>
              </a:rPr>
              <a:t>44.3</a:t>
            </a:r>
            <a:endParaRPr lang="en-GB" sz="1400" dirty="0">
              <a:latin typeface="Arial"/>
              <a:cs typeface="Arial"/>
            </a:endParaRPr>
          </a:p>
        </p:txBody>
      </p:sp>
      <p:sp>
        <p:nvSpPr>
          <p:cNvPr id="14" name="テキスト ボックス 13"/>
          <p:cNvSpPr txBox="1"/>
          <p:nvPr/>
        </p:nvSpPr>
        <p:spPr>
          <a:xfrm>
            <a:off x="4211960" y="4797152"/>
            <a:ext cx="648072" cy="307777"/>
          </a:xfrm>
          <a:prstGeom prst="rect">
            <a:avLst/>
          </a:prstGeom>
          <a:noFill/>
        </p:spPr>
        <p:txBody>
          <a:bodyPr wrap="square" rtlCol="0">
            <a:spAutoFit/>
          </a:bodyPr>
          <a:lstStyle/>
          <a:p>
            <a:r>
              <a:rPr lang="en-GB" sz="1400" dirty="0" smtClean="0">
                <a:latin typeface="Arial"/>
                <a:cs typeface="Arial"/>
              </a:rPr>
              <a:t>31.1</a:t>
            </a:r>
            <a:endParaRPr lang="en-GB" sz="1400" dirty="0">
              <a:latin typeface="Arial"/>
              <a:cs typeface="Arial"/>
            </a:endParaRPr>
          </a:p>
        </p:txBody>
      </p:sp>
      <p:sp>
        <p:nvSpPr>
          <p:cNvPr id="15" name="テキスト ボックス 14"/>
          <p:cNvSpPr txBox="1"/>
          <p:nvPr/>
        </p:nvSpPr>
        <p:spPr>
          <a:xfrm>
            <a:off x="5292080" y="3717032"/>
            <a:ext cx="648072" cy="307777"/>
          </a:xfrm>
          <a:prstGeom prst="rect">
            <a:avLst/>
          </a:prstGeom>
          <a:noFill/>
        </p:spPr>
        <p:txBody>
          <a:bodyPr wrap="square" rtlCol="0">
            <a:spAutoFit/>
          </a:bodyPr>
          <a:lstStyle/>
          <a:p>
            <a:r>
              <a:rPr lang="en-GB" sz="1400" dirty="0" smtClean="0">
                <a:latin typeface="Arial"/>
                <a:cs typeface="Arial"/>
              </a:rPr>
              <a:t>53.5</a:t>
            </a:r>
            <a:endParaRPr lang="en-GB" sz="1400" dirty="0">
              <a:latin typeface="Arial"/>
              <a:cs typeface="Arial"/>
            </a:endParaRPr>
          </a:p>
        </p:txBody>
      </p:sp>
      <p:sp>
        <p:nvSpPr>
          <p:cNvPr id="16" name="テキスト ボックス 15"/>
          <p:cNvSpPr txBox="1"/>
          <p:nvPr/>
        </p:nvSpPr>
        <p:spPr>
          <a:xfrm>
            <a:off x="6300192" y="3717032"/>
            <a:ext cx="648072" cy="307777"/>
          </a:xfrm>
          <a:prstGeom prst="rect">
            <a:avLst/>
          </a:prstGeom>
          <a:noFill/>
        </p:spPr>
        <p:txBody>
          <a:bodyPr wrap="square" rtlCol="0">
            <a:spAutoFit/>
          </a:bodyPr>
          <a:lstStyle/>
          <a:p>
            <a:r>
              <a:rPr lang="en-GB" sz="1400" dirty="0" smtClean="0">
                <a:latin typeface="Arial"/>
                <a:cs typeface="Arial"/>
              </a:rPr>
              <a:t>78.7</a:t>
            </a:r>
            <a:endParaRPr lang="en-GB" sz="1400" dirty="0">
              <a:latin typeface="Arial"/>
              <a:cs typeface="Arial"/>
            </a:endParaRPr>
          </a:p>
        </p:txBody>
      </p:sp>
      <p:sp>
        <p:nvSpPr>
          <p:cNvPr id="18" name="テキスト ボックス 17"/>
          <p:cNvSpPr txBox="1"/>
          <p:nvPr/>
        </p:nvSpPr>
        <p:spPr>
          <a:xfrm>
            <a:off x="179512" y="1412776"/>
            <a:ext cx="2016224" cy="307777"/>
          </a:xfrm>
          <a:prstGeom prst="rect">
            <a:avLst/>
          </a:prstGeom>
          <a:noFill/>
        </p:spPr>
        <p:txBody>
          <a:bodyPr wrap="square" rtlCol="0">
            <a:spAutoFit/>
          </a:bodyPr>
          <a:lstStyle/>
          <a:p>
            <a:r>
              <a:rPr lang="en-GB" sz="1400" dirty="0" smtClean="0">
                <a:latin typeface="Arial"/>
                <a:cs typeface="Arial"/>
              </a:rPr>
              <a:t>Nr. of cert.:  1,111,698</a:t>
            </a:r>
            <a:endParaRPr lang="en-GB" sz="1400" dirty="0">
              <a:latin typeface="Arial"/>
              <a:cs typeface="Arial"/>
            </a:endParaRPr>
          </a:p>
        </p:txBody>
      </p:sp>
      <p:sp>
        <p:nvSpPr>
          <p:cNvPr id="19" name="テキスト ボックス 18"/>
          <p:cNvSpPr txBox="1"/>
          <p:nvPr/>
        </p:nvSpPr>
        <p:spPr>
          <a:xfrm>
            <a:off x="2051720" y="1412776"/>
            <a:ext cx="936104" cy="307777"/>
          </a:xfrm>
          <a:prstGeom prst="rect">
            <a:avLst/>
          </a:prstGeom>
          <a:noFill/>
        </p:spPr>
        <p:txBody>
          <a:bodyPr wrap="square" rtlCol="0">
            <a:spAutoFit/>
          </a:bodyPr>
          <a:lstStyle/>
          <a:p>
            <a:r>
              <a:rPr lang="en-GB" sz="1400" dirty="0" smtClean="0">
                <a:latin typeface="Arial"/>
                <a:cs typeface="Arial"/>
              </a:rPr>
              <a:t>  267,457</a:t>
            </a:r>
            <a:endParaRPr lang="en-GB" sz="1400" dirty="0">
              <a:latin typeface="Arial"/>
              <a:cs typeface="Arial"/>
            </a:endParaRPr>
          </a:p>
        </p:txBody>
      </p:sp>
      <p:sp>
        <p:nvSpPr>
          <p:cNvPr id="20" name="テキスト ボックス 19"/>
          <p:cNvSpPr txBox="1"/>
          <p:nvPr/>
        </p:nvSpPr>
        <p:spPr>
          <a:xfrm>
            <a:off x="3059832" y="1412776"/>
            <a:ext cx="864096" cy="307777"/>
          </a:xfrm>
          <a:prstGeom prst="rect">
            <a:avLst/>
          </a:prstGeom>
          <a:noFill/>
        </p:spPr>
        <p:txBody>
          <a:bodyPr wrap="square" rtlCol="0">
            <a:spAutoFit/>
          </a:bodyPr>
          <a:lstStyle/>
          <a:p>
            <a:r>
              <a:rPr lang="en-GB" sz="1400" dirty="0" smtClean="0">
                <a:latin typeface="Arial"/>
                <a:cs typeface="Arial"/>
              </a:rPr>
              <a:t> 19,980</a:t>
            </a:r>
            <a:endParaRPr lang="en-GB" sz="1400" dirty="0">
              <a:latin typeface="Arial"/>
              <a:cs typeface="Arial"/>
            </a:endParaRPr>
          </a:p>
        </p:txBody>
      </p:sp>
      <p:sp>
        <p:nvSpPr>
          <p:cNvPr id="21" name="テキスト ボックス 20"/>
          <p:cNvSpPr txBox="1"/>
          <p:nvPr/>
        </p:nvSpPr>
        <p:spPr>
          <a:xfrm>
            <a:off x="4067944" y="1412776"/>
            <a:ext cx="792088" cy="307777"/>
          </a:xfrm>
          <a:prstGeom prst="rect">
            <a:avLst/>
          </a:prstGeom>
          <a:noFill/>
        </p:spPr>
        <p:txBody>
          <a:bodyPr wrap="square" rtlCol="0">
            <a:spAutoFit/>
          </a:bodyPr>
          <a:lstStyle/>
          <a:p>
            <a:r>
              <a:rPr lang="en-GB" sz="1400" dirty="0" smtClean="0">
                <a:latin typeface="Arial"/>
                <a:cs typeface="Arial"/>
              </a:rPr>
              <a:t> 17,509</a:t>
            </a:r>
            <a:endParaRPr lang="en-GB" sz="1400" dirty="0">
              <a:latin typeface="Arial"/>
              <a:cs typeface="Arial"/>
            </a:endParaRPr>
          </a:p>
        </p:txBody>
      </p:sp>
      <p:sp>
        <p:nvSpPr>
          <p:cNvPr id="22" name="テキスト ボックス 21"/>
          <p:cNvSpPr txBox="1"/>
          <p:nvPr/>
        </p:nvSpPr>
        <p:spPr>
          <a:xfrm>
            <a:off x="5076056" y="1412776"/>
            <a:ext cx="936104" cy="307777"/>
          </a:xfrm>
          <a:prstGeom prst="rect">
            <a:avLst/>
          </a:prstGeom>
          <a:noFill/>
        </p:spPr>
        <p:txBody>
          <a:bodyPr wrap="square" rtlCol="0">
            <a:spAutoFit/>
          </a:bodyPr>
          <a:lstStyle/>
          <a:p>
            <a:r>
              <a:rPr lang="en-GB" sz="1400" dirty="0" smtClean="0">
                <a:latin typeface="Arial"/>
                <a:cs typeface="Arial"/>
              </a:rPr>
              <a:t> 20,034</a:t>
            </a:r>
            <a:endParaRPr lang="en-GB" sz="1400" dirty="0">
              <a:latin typeface="Arial"/>
              <a:cs typeface="Arial"/>
            </a:endParaRPr>
          </a:p>
        </p:txBody>
      </p:sp>
      <p:sp>
        <p:nvSpPr>
          <p:cNvPr id="23" name="テキスト ボックス 22"/>
          <p:cNvSpPr txBox="1"/>
          <p:nvPr/>
        </p:nvSpPr>
        <p:spPr>
          <a:xfrm>
            <a:off x="6156176" y="1412776"/>
            <a:ext cx="720080" cy="307777"/>
          </a:xfrm>
          <a:prstGeom prst="rect">
            <a:avLst/>
          </a:prstGeom>
          <a:noFill/>
        </p:spPr>
        <p:txBody>
          <a:bodyPr wrap="square" rtlCol="0">
            <a:spAutoFit/>
          </a:bodyPr>
          <a:lstStyle/>
          <a:p>
            <a:r>
              <a:rPr lang="en-GB" sz="1400" dirty="0" smtClean="0">
                <a:latin typeface="Arial"/>
                <a:cs typeface="Arial"/>
              </a:rPr>
              <a:t>  461</a:t>
            </a:r>
            <a:endParaRPr lang="en-GB" sz="1400" dirty="0">
              <a:latin typeface="Arial"/>
              <a:cs typeface="Arial"/>
            </a:endParaRPr>
          </a:p>
        </p:txBody>
      </p:sp>
      <p:sp>
        <p:nvSpPr>
          <p:cNvPr id="24" name="テキスト ボックス 23"/>
          <p:cNvSpPr txBox="1"/>
          <p:nvPr/>
        </p:nvSpPr>
        <p:spPr>
          <a:xfrm>
            <a:off x="5292080" y="4941168"/>
            <a:ext cx="648072" cy="307777"/>
          </a:xfrm>
          <a:prstGeom prst="rect">
            <a:avLst/>
          </a:prstGeom>
          <a:noFill/>
        </p:spPr>
        <p:txBody>
          <a:bodyPr wrap="square" rtlCol="0">
            <a:spAutoFit/>
          </a:bodyPr>
          <a:lstStyle/>
          <a:p>
            <a:r>
              <a:rPr lang="en-GB" sz="1400" dirty="0" smtClean="0">
                <a:latin typeface="Arial"/>
                <a:cs typeface="Arial"/>
              </a:rPr>
              <a:t>22.5</a:t>
            </a:r>
            <a:endParaRPr lang="en-GB" sz="1400" dirty="0">
              <a:latin typeface="Arial"/>
              <a:cs typeface="Arial"/>
            </a:endParaRPr>
          </a:p>
        </p:txBody>
      </p:sp>
      <p:sp>
        <p:nvSpPr>
          <p:cNvPr id="2" name="スライド番号プレースホルダー 1"/>
          <p:cNvSpPr>
            <a:spLocks noGrp="1"/>
          </p:cNvSpPr>
          <p:nvPr>
            <p:ph type="sldNum" sz="quarter" idx="12"/>
          </p:nvPr>
        </p:nvSpPr>
        <p:spPr/>
        <p:txBody>
          <a:bodyPr/>
          <a:lstStyle/>
          <a:p>
            <a:fld id="{7F5CE407-6216-4202-80E4-A30DC2F709B2}" type="slidenum">
              <a:rPr lang="en-US" smtClean="0"/>
              <a:pPr/>
              <a:t>11</a:t>
            </a:fld>
            <a:endParaRPr lang="en-US"/>
          </a:p>
        </p:txBody>
      </p:sp>
    </p:spTree>
    <p:extLst>
      <p:ext uri="{BB962C8B-B14F-4D97-AF65-F5344CB8AC3E}">
        <p14:creationId xmlns:p14="http://schemas.microsoft.com/office/powerpoint/2010/main" xmlns="" val="181618065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3"/>
          <p:cNvPicPr>
            <a:picLocks noChangeAspect="1"/>
          </p:cNvPicPr>
          <p:nvPr/>
        </p:nvPicPr>
        <p:blipFill>
          <a:blip r:embed="rId3"/>
          <a:srcRect/>
          <a:stretch>
            <a:fillRect/>
          </a:stretch>
        </p:blipFill>
        <p:spPr bwMode="auto">
          <a:xfrm>
            <a:off x="0" y="116632"/>
            <a:ext cx="1979613" cy="1168400"/>
          </a:xfrm>
          <a:prstGeom prst="rect">
            <a:avLst/>
          </a:prstGeom>
          <a:noFill/>
          <a:ln w="9525">
            <a:noFill/>
            <a:miter lim="800000"/>
            <a:headEnd/>
            <a:tailEnd/>
          </a:ln>
        </p:spPr>
      </p:pic>
      <p:graphicFrame>
        <p:nvGraphicFramePr>
          <p:cNvPr id="3" name="グラフ 2"/>
          <p:cNvGraphicFramePr>
            <a:graphicFrameLocks/>
          </p:cNvGraphicFramePr>
          <p:nvPr>
            <p:extLst>
              <p:ext uri="{D42A27DB-BD31-4B8C-83A1-F6EECF244321}">
                <p14:modId xmlns:p14="http://schemas.microsoft.com/office/powerpoint/2010/main" xmlns="" val="382959237"/>
              </p:ext>
            </p:extLst>
          </p:nvPr>
        </p:nvGraphicFramePr>
        <p:xfrm>
          <a:off x="467544" y="1484784"/>
          <a:ext cx="8352928" cy="5101034"/>
        </p:xfrm>
        <a:graphic>
          <a:graphicData uri="http://schemas.openxmlformats.org/drawingml/2006/chart">
            <c:chart xmlns:c="http://schemas.openxmlformats.org/drawingml/2006/chart" xmlns:r="http://schemas.openxmlformats.org/officeDocument/2006/relationships" r:id="rId4"/>
          </a:graphicData>
        </a:graphic>
      </p:graphicFrame>
      <p:cxnSp>
        <p:nvCxnSpPr>
          <p:cNvPr id="5" name="直線矢印コネクタ 4"/>
          <p:cNvCxnSpPr/>
          <p:nvPr/>
        </p:nvCxnSpPr>
        <p:spPr>
          <a:xfrm flipH="1">
            <a:off x="4211960" y="2492896"/>
            <a:ext cx="360040" cy="360040"/>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7" name="直線矢印コネクタ 6"/>
          <p:cNvCxnSpPr/>
          <p:nvPr/>
        </p:nvCxnSpPr>
        <p:spPr>
          <a:xfrm flipV="1">
            <a:off x="4355976" y="3933056"/>
            <a:ext cx="216024" cy="504056"/>
          </a:xfrm>
          <a:prstGeom prst="straightConnector1">
            <a:avLst/>
          </a:prstGeom>
          <a:ln>
            <a:solidFill>
              <a:srgbClr val="000000"/>
            </a:solidFill>
            <a:tailEnd type="arrow"/>
          </a:ln>
        </p:spPr>
        <p:style>
          <a:lnRef idx="2">
            <a:schemeClr val="accent1"/>
          </a:lnRef>
          <a:fillRef idx="0">
            <a:schemeClr val="accent1"/>
          </a:fillRef>
          <a:effectRef idx="1">
            <a:schemeClr val="accent1"/>
          </a:effectRef>
          <a:fontRef idx="minor">
            <a:schemeClr val="tx1"/>
          </a:fontRef>
        </p:style>
      </p:cxnSp>
      <p:sp>
        <p:nvSpPr>
          <p:cNvPr id="9" name="テキスト ボックス 8"/>
          <p:cNvSpPr txBox="1"/>
          <p:nvPr/>
        </p:nvSpPr>
        <p:spPr>
          <a:xfrm>
            <a:off x="2051720" y="548680"/>
            <a:ext cx="6480720" cy="584776"/>
          </a:xfrm>
          <a:prstGeom prst="rect">
            <a:avLst/>
          </a:prstGeom>
          <a:noFill/>
        </p:spPr>
        <p:txBody>
          <a:bodyPr wrap="square" rtlCol="0">
            <a:spAutoFit/>
          </a:bodyPr>
          <a:lstStyle/>
          <a:p>
            <a:r>
              <a:rPr lang="en-GB" sz="3200" b="1" dirty="0" smtClean="0">
                <a:solidFill>
                  <a:srgbClr val="0000FF"/>
                </a:solidFill>
                <a:latin typeface="Arial"/>
                <a:cs typeface="Arial"/>
              </a:rPr>
              <a:t>Trends in Regional Share</a:t>
            </a:r>
            <a:r>
              <a:rPr lang="en-US" sz="3200" b="1" dirty="0">
                <a:solidFill>
                  <a:srgbClr val="0000FF"/>
                </a:solidFill>
                <a:latin typeface="Arial"/>
                <a:cs typeface="Arial"/>
              </a:rPr>
              <a:t> (</a:t>
            </a:r>
            <a:r>
              <a:rPr lang="en-US" sz="3200" b="1" dirty="0" smtClean="0">
                <a:solidFill>
                  <a:srgbClr val="0000FF"/>
                </a:solidFill>
                <a:latin typeface="Arial"/>
                <a:cs typeface="Arial"/>
              </a:rPr>
              <a:t>QMS)</a:t>
            </a:r>
            <a:endParaRPr lang="en-GB" sz="3200" b="1" dirty="0">
              <a:solidFill>
                <a:srgbClr val="0000FF"/>
              </a:solidFill>
              <a:latin typeface="Arial"/>
              <a:cs typeface="Arial"/>
            </a:endParaRPr>
          </a:p>
        </p:txBody>
      </p:sp>
      <p:sp>
        <p:nvSpPr>
          <p:cNvPr id="11" name="正方形/長方形 10"/>
          <p:cNvSpPr/>
          <p:nvPr/>
        </p:nvSpPr>
        <p:spPr>
          <a:xfrm>
            <a:off x="251520" y="6453336"/>
            <a:ext cx="1728192" cy="246221"/>
          </a:xfrm>
          <a:prstGeom prst="rect">
            <a:avLst/>
          </a:prstGeom>
        </p:spPr>
        <p:txBody>
          <a:bodyPr wrap="square">
            <a:spAutoFit/>
          </a:bodyPr>
          <a:lstStyle/>
          <a:p>
            <a:r>
              <a:rPr lang="en-GB" altLang="ja-JP" sz="1000" dirty="0" smtClean="0">
                <a:latin typeface="Arial"/>
                <a:cs typeface="Arial"/>
              </a:rPr>
              <a:t>Source: ISO </a:t>
            </a:r>
            <a:r>
              <a:rPr lang="en-GB" altLang="ja-JP" sz="1000" dirty="0">
                <a:latin typeface="Arial"/>
                <a:cs typeface="Arial"/>
              </a:rPr>
              <a:t>Survey -2011</a:t>
            </a:r>
          </a:p>
        </p:txBody>
      </p:sp>
      <p:sp>
        <p:nvSpPr>
          <p:cNvPr id="4" name="テキスト ボックス 3"/>
          <p:cNvSpPr txBox="1"/>
          <p:nvPr/>
        </p:nvSpPr>
        <p:spPr>
          <a:xfrm>
            <a:off x="1835696" y="1916832"/>
            <a:ext cx="648072" cy="246221"/>
          </a:xfrm>
          <a:prstGeom prst="rect">
            <a:avLst/>
          </a:prstGeom>
          <a:noFill/>
        </p:spPr>
        <p:txBody>
          <a:bodyPr wrap="square" rtlCol="0">
            <a:spAutoFit/>
          </a:bodyPr>
          <a:lstStyle/>
          <a:p>
            <a:r>
              <a:rPr lang="en-GB" sz="1000" dirty="0" smtClean="0">
                <a:latin typeface="Arial"/>
                <a:cs typeface="Arial"/>
              </a:rPr>
              <a:t>269,332</a:t>
            </a:r>
            <a:endParaRPr lang="en-GB" sz="1000" dirty="0">
              <a:latin typeface="Arial"/>
              <a:cs typeface="Arial"/>
            </a:endParaRPr>
          </a:p>
        </p:txBody>
      </p:sp>
      <p:sp>
        <p:nvSpPr>
          <p:cNvPr id="6" name="テキスト ボックス 5"/>
          <p:cNvSpPr txBox="1"/>
          <p:nvPr/>
        </p:nvSpPr>
        <p:spPr>
          <a:xfrm>
            <a:off x="6876256" y="2852936"/>
            <a:ext cx="720080" cy="246221"/>
          </a:xfrm>
          <a:prstGeom prst="rect">
            <a:avLst/>
          </a:prstGeom>
          <a:noFill/>
        </p:spPr>
        <p:txBody>
          <a:bodyPr wrap="square" rtlCol="0">
            <a:spAutoFit/>
          </a:bodyPr>
          <a:lstStyle/>
          <a:p>
            <a:r>
              <a:rPr lang="en-GB" sz="1000" dirty="0" smtClean="0">
                <a:latin typeface="Arial"/>
                <a:cs typeface="Arial"/>
              </a:rPr>
              <a:t>492,248</a:t>
            </a:r>
            <a:endParaRPr lang="en-GB" sz="1000" dirty="0">
              <a:latin typeface="Arial"/>
              <a:cs typeface="Arial"/>
            </a:endParaRPr>
          </a:p>
        </p:txBody>
      </p:sp>
      <p:sp>
        <p:nvSpPr>
          <p:cNvPr id="8" name="スライド番号プレースホルダー 7"/>
          <p:cNvSpPr>
            <a:spLocks noGrp="1"/>
          </p:cNvSpPr>
          <p:nvPr>
            <p:ph type="sldNum" sz="quarter" idx="12"/>
          </p:nvPr>
        </p:nvSpPr>
        <p:spPr/>
        <p:txBody>
          <a:bodyPr/>
          <a:lstStyle/>
          <a:p>
            <a:fld id="{7F5CE407-6216-4202-80E4-A30DC2F709B2}" type="slidenum">
              <a:rPr lang="en-US" smtClean="0"/>
              <a:pPr/>
              <a:t>12</a:t>
            </a:fld>
            <a:endParaRPr lang="en-US" dirty="0"/>
          </a:p>
        </p:txBody>
      </p:sp>
    </p:spTree>
    <p:extLst>
      <p:ext uri="{BB962C8B-B14F-4D97-AF65-F5344CB8AC3E}">
        <p14:creationId xmlns:p14="http://schemas.microsoft.com/office/powerpoint/2010/main" xmlns="" val="73510750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3"/>
          <p:cNvPicPr>
            <a:picLocks noChangeAspect="1"/>
          </p:cNvPicPr>
          <p:nvPr/>
        </p:nvPicPr>
        <p:blipFill>
          <a:blip r:embed="rId3"/>
          <a:srcRect/>
          <a:stretch>
            <a:fillRect/>
          </a:stretch>
        </p:blipFill>
        <p:spPr bwMode="auto">
          <a:xfrm>
            <a:off x="0" y="116632"/>
            <a:ext cx="1979613" cy="1051768"/>
          </a:xfrm>
          <a:prstGeom prst="rect">
            <a:avLst/>
          </a:prstGeom>
          <a:noFill/>
          <a:ln w="9525">
            <a:noFill/>
            <a:miter lim="800000"/>
            <a:headEnd/>
            <a:tailEnd/>
          </a:ln>
        </p:spPr>
      </p:pic>
      <p:graphicFrame>
        <p:nvGraphicFramePr>
          <p:cNvPr id="4" name="グラフ 3"/>
          <p:cNvGraphicFramePr>
            <a:graphicFrameLocks/>
          </p:cNvGraphicFramePr>
          <p:nvPr>
            <p:extLst>
              <p:ext uri="{D42A27DB-BD31-4B8C-83A1-F6EECF244321}">
                <p14:modId xmlns:p14="http://schemas.microsoft.com/office/powerpoint/2010/main" xmlns="" val="1362575243"/>
              </p:ext>
            </p:extLst>
          </p:nvPr>
        </p:nvGraphicFramePr>
        <p:xfrm>
          <a:off x="539552" y="1340768"/>
          <a:ext cx="7632848" cy="5112568"/>
        </p:xfrm>
        <a:graphic>
          <a:graphicData uri="http://schemas.openxmlformats.org/drawingml/2006/chart">
            <c:chart xmlns:c="http://schemas.openxmlformats.org/drawingml/2006/chart" xmlns:r="http://schemas.openxmlformats.org/officeDocument/2006/relationships" r:id="rId4"/>
          </a:graphicData>
        </a:graphic>
      </p:graphicFrame>
      <p:cxnSp>
        <p:nvCxnSpPr>
          <p:cNvPr id="6" name="直線矢印コネクタ 5"/>
          <p:cNvCxnSpPr/>
          <p:nvPr/>
        </p:nvCxnSpPr>
        <p:spPr>
          <a:xfrm flipH="1" flipV="1">
            <a:off x="4211960" y="4221088"/>
            <a:ext cx="432048" cy="360040"/>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sp>
        <p:nvSpPr>
          <p:cNvPr id="7" name="テキスト ボックス 6"/>
          <p:cNvSpPr txBox="1"/>
          <p:nvPr/>
        </p:nvSpPr>
        <p:spPr>
          <a:xfrm>
            <a:off x="1979712" y="476672"/>
            <a:ext cx="6912768" cy="584776"/>
          </a:xfrm>
          <a:prstGeom prst="rect">
            <a:avLst/>
          </a:prstGeom>
          <a:noFill/>
        </p:spPr>
        <p:txBody>
          <a:bodyPr wrap="square" rtlCol="0">
            <a:spAutoFit/>
          </a:bodyPr>
          <a:lstStyle/>
          <a:p>
            <a:r>
              <a:rPr lang="en-GB" altLang="ja-JP" sz="3200" b="1" dirty="0">
                <a:solidFill>
                  <a:srgbClr val="0000FF"/>
                </a:solidFill>
                <a:latin typeface="Arial"/>
                <a:cs typeface="Arial"/>
              </a:rPr>
              <a:t>Trends in Regional Share</a:t>
            </a:r>
            <a:r>
              <a:rPr lang="en-US" altLang="ja-JP" sz="3200" b="1" dirty="0">
                <a:solidFill>
                  <a:srgbClr val="0000FF"/>
                </a:solidFill>
                <a:latin typeface="Arial"/>
                <a:cs typeface="Arial"/>
              </a:rPr>
              <a:t> </a:t>
            </a:r>
            <a:r>
              <a:rPr lang="en-US" altLang="ja-JP" sz="3200" b="1" dirty="0" smtClean="0">
                <a:solidFill>
                  <a:srgbClr val="0000FF"/>
                </a:solidFill>
                <a:latin typeface="Arial"/>
                <a:cs typeface="Arial"/>
              </a:rPr>
              <a:t>(FSMS)</a:t>
            </a:r>
            <a:endParaRPr lang="en-GB" altLang="ja-JP" sz="3200" b="1" dirty="0">
              <a:solidFill>
                <a:srgbClr val="0000FF"/>
              </a:solidFill>
              <a:latin typeface="Arial"/>
              <a:cs typeface="Arial"/>
            </a:endParaRPr>
          </a:p>
        </p:txBody>
      </p:sp>
      <p:sp>
        <p:nvSpPr>
          <p:cNvPr id="8" name="正方形/長方形 7"/>
          <p:cNvSpPr/>
          <p:nvPr/>
        </p:nvSpPr>
        <p:spPr>
          <a:xfrm>
            <a:off x="323528" y="6381328"/>
            <a:ext cx="1800200" cy="246221"/>
          </a:xfrm>
          <a:prstGeom prst="rect">
            <a:avLst/>
          </a:prstGeom>
        </p:spPr>
        <p:txBody>
          <a:bodyPr wrap="square">
            <a:spAutoFit/>
          </a:bodyPr>
          <a:lstStyle/>
          <a:p>
            <a:r>
              <a:rPr lang="en-GB" altLang="ja-JP" sz="1000" dirty="0" smtClean="0">
                <a:latin typeface="Arial"/>
                <a:cs typeface="Arial"/>
              </a:rPr>
              <a:t>Source: ISO </a:t>
            </a:r>
            <a:r>
              <a:rPr lang="en-GB" altLang="ja-JP" sz="1000" dirty="0">
                <a:latin typeface="Arial"/>
                <a:cs typeface="Arial"/>
              </a:rPr>
              <a:t>Survey -2011</a:t>
            </a:r>
          </a:p>
        </p:txBody>
      </p:sp>
      <p:sp>
        <p:nvSpPr>
          <p:cNvPr id="5" name="テキスト ボックス 4"/>
          <p:cNvSpPr txBox="1"/>
          <p:nvPr/>
        </p:nvSpPr>
        <p:spPr>
          <a:xfrm>
            <a:off x="1691680" y="1916832"/>
            <a:ext cx="648072" cy="246221"/>
          </a:xfrm>
          <a:prstGeom prst="rect">
            <a:avLst/>
          </a:prstGeom>
          <a:noFill/>
        </p:spPr>
        <p:txBody>
          <a:bodyPr wrap="square" rtlCol="0">
            <a:spAutoFit/>
          </a:bodyPr>
          <a:lstStyle/>
          <a:p>
            <a:r>
              <a:rPr lang="en-GB" sz="1000" dirty="0" smtClean="0">
                <a:latin typeface="Arial"/>
                <a:cs typeface="Arial"/>
              </a:rPr>
              <a:t>2,749</a:t>
            </a:r>
            <a:endParaRPr lang="en-GB" sz="1000" dirty="0">
              <a:latin typeface="Arial"/>
              <a:cs typeface="Arial"/>
            </a:endParaRPr>
          </a:p>
        </p:txBody>
      </p:sp>
      <p:sp>
        <p:nvSpPr>
          <p:cNvPr id="9" name="テキスト ボックス 8"/>
          <p:cNvSpPr txBox="1"/>
          <p:nvPr/>
        </p:nvSpPr>
        <p:spPr>
          <a:xfrm>
            <a:off x="6804248" y="3861048"/>
            <a:ext cx="1008112" cy="246221"/>
          </a:xfrm>
          <a:prstGeom prst="rect">
            <a:avLst/>
          </a:prstGeom>
          <a:noFill/>
        </p:spPr>
        <p:txBody>
          <a:bodyPr wrap="square" rtlCol="0">
            <a:spAutoFit/>
          </a:bodyPr>
          <a:lstStyle/>
          <a:p>
            <a:r>
              <a:rPr lang="en-GB" sz="1000" dirty="0" smtClean="0">
                <a:latin typeface="Arial"/>
                <a:cs typeface="Arial"/>
              </a:rPr>
              <a:t>8,011</a:t>
            </a:r>
            <a:endParaRPr lang="en-GB" sz="1000" dirty="0">
              <a:latin typeface="Arial"/>
              <a:cs typeface="Arial"/>
            </a:endParaRPr>
          </a:p>
        </p:txBody>
      </p:sp>
      <p:sp>
        <p:nvSpPr>
          <p:cNvPr id="10" name="テキスト ボックス 9"/>
          <p:cNvSpPr txBox="1"/>
          <p:nvPr/>
        </p:nvSpPr>
        <p:spPr>
          <a:xfrm>
            <a:off x="1691680" y="4509120"/>
            <a:ext cx="648072" cy="246221"/>
          </a:xfrm>
          <a:prstGeom prst="rect">
            <a:avLst/>
          </a:prstGeom>
          <a:noFill/>
        </p:spPr>
        <p:txBody>
          <a:bodyPr wrap="square" rtlCol="0">
            <a:spAutoFit/>
          </a:bodyPr>
          <a:lstStyle/>
          <a:p>
            <a:r>
              <a:rPr lang="en-GB" sz="1000" dirty="0" smtClean="0">
                <a:latin typeface="Arial"/>
                <a:cs typeface="Arial"/>
              </a:rPr>
              <a:t>704</a:t>
            </a:r>
            <a:endParaRPr lang="en-GB" sz="1000" dirty="0">
              <a:latin typeface="Arial"/>
              <a:cs typeface="Arial"/>
            </a:endParaRPr>
          </a:p>
        </p:txBody>
      </p:sp>
      <p:sp>
        <p:nvSpPr>
          <p:cNvPr id="11" name="テキスト ボックス 10"/>
          <p:cNvSpPr txBox="1"/>
          <p:nvPr/>
        </p:nvSpPr>
        <p:spPr>
          <a:xfrm>
            <a:off x="6732240" y="3140968"/>
            <a:ext cx="576064" cy="246221"/>
          </a:xfrm>
          <a:prstGeom prst="rect">
            <a:avLst/>
          </a:prstGeom>
          <a:noFill/>
        </p:spPr>
        <p:txBody>
          <a:bodyPr wrap="square" rtlCol="0">
            <a:spAutoFit/>
          </a:bodyPr>
          <a:lstStyle/>
          <a:p>
            <a:r>
              <a:rPr lang="en-GB" sz="1000" dirty="0" smtClean="0">
                <a:latin typeface="Arial"/>
                <a:cs typeface="Arial"/>
              </a:rPr>
              <a:t>8,886</a:t>
            </a:r>
            <a:endParaRPr lang="en-GB" sz="1000" dirty="0">
              <a:latin typeface="Arial"/>
              <a:cs typeface="Arial"/>
            </a:endParaRPr>
          </a:p>
        </p:txBody>
      </p:sp>
      <p:sp>
        <p:nvSpPr>
          <p:cNvPr id="3" name="スライド番号プレースホルダー 2"/>
          <p:cNvSpPr>
            <a:spLocks noGrp="1"/>
          </p:cNvSpPr>
          <p:nvPr>
            <p:ph type="sldNum" sz="quarter" idx="12"/>
          </p:nvPr>
        </p:nvSpPr>
        <p:spPr/>
        <p:txBody>
          <a:bodyPr/>
          <a:lstStyle/>
          <a:p>
            <a:fld id="{7F5CE407-6216-4202-80E4-A30DC2F709B2}" type="slidenum">
              <a:rPr lang="en-US" smtClean="0"/>
              <a:pPr/>
              <a:t>13</a:t>
            </a:fld>
            <a:endParaRPr lang="en-US" dirty="0"/>
          </a:p>
        </p:txBody>
      </p:sp>
    </p:spTree>
    <p:extLst>
      <p:ext uri="{BB962C8B-B14F-4D97-AF65-F5344CB8AC3E}">
        <p14:creationId xmlns:p14="http://schemas.microsoft.com/office/powerpoint/2010/main" xmlns="" val="327192302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rcRect/>
          <a:stretch>
            <a:fillRect/>
          </a:stretch>
        </p:blipFill>
        <p:spPr bwMode="auto">
          <a:xfrm>
            <a:off x="11005" y="116632"/>
            <a:ext cx="1979613" cy="1168400"/>
          </a:xfrm>
          <a:prstGeom prst="rect">
            <a:avLst/>
          </a:prstGeom>
          <a:noFill/>
          <a:ln w="9525">
            <a:noFill/>
            <a:miter lim="800000"/>
            <a:headEnd/>
            <a:tailEnd/>
          </a:ln>
        </p:spPr>
      </p:pic>
      <p:sp>
        <p:nvSpPr>
          <p:cNvPr id="5" name="Text Box 5"/>
          <p:cNvSpPr txBox="1">
            <a:spLocks noChangeArrowheads="1"/>
          </p:cNvSpPr>
          <p:nvPr/>
        </p:nvSpPr>
        <p:spPr bwMode="auto">
          <a:xfrm>
            <a:off x="1835696" y="764704"/>
            <a:ext cx="6696744" cy="646331"/>
          </a:xfrm>
          <a:prstGeom prst="rect">
            <a:avLst/>
          </a:prstGeom>
          <a:noFill/>
          <a:ln w="9525">
            <a:noFill/>
            <a:miter lim="800000"/>
            <a:headEnd/>
            <a:tailEnd/>
          </a:ln>
        </p:spPr>
        <p:txBody>
          <a:bodyPr wrap="square">
            <a:spAutoFit/>
          </a:bodyPr>
          <a:lstStyle/>
          <a:p>
            <a:pPr algn="ctr">
              <a:spcBef>
                <a:spcPct val="50000"/>
              </a:spcBef>
            </a:pPr>
            <a:r>
              <a:rPr lang="en-AU" altLang="ja-JP" sz="3600" dirty="0" smtClean="0">
                <a:solidFill>
                  <a:srgbClr val="0000FF"/>
                </a:solidFill>
                <a:latin typeface="Arial Black"/>
                <a:cs typeface="Arial Black"/>
              </a:rPr>
              <a:t>Enhancement Strategies</a:t>
            </a:r>
            <a:endParaRPr lang="ja-JP" altLang="en-US" sz="3600" b="1" dirty="0">
              <a:solidFill>
                <a:srgbClr val="0000FF"/>
              </a:solidFill>
              <a:latin typeface="Arial Black"/>
              <a:cs typeface="Arial Black"/>
            </a:endParaRPr>
          </a:p>
        </p:txBody>
      </p:sp>
      <p:sp>
        <p:nvSpPr>
          <p:cNvPr id="6" name="Rectangle 5"/>
          <p:cNvSpPr/>
          <p:nvPr/>
        </p:nvSpPr>
        <p:spPr>
          <a:xfrm>
            <a:off x="1331640" y="2132856"/>
            <a:ext cx="7416824" cy="4170372"/>
          </a:xfrm>
          <a:prstGeom prst="rect">
            <a:avLst/>
          </a:prstGeom>
        </p:spPr>
        <p:txBody>
          <a:bodyPr wrap="square">
            <a:spAutoFit/>
          </a:bodyPr>
          <a:lstStyle/>
          <a:p>
            <a:pPr marL="542925" indent="-542925">
              <a:buClr>
                <a:srgbClr val="FF0000"/>
              </a:buClr>
              <a:buFont typeface="Wingdings" pitchFamily="2" charset="2"/>
              <a:buChar char="q"/>
            </a:pPr>
            <a:r>
              <a:rPr lang="en-AU" sz="2400" b="1" dirty="0" smtClean="0">
                <a:solidFill>
                  <a:schemeClr val="tx1"/>
                </a:solidFill>
                <a:latin typeface="Arial" pitchFamily="34" charset="0"/>
                <a:cs typeface="Arial" pitchFamily="34" charset="0"/>
              </a:rPr>
              <a:t>Strategic Plan revised every 3 years.</a:t>
            </a:r>
          </a:p>
          <a:p>
            <a:pPr marL="1000125" lvl="1" indent="-542925">
              <a:spcBef>
                <a:spcPts val="600"/>
              </a:spcBef>
              <a:buClr>
                <a:srgbClr val="FF0000"/>
              </a:buClr>
              <a:buFont typeface="Wingdings" pitchFamily="2" charset="2"/>
              <a:buChar char="§"/>
            </a:pPr>
            <a:r>
              <a:rPr lang="en-AU" sz="2400" b="1" dirty="0" smtClean="0">
                <a:latin typeface="Arial" pitchFamily="34" charset="0"/>
                <a:cs typeface="Arial" pitchFamily="34" charset="0"/>
              </a:rPr>
              <a:t>Current plan is for 2013 to 2015 inclusive.</a:t>
            </a:r>
          </a:p>
          <a:p>
            <a:pPr lvl="1">
              <a:buClr>
                <a:srgbClr val="FF0000"/>
              </a:buClr>
            </a:pPr>
            <a:endParaRPr lang="en-AU" sz="2400" b="1" dirty="0">
              <a:latin typeface="Arial" pitchFamily="34" charset="0"/>
              <a:cs typeface="Arial" pitchFamily="34" charset="0"/>
            </a:endParaRPr>
          </a:p>
          <a:p>
            <a:pPr marL="542925" indent="-542925">
              <a:buClr>
                <a:srgbClr val="FF0000"/>
              </a:buClr>
              <a:buFont typeface="Wingdings" pitchFamily="2" charset="2"/>
              <a:buChar char="q"/>
            </a:pPr>
            <a:r>
              <a:rPr lang="en-AU" sz="2400" b="1" dirty="0" smtClean="0">
                <a:solidFill>
                  <a:schemeClr val="tx1"/>
                </a:solidFill>
                <a:latin typeface="Arial" pitchFamily="34" charset="0"/>
                <a:cs typeface="Arial" pitchFamily="34" charset="0"/>
              </a:rPr>
              <a:t>Major goals identified in this plan.</a:t>
            </a:r>
          </a:p>
          <a:p>
            <a:pPr marL="800100" lvl="1" indent="-342900">
              <a:spcBef>
                <a:spcPts val="600"/>
              </a:spcBef>
              <a:buClr>
                <a:srgbClr val="FF0000"/>
              </a:buClr>
              <a:buFont typeface="Wingdings" pitchFamily="2" charset="2"/>
              <a:buChar char="§"/>
            </a:pPr>
            <a:r>
              <a:rPr lang="en-AU" sz="2400" b="1" dirty="0">
                <a:latin typeface="Arial" pitchFamily="34" charset="0"/>
                <a:cs typeface="Arial" pitchFamily="34" charset="0"/>
              </a:rPr>
              <a:t>Enhance PAC’s capability as a learning </a:t>
            </a:r>
            <a:r>
              <a:rPr lang="en-AU" sz="2400" b="1" dirty="0" smtClean="0">
                <a:latin typeface="Arial" pitchFamily="34" charset="0"/>
                <a:cs typeface="Arial" pitchFamily="34" charset="0"/>
              </a:rPr>
              <a:t>organization</a:t>
            </a:r>
          </a:p>
          <a:p>
            <a:pPr marL="800100" lvl="1" indent="-342900">
              <a:spcBef>
                <a:spcPts val="600"/>
              </a:spcBef>
              <a:buClr>
                <a:srgbClr val="FF0000"/>
              </a:buClr>
              <a:buFont typeface="Wingdings" pitchFamily="2" charset="2"/>
              <a:buChar char="§"/>
            </a:pPr>
            <a:r>
              <a:rPr lang="en-AU" sz="2400" b="1" dirty="0">
                <a:latin typeface="Arial" pitchFamily="34" charset="0"/>
                <a:cs typeface="Arial" pitchFamily="34" charset="0"/>
              </a:rPr>
              <a:t>Enhance PAC’s technical </a:t>
            </a:r>
            <a:r>
              <a:rPr lang="en-AU" sz="2400" b="1" dirty="0" smtClean="0">
                <a:latin typeface="Arial" pitchFamily="34" charset="0"/>
                <a:cs typeface="Arial" pitchFamily="34" charset="0"/>
              </a:rPr>
              <a:t>capability</a:t>
            </a:r>
          </a:p>
          <a:p>
            <a:pPr marL="800100" lvl="1" indent="-342900">
              <a:spcBef>
                <a:spcPts val="600"/>
              </a:spcBef>
              <a:buClr>
                <a:srgbClr val="FF0000"/>
              </a:buClr>
              <a:buFont typeface="Wingdings" pitchFamily="2" charset="2"/>
              <a:buChar char="§"/>
            </a:pPr>
            <a:r>
              <a:rPr lang="en-AU" sz="2400" b="1" dirty="0">
                <a:latin typeface="Arial" pitchFamily="34" charset="0"/>
                <a:cs typeface="Arial" pitchFamily="34" charset="0"/>
              </a:rPr>
              <a:t>Strengthen PAC’s </a:t>
            </a:r>
            <a:r>
              <a:rPr lang="en-AU" sz="2400" b="1" dirty="0" smtClean="0">
                <a:latin typeface="Arial" pitchFamily="34" charset="0"/>
                <a:cs typeface="Arial" pitchFamily="34" charset="0"/>
              </a:rPr>
              <a:t>identity</a:t>
            </a:r>
          </a:p>
          <a:p>
            <a:pPr marL="800100" lvl="1" indent="-342900">
              <a:spcBef>
                <a:spcPts val="600"/>
              </a:spcBef>
              <a:buClr>
                <a:srgbClr val="FF0000"/>
              </a:buClr>
              <a:buFont typeface="Wingdings" pitchFamily="2" charset="2"/>
              <a:buChar char="§"/>
            </a:pPr>
            <a:r>
              <a:rPr lang="en-AU" sz="2400" b="1" dirty="0">
                <a:latin typeface="Arial" pitchFamily="34" charset="0"/>
                <a:cs typeface="Arial" pitchFamily="34" charset="0"/>
              </a:rPr>
              <a:t>Increase the acceptance of PAC among </a:t>
            </a:r>
            <a:r>
              <a:rPr lang="en-AU" sz="2400" b="1" dirty="0" smtClean="0">
                <a:latin typeface="Arial" pitchFamily="34" charset="0"/>
                <a:cs typeface="Arial" pitchFamily="34" charset="0"/>
              </a:rPr>
              <a:t>stakeholders</a:t>
            </a:r>
            <a:endParaRPr lang="en-AU" sz="2400" b="1" dirty="0">
              <a:latin typeface="Arial" pitchFamily="34" charset="0"/>
              <a:cs typeface="Arial" pitchFamily="34" charset="0"/>
            </a:endParaRPr>
          </a:p>
        </p:txBody>
      </p:sp>
      <p:sp>
        <p:nvSpPr>
          <p:cNvPr id="2" name="スライド番号プレースホルダー 1"/>
          <p:cNvSpPr>
            <a:spLocks noGrp="1"/>
          </p:cNvSpPr>
          <p:nvPr>
            <p:ph type="sldNum" sz="quarter" idx="12"/>
          </p:nvPr>
        </p:nvSpPr>
        <p:spPr/>
        <p:txBody>
          <a:bodyPr/>
          <a:lstStyle/>
          <a:p>
            <a:fld id="{7F5CE407-6216-4202-80E4-A30DC2F709B2}" type="slidenum">
              <a:rPr lang="en-US" smtClean="0"/>
              <a:pPr/>
              <a:t>14</a:t>
            </a:fld>
            <a:endParaRPr lang="en-US" dirty="0"/>
          </a:p>
        </p:txBody>
      </p:sp>
    </p:spTree>
    <p:extLst>
      <p:ext uri="{BB962C8B-B14F-4D97-AF65-F5344CB8AC3E}">
        <p14:creationId xmlns:p14="http://schemas.microsoft.com/office/powerpoint/2010/main" xmlns="" val="557015778"/>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rcRect/>
          <a:stretch>
            <a:fillRect/>
          </a:stretch>
        </p:blipFill>
        <p:spPr bwMode="auto">
          <a:xfrm>
            <a:off x="0" y="116632"/>
            <a:ext cx="1979613" cy="1168400"/>
          </a:xfrm>
          <a:prstGeom prst="rect">
            <a:avLst/>
          </a:prstGeom>
          <a:noFill/>
          <a:ln w="9525">
            <a:noFill/>
            <a:miter lim="800000"/>
            <a:headEnd/>
            <a:tailEnd/>
          </a:ln>
        </p:spPr>
      </p:pic>
      <p:sp>
        <p:nvSpPr>
          <p:cNvPr id="5" name="Text Box 5"/>
          <p:cNvSpPr txBox="1">
            <a:spLocks noChangeArrowheads="1"/>
          </p:cNvSpPr>
          <p:nvPr/>
        </p:nvSpPr>
        <p:spPr bwMode="auto">
          <a:xfrm>
            <a:off x="1467396" y="332656"/>
            <a:ext cx="7668344" cy="1569660"/>
          </a:xfrm>
          <a:prstGeom prst="rect">
            <a:avLst/>
          </a:prstGeom>
          <a:noFill/>
          <a:ln w="9525">
            <a:noFill/>
            <a:miter lim="800000"/>
            <a:headEnd/>
            <a:tailEnd/>
          </a:ln>
        </p:spPr>
        <p:txBody>
          <a:bodyPr wrap="square">
            <a:spAutoFit/>
          </a:bodyPr>
          <a:lstStyle/>
          <a:p>
            <a:pPr algn="ctr">
              <a:spcBef>
                <a:spcPct val="50000"/>
              </a:spcBef>
            </a:pPr>
            <a:r>
              <a:rPr lang="en-AU" altLang="ja-JP" sz="3200" dirty="0" smtClean="0">
                <a:solidFill>
                  <a:srgbClr val="0000FF"/>
                </a:solidFill>
                <a:latin typeface="Arial Black"/>
                <a:cs typeface="Arial Black"/>
              </a:rPr>
              <a:t>Goal 1 – Enhance </a:t>
            </a:r>
            <a:r>
              <a:rPr lang="en-AU" altLang="ja-JP" sz="3200" dirty="0">
                <a:solidFill>
                  <a:srgbClr val="0000FF"/>
                </a:solidFill>
                <a:latin typeface="Arial Black"/>
                <a:cs typeface="Arial Black"/>
              </a:rPr>
              <a:t>PAC’s capability as a learning </a:t>
            </a:r>
            <a:r>
              <a:rPr lang="en-AU" altLang="ja-JP" sz="3200" dirty="0" smtClean="0">
                <a:solidFill>
                  <a:srgbClr val="0000FF"/>
                </a:solidFill>
                <a:latin typeface="Arial Black"/>
                <a:cs typeface="Arial Black"/>
              </a:rPr>
              <a:t>organization</a:t>
            </a:r>
            <a:endParaRPr lang="en-AU" altLang="ja-JP" sz="3200" dirty="0">
              <a:solidFill>
                <a:srgbClr val="0000FF"/>
              </a:solidFill>
              <a:latin typeface="Arial Black"/>
              <a:cs typeface="Arial Black"/>
            </a:endParaRPr>
          </a:p>
        </p:txBody>
      </p:sp>
      <p:sp>
        <p:nvSpPr>
          <p:cNvPr id="7" name="Content Placeholder 6"/>
          <p:cNvSpPr>
            <a:spLocks noGrp="1"/>
          </p:cNvSpPr>
          <p:nvPr>
            <p:ph idx="1"/>
          </p:nvPr>
        </p:nvSpPr>
        <p:spPr>
          <a:xfrm>
            <a:off x="539552" y="2492896"/>
            <a:ext cx="8399378" cy="3384376"/>
          </a:xfrm>
        </p:spPr>
        <p:txBody>
          <a:bodyPr>
            <a:normAutofit/>
          </a:bodyPr>
          <a:lstStyle/>
          <a:p>
            <a:pPr marL="342900" lvl="1" indent="-342900">
              <a:buClr>
                <a:srgbClr val="FF0000"/>
              </a:buClr>
              <a:buFont typeface="Wingdings" pitchFamily="2" charset="2"/>
              <a:buChar char="q"/>
            </a:pPr>
            <a:r>
              <a:rPr lang="en-AU" altLang="ja-JP" b="1" dirty="0" smtClean="0">
                <a:solidFill>
                  <a:schemeClr val="tx1"/>
                </a:solidFill>
                <a:latin typeface="Arial" pitchFamily="34" charset="0"/>
                <a:cs typeface="Arial" pitchFamily="34" charset="0"/>
              </a:rPr>
              <a:t>Enhance governance</a:t>
            </a:r>
          </a:p>
          <a:p>
            <a:pPr marL="920750" lvl="3" indent="-342900">
              <a:buClr>
                <a:srgbClr val="FF0000"/>
              </a:buClr>
              <a:buFont typeface="Wingdings" charset="2"/>
              <a:buChar char="n"/>
            </a:pPr>
            <a:r>
              <a:rPr lang="en-AU" altLang="ja-JP" b="1" dirty="0">
                <a:solidFill>
                  <a:schemeClr val="tx1"/>
                </a:solidFill>
                <a:latin typeface="Arial" pitchFamily="34" charset="0"/>
                <a:cs typeface="Arial" pitchFamily="34" charset="0"/>
              </a:rPr>
              <a:t>Review current structure and </a:t>
            </a:r>
            <a:r>
              <a:rPr lang="en-AU" altLang="ja-JP" b="1" dirty="0" err="1">
                <a:solidFill>
                  <a:schemeClr val="tx1"/>
                </a:solidFill>
                <a:latin typeface="Arial" pitchFamily="34" charset="0"/>
                <a:cs typeface="Arial" pitchFamily="34" charset="0"/>
              </a:rPr>
              <a:t>ToR</a:t>
            </a:r>
            <a:r>
              <a:rPr lang="en-AU" altLang="ja-JP" b="1" dirty="0">
                <a:solidFill>
                  <a:schemeClr val="tx1"/>
                </a:solidFill>
                <a:latin typeface="Arial" pitchFamily="34" charset="0"/>
                <a:cs typeface="Arial" pitchFamily="34" charset="0"/>
              </a:rPr>
              <a:t> for </a:t>
            </a:r>
            <a:r>
              <a:rPr lang="en-AU" altLang="ja-JP" b="1" dirty="0" smtClean="0">
                <a:solidFill>
                  <a:schemeClr val="tx1"/>
                </a:solidFill>
                <a:latin typeface="Arial" pitchFamily="34" charset="0"/>
                <a:cs typeface="Arial" pitchFamily="34" charset="0"/>
              </a:rPr>
              <a:t>committees</a:t>
            </a:r>
          </a:p>
          <a:p>
            <a:pPr marL="920750" lvl="3" indent="-342900">
              <a:buClr>
                <a:srgbClr val="FF0000"/>
              </a:buClr>
              <a:buFont typeface="Wingdings" charset="2"/>
              <a:buChar char="n"/>
            </a:pPr>
            <a:r>
              <a:rPr lang="en-AU" altLang="ja-JP" b="1" dirty="0" smtClean="0">
                <a:solidFill>
                  <a:schemeClr val="tx1"/>
                </a:solidFill>
                <a:latin typeface="Arial" pitchFamily="34" charset="0"/>
                <a:cs typeface="Arial" pitchFamily="34" charset="0"/>
              </a:rPr>
              <a:t>Enhance </a:t>
            </a:r>
            <a:r>
              <a:rPr lang="en-AU" altLang="ja-JP" b="1" dirty="0">
                <a:solidFill>
                  <a:schemeClr val="tx1"/>
                </a:solidFill>
                <a:latin typeface="Arial" pitchFamily="34" charset="0"/>
                <a:cs typeface="Arial" pitchFamily="34" charset="0"/>
              </a:rPr>
              <a:t>the quality and efficiency of the PAC management system</a:t>
            </a:r>
          </a:p>
          <a:p>
            <a:pPr marL="0" lvl="1" indent="0">
              <a:buClr>
                <a:srgbClr val="FF0000"/>
              </a:buClr>
              <a:buNone/>
            </a:pPr>
            <a:endParaRPr lang="en-AU" altLang="ja-JP" b="1" dirty="0" smtClean="0">
              <a:solidFill>
                <a:schemeClr val="tx1"/>
              </a:solidFill>
              <a:latin typeface="Arial" pitchFamily="34" charset="0"/>
              <a:cs typeface="Arial" pitchFamily="34" charset="0"/>
            </a:endParaRPr>
          </a:p>
          <a:p>
            <a:pPr marL="342900" lvl="1" indent="-342900">
              <a:buClr>
                <a:srgbClr val="FF0000"/>
              </a:buClr>
              <a:buFont typeface="Wingdings" pitchFamily="2" charset="2"/>
              <a:buChar char="q"/>
            </a:pPr>
            <a:r>
              <a:rPr lang="en-AU" altLang="ja-JP" b="1" dirty="0">
                <a:solidFill>
                  <a:schemeClr val="tx1"/>
                </a:solidFill>
                <a:latin typeface="Arial" pitchFamily="34" charset="0"/>
                <a:cs typeface="Arial" pitchFamily="34" charset="0"/>
              </a:rPr>
              <a:t>Increase </a:t>
            </a:r>
            <a:r>
              <a:rPr lang="en-AU" altLang="ja-JP" b="1" dirty="0" smtClean="0">
                <a:solidFill>
                  <a:schemeClr val="tx1"/>
                </a:solidFill>
                <a:latin typeface="Arial" pitchFamily="34" charset="0"/>
                <a:cs typeface="Arial" pitchFamily="34" charset="0"/>
              </a:rPr>
              <a:t>participation</a:t>
            </a:r>
          </a:p>
          <a:p>
            <a:pPr marL="920750" lvl="3" indent="-342900">
              <a:buClr>
                <a:srgbClr val="FF0000"/>
              </a:buClr>
              <a:buFont typeface="Wingdings" charset="2"/>
              <a:buChar char="n"/>
            </a:pPr>
            <a:r>
              <a:rPr lang="en-AU" altLang="ja-JP" b="1" dirty="0" smtClean="0">
                <a:solidFill>
                  <a:schemeClr val="tx1"/>
                </a:solidFill>
                <a:latin typeface="Arial" pitchFamily="34" charset="0"/>
                <a:cs typeface="Arial" pitchFamily="34" charset="0"/>
              </a:rPr>
              <a:t>Facilitate equal/broader participation</a:t>
            </a:r>
          </a:p>
          <a:p>
            <a:pPr marL="920750" lvl="3" indent="-342900">
              <a:buClr>
                <a:srgbClr val="FF0000"/>
              </a:buClr>
              <a:buFont typeface="Wingdings" charset="2"/>
              <a:buChar char="n"/>
            </a:pPr>
            <a:r>
              <a:rPr lang="en-AU" altLang="ja-JP" b="1" dirty="0" smtClean="0">
                <a:solidFill>
                  <a:schemeClr val="tx1"/>
                </a:solidFill>
                <a:latin typeface="Arial" pitchFamily="34" charset="0"/>
                <a:cs typeface="Arial" pitchFamily="34" charset="0"/>
              </a:rPr>
              <a:t>Small </a:t>
            </a:r>
            <a:r>
              <a:rPr lang="en-AU" altLang="ja-JP" b="1" dirty="0">
                <a:solidFill>
                  <a:schemeClr val="tx1"/>
                </a:solidFill>
                <a:latin typeface="Arial" pitchFamily="34" charset="0"/>
                <a:cs typeface="Arial" pitchFamily="34" charset="0"/>
              </a:rPr>
              <a:t>group discussions or confidential member </a:t>
            </a:r>
            <a:r>
              <a:rPr lang="en-AU" altLang="ja-JP" b="1" dirty="0" smtClean="0">
                <a:solidFill>
                  <a:schemeClr val="tx1"/>
                </a:solidFill>
                <a:latin typeface="Arial" pitchFamily="34" charset="0"/>
                <a:cs typeface="Arial" pitchFamily="34" charset="0"/>
              </a:rPr>
              <a:t>sessions</a:t>
            </a:r>
          </a:p>
          <a:p>
            <a:pPr marL="920750" lvl="3" indent="-342900">
              <a:buClr>
                <a:srgbClr val="FF0000"/>
              </a:buClr>
              <a:buFont typeface="Wingdings" charset="2"/>
              <a:buChar char="n"/>
            </a:pPr>
            <a:r>
              <a:rPr lang="en-AU" altLang="ja-JP" b="1" dirty="0" smtClean="0">
                <a:solidFill>
                  <a:schemeClr val="tx1"/>
                </a:solidFill>
                <a:latin typeface="Arial" pitchFamily="34" charset="0"/>
                <a:cs typeface="Arial" pitchFamily="34" charset="0"/>
              </a:rPr>
              <a:t>Collective </a:t>
            </a:r>
            <a:r>
              <a:rPr lang="en-AU" altLang="ja-JP" b="1" dirty="0">
                <a:solidFill>
                  <a:schemeClr val="tx1"/>
                </a:solidFill>
                <a:latin typeface="Arial" pitchFamily="34" charset="0"/>
                <a:cs typeface="Arial" pitchFamily="34" charset="0"/>
              </a:rPr>
              <a:t>learning and experience </a:t>
            </a:r>
            <a:r>
              <a:rPr lang="en-AU" altLang="ja-JP" b="1" dirty="0" smtClean="0">
                <a:solidFill>
                  <a:schemeClr val="tx1"/>
                </a:solidFill>
                <a:latin typeface="Arial" pitchFamily="34" charset="0"/>
                <a:cs typeface="Arial" pitchFamily="34" charset="0"/>
              </a:rPr>
              <a:t>sharing</a:t>
            </a:r>
            <a:endParaRPr lang="en-AU" altLang="ja-JP" b="1" dirty="0">
              <a:solidFill>
                <a:schemeClr val="tx1"/>
              </a:solidFill>
              <a:latin typeface="Arial" pitchFamily="34" charset="0"/>
              <a:cs typeface="Arial" pitchFamily="34" charset="0"/>
            </a:endParaRPr>
          </a:p>
        </p:txBody>
      </p:sp>
      <p:sp>
        <p:nvSpPr>
          <p:cNvPr id="2" name="スライド番号プレースホルダー 1"/>
          <p:cNvSpPr>
            <a:spLocks noGrp="1"/>
          </p:cNvSpPr>
          <p:nvPr>
            <p:ph type="sldNum" sz="quarter" idx="12"/>
          </p:nvPr>
        </p:nvSpPr>
        <p:spPr/>
        <p:txBody>
          <a:bodyPr/>
          <a:lstStyle/>
          <a:p>
            <a:fld id="{7F5CE407-6216-4202-80E4-A30DC2F709B2}" type="slidenum">
              <a:rPr lang="en-US" smtClean="0"/>
              <a:pPr/>
              <a:t>15</a:t>
            </a:fld>
            <a:endParaRPr lang="en-US"/>
          </a:p>
        </p:txBody>
      </p:sp>
    </p:spTree>
    <p:extLst>
      <p:ext uri="{BB962C8B-B14F-4D97-AF65-F5344CB8AC3E}">
        <p14:creationId xmlns:p14="http://schemas.microsoft.com/office/powerpoint/2010/main" xmlns="" val="1203348302"/>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rcRect/>
          <a:stretch>
            <a:fillRect/>
          </a:stretch>
        </p:blipFill>
        <p:spPr bwMode="auto">
          <a:xfrm>
            <a:off x="107504" y="116632"/>
            <a:ext cx="1979613" cy="1168400"/>
          </a:xfrm>
          <a:prstGeom prst="rect">
            <a:avLst/>
          </a:prstGeom>
          <a:noFill/>
          <a:ln w="9525">
            <a:noFill/>
            <a:miter lim="800000"/>
            <a:headEnd/>
            <a:tailEnd/>
          </a:ln>
        </p:spPr>
      </p:pic>
      <p:sp>
        <p:nvSpPr>
          <p:cNvPr id="5" name="Text Box 5"/>
          <p:cNvSpPr txBox="1">
            <a:spLocks noChangeArrowheads="1"/>
          </p:cNvSpPr>
          <p:nvPr/>
        </p:nvSpPr>
        <p:spPr bwMode="auto">
          <a:xfrm>
            <a:off x="2051720" y="476671"/>
            <a:ext cx="6912768" cy="1077218"/>
          </a:xfrm>
          <a:prstGeom prst="rect">
            <a:avLst/>
          </a:prstGeom>
          <a:noFill/>
          <a:ln w="9525">
            <a:noFill/>
            <a:miter lim="800000"/>
            <a:headEnd/>
            <a:tailEnd/>
          </a:ln>
        </p:spPr>
        <p:txBody>
          <a:bodyPr wrap="square">
            <a:spAutoFit/>
          </a:bodyPr>
          <a:lstStyle/>
          <a:p>
            <a:pPr algn="ctr">
              <a:spcBef>
                <a:spcPct val="50000"/>
              </a:spcBef>
            </a:pPr>
            <a:r>
              <a:rPr lang="en-AU" altLang="ja-JP" sz="3200" dirty="0" smtClean="0">
                <a:solidFill>
                  <a:srgbClr val="0000FF"/>
                </a:solidFill>
                <a:latin typeface="Arial Black"/>
                <a:cs typeface="Arial Black"/>
              </a:rPr>
              <a:t>Goal 2 –Enhance technical competence</a:t>
            </a:r>
            <a:endParaRPr lang="ja-JP" altLang="en-US" sz="3200" b="1" dirty="0">
              <a:solidFill>
                <a:srgbClr val="0000FF"/>
              </a:solidFill>
              <a:latin typeface="Arial Black"/>
              <a:cs typeface="Arial Black"/>
            </a:endParaRPr>
          </a:p>
        </p:txBody>
      </p:sp>
      <p:sp>
        <p:nvSpPr>
          <p:cNvPr id="7" name="Content Placeholder 6"/>
          <p:cNvSpPr>
            <a:spLocks noGrp="1"/>
          </p:cNvSpPr>
          <p:nvPr>
            <p:ph idx="1"/>
          </p:nvPr>
        </p:nvSpPr>
        <p:spPr>
          <a:xfrm>
            <a:off x="1331640" y="2276872"/>
            <a:ext cx="7560840" cy="4343400"/>
          </a:xfrm>
        </p:spPr>
        <p:txBody>
          <a:bodyPr>
            <a:normAutofit lnSpcReduction="10000"/>
          </a:bodyPr>
          <a:lstStyle/>
          <a:p>
            <a:pPr marL="342900" lvl="1" indent="-342900">
              <a:buClr>
                <a:srgbClr val="FF0000"/>
              </a:buClr>
              <a:buFont typeface="Wingdings" pitchFamily="2" charset="2"/>
              <a:buChar char="q"/>
            </a:pPr>
            <a:r>
              <a:rPr lang="en-AU" b="1" dirty="0">
                <a:solidFill>
                  <a:srgbClr val="000000"/>
                </a:solidFill>
                <a:latin typeface="Arial" pitchFamily="34" charset="0"/>
                <a:cs typeface="Arial" pitchFamily="34" charset="0"/>
              </a:rPr>
              <a:t>Develop </a:t>
            </a:r>
            <a:r>
              <a:rPr lang="en-AU" b="1" dirty="0" smtClean="0">
                <a:solidFill>
                  <a:srgbClr val="000000"/>
                </a:solidFill>
                <a:latin typeface="Arial" pitchFamily="34" charset="0"/>
                <a:cs typeface="Arial" pitchFamily="34" charset="0"/>
              </a:rPr>
              <a:t>&amp; implement competence-based training</a:t>
            </a:r>
            <a:endParaRPr lang="en-AU" b="1" dirty="0">
              <a:solidFill>
                <a:srgbClr val="000000"/>
              </a:solidFill>
              <a:latin typeface="Arial" pitchFamily="34" charset="0"/>
              <a:cs typeface="Arial" pitchFamily="34" charset="0"/>
            </a:endParaRPr>
          </a:p>
          <a:p>
            <a:pPr marL="812800" lvl="2" indent="-368300">
              <a:buClr>
                <a:srgbClr val="FF0000"/>
              </a:buClr>
              <a:buFont typeface="Wingdings" charset="2"/>
              <a:buChar char="n"/>
            </a:pPr>
            <a:r>
              <a:rPr lang="en-AU" b="1" dirty="0">
                <a:solidFill>
                  <a:srgbClr val="000000"/>
                </a:solidFill>
                <a:latin typeface="Arial" pitchFamily="34" charset="0"/>
                <a:cs typeface="Arial" pitchFamily="34" charset="0"/>
              </a:rPr>
              <a:t>Increase the rigor </a:t>
            </a:r>
            <a:r>
              <a:rPr lang="en-AU" b="1" dirty="0" smtClean="0">
                <a:solidFill>
                  <a:srgbClr val="000000"/>
                </a:solidFill>
                <a:latin typeface="Arial" pitchFamily="34" charset="0"/>
                <a:cs typeface="Arial" pitchFamily="34" charset="0"/>
              </a:rPr>
              <a:t>of training for assessors &amp; Peer Evaluators</a:t>
            </a:r>
          </a:p>
          <a:p>
            <a:pPr marL="812800" lvl="2" indent="-368300">
              <a:spcBef>
                <a:spcPts val="600"/>
              </a:spcBef>
              <a:buClr>
                <a:srgbClr val="FF0000"/>
              </a:buClr>
              <a:buFont typeface="Wingdings" charset="2"/>
              <a:buChar char="n"/>
            </a:pPr>
            <a:r>
              <a:rPr lang="en-AU" b="1" dirty="0" smtClean="0">
                <a:solidFill>
                  <a:srgbClr val="000000"/>
                </a:solidFill>
                <a:latin typeface="Arial" pitchFamily="34" charset="0"/>
                <a:cs typeface="Arial" pitchFamily="34" charset="0"/>
              </a:rPr>
              <a:t>Increase workshop-style sessions at Plenary</a:t>
            </a:r>
          </a:p>
          <a:p>
            <a:pPr marL="812800" lvl="2" indent="-368300">
              <a:spcBef>
                <a:spcPts val="600"/>
              </a:spcBef>
              <a:buClr>
                <a:srgbClr val="FF0000"/>
              </a:buClr>
              <a:buFont typeface="Wingdings" charset="2"/>
              <a:buChar char="n"/>
            </a:pPr>
            <a:endParaRPr lang="en-AU" b="1" dirty="0">
              <a:solidFill>
                <a:srgbClr val="000000"/>
              </a:solidFill>
              <a:latin typeface="Arial" pitchFamily="34" charset="0"/>
              <a:cs typeface="Arial" pitchFamily="34" charset="0"/>
            </a:endParaRPr>
          </a:p>
          <a:p>
            <a:pPr marL="342900" lvl="1" indent="-342900">
              <a:spcBef>
                <a:spcPts val="600"/>
              </a:spcBef>
              <a:buClr>
                <a:srgbClr val="FF0000"/>
              </a:buClr>
              <a:buFont typeface="Wingdings" pitchFamily="2" charset="2"/>
              <a:buChar char="q"/>
            </a:pPr>
            <a:r>
              <a:rPr lang="en-AU" b="1" dirty="0">
                <a:solidFill>
                  <a:srgbClr val="000000"/>
                </a:solidFill>
                <a:latin typeface="Arial" pitchFamily="34" charset="0"/>
                <a:cs typeface="Arial" pitchFamily="34" charset="0"/>
              </a:rPr>
              <a:t>Expand </a:t>
            </a:r>
            <a:r>
              <a:rPr lang="en-AU" b="1" dirty="0" smtClean="0">
                <a:solidFill>
                  <a:srgbClr val="000000"/>
                </a:solidFill>
                <a:latin typeface="Arial" pitchFamily="34" charset="0"/>
                <a:cs typeface="Arial" pitchFamily="34" charset="0"/>
              </a:rPr>
              <a:t>PE capacities and activities</a:t>
            </a:r>
            <a:endParaRPr lang="en-AU" b="1" dirty="0">
              <a:solidFill>
                <a:srgbClr val="000000"/>
              </a:solidFill>
              <a:latin typeface="Arial" pitchFamily="34" charset="0"/>
              <a:cs typeface="Arial" pitchFamily="34" charset="0"/>
            </a:endParaRPr>
          </a:p>
          <a:p>
            <a:pPr marL="812800" lvl="2" indent="-368300">
              <a:spcBef>
                <a:spcPts val="600"/>
              </a:spcBef>
              <a:buClr>
                <a:srgbClr val="FF0000"/>
              </a:buClr>
              <a:buFont typeface="Wingdings" charset="2"/>
              <a:buChar char="n"/>
            </a:pPr>
            <a:r>
              <a:rPr lang="en-AU" b="1" dirty="0" smtClean="0">
                <a:solidFill>
                  <a:srgbClr val="000000"/>
                </a:solidFill>
                <a:latin typeface="Arial" pitchFamily="34" charset="0"/>
                <a:cs typeface="Arial" pitchFamily="34" charset="0"/>
              </a:rPr>
              <a:t>Enhanced criteria for Peer Evaluators</a:t>
            </a:r>
          </a:p>
          <a:p>
            <a:pPr marL="812800" lvl="2" indent="-368300">
              <a:spcBef>
                <a:spcPts val="600"/>
              </a:spcBef>
              <a:buClr>
                <a:srgbClr val="FF0000"/>
              </a:buClr>
              <a:buFont typeface="Wingdings" charset="2"/>
              <a:buChar char="n"/>
            </a:pPr>
            <a:r>
              <a:rPr lang="en-AU" b="1" dirty="0" smtClean="0">
                <a:solidFill>
                  <a:srgbClr val="000000"/>
                </a:solidFill>
                <a:latin typeface="Arial" pitchFamily="34" charset="0"/>
                <a:cs typeface="Arial" pitchFamily="34" charset="0"/>
              </a:rPr>
              <a:t>Sector specific strategies (</a:t>
            </a:r>
            <a:r>
              <a:rPr lang="en-AU" b="1" dirty="0" err="1" smtClean="0">
                <a:solidFill>
                  <a:srgbClr val="000000"/>
                </a:solidFill>
                <a:latin typeface="Arial" pitchFamily="34" charset="0"/>
                <a:cs typeface="Arial" pitchFamily="34" charset="0"/>
              </a:rPr>
              <a:t>eg</a:t>
            </a:r>
            <a:r>
              <a:rPr lang="en-AU" b="1" dirty="0" smtClean="0">
                <a:solidFill>
                  <a:srgbClr val="000000"/>
                </a:solidFill>
                <a:latin typeface="Arial" pitchFamily="34" charset="0"/>
                <a:cs typeface="Arial" pitchFamily="34" charset="0"/>
              </a:rPr>
              <a:t> GLOBAL.G.A.P)</a:t>
            </a:r>
          </a:p>
          <a:p>
            <a:pPr marL="812800" lvl="2" indent="-368300">
              <a:spcBef>
                <a:spcPts val="600"/>
              </a:spcBef>
              <a:buClr>
                <a:srgbClr val="FF0000"/>
              </a:buClr>
              <a:buFont typeface="Wingdings" charset="2"/>
              <a:buChar char="n"/>
            </a:pPr>
            <a:endParaRPr lang="en-AU" b="1" dirty="0">
              <a:solidFill>
                <a:srgbClr val="000000"/>
              </a:solidFill>
              <a:latin typeface="Arial" pitchFamily="34" charset="0"/>
              <a:cs typeface="Arial" pitchFamily="34" charset="0"/>
            </a:endParaRPr>
          </a:p>
          <a:p>
            <a:pPr marL="542925" indent="-542925">
              <a:spcBef>
                <a:spcPts val="600"/>
              </a:spcBef>
              <a:buClr>
                <a:srgbClr val="FF0000"/>
              </a:buClr>
              <a:buFont typeface="Wingdings" pitchFamily="2" charset="2"/>
              <a:buChar char="q"/>
            </a:pPr>
            <a:r>
              <a:rPr lang="en-AU" sz="2200" b="1" dirty="0" smtClean="0">
                <a:solidFill>
                  <a:srgbClr val="000000"/>
                </a:solidFill>
                <a:latin typeface="Arial" pitchFamily="34" charset="0"/>
                <a:cs typeface="Arial" pitchFamily="34" charset="0"/>
              </a:rPr>
              <a:t>Seek funding support for Capacity Building</a:t>
            </a:r>
            <a:endParaRPr lang="en-AU" sz="2200" b="1" dirty="0">
              <a:solidFill>
                <a:srgbClr val="000000"/>
              </a:solidFill>
              <a:latin typeface="Arial" pitchFamily="34" charset="0"/>
              <a:cs typeface="Arial" pitchFamily="34" charset="0"/>
            </a:endParaRPr>
          </a:p>
          <a:p>
            <a:pPr marL="800100" lvl="1" indent="-342900">
              <a:spcBef>
                <a:spcPts val="600"/>
              </a:spcBef>
              <a:buClr>
                <a:srgbClr val="FF0000"/>
              </a:buClr>
              <a:buFont typeface="Wingdings" charset="2"/>
              <a:buChar char="n"/>
            </a:pPr>
            <a:r>
              <a:rPr lang="en-AU" sz="2000" b="1" dirty="0" err="1" smtClean="0">
                <a:solidFill>
                  <a:srgbClr val="000000"/>
                </a:solidFill>
                <a:latin typeface="Arial" pitchFamily="34" charset="0"/>
                <a:cs typeface="Arial" pitchFamily="34" charset="0"/>
              </a:rPr>
              <a:t>Eg</a:t>
            </a:r>
            <a:r>
              <a:rPr lang="en-AU" sz="2000" b="1" dirty="0" smtClean="0">
                <a:solidFill>
                  <a:srgbClr val="000000"/>
                </a:solidFill>
                <a:latin typeface="Arial" pitchFamily="34" charset="0"/>
                <a:cs typeface="Arial" pitchFamily="34" charset="0"/>
              </a:rPr>
              <a:t>. APEC and PTB</a:t>
            </a:r>
            <a:endParaRPr lang="en-AU" sz="2000" b="1" dirty="0">
              <a:solidFill>
                <a:srgbClr val="000000"/>
              </a:solidFill>
              <a:latin typeface="Arial" pitchFamily="34" charset="0"/>
              <a:cs typeface="Arial" pitchFamily="34" charset="0"/>
            </a:endParaRPr>
          </a:p>
          <a:p>
            <a:pPr marL="800100" lvl="1" indent="-342900">
              <a:spcBef>
                <a:spcPts val="600"/>
              </a:spcBef>
              <a:buClr>
                <a:srgbClr val="FF0000"/>
              </a:buClr>
              <a:buFont typeface="Wingdings" charset="2"/>
              <a:buChar char="n"/>
            </a:pPr>
            <a:r>
              <a:rPr lang="en-AU" sz="2000" b="1" dirty="0" smtClean="0">
                <a:solidFill>
                  <a:srgbClr val="000000"/>
                </a:solidFill>
                <a:latin typeface="Arial" pitchFamily="34" charset="0"/>
                <a:cs typeface="Arial" pitchFamily="34" charset="0"/>
              </a:rPr>
              <a:t>Investigate other funding opportunities</a:t>
            </a:r>
            <a:endParaRPr lang="en-AU" sz="2000" b="1" dirty="0">
              <a:solidFill>
                <a:srgbClr val="000000"/>
              </a:solidFill>
              <a:latin typeface="Arial" pitchFamily="34" charset="0"/>
              <a:cs typeface="Arial" pitchFamily="34" charset="0"/>
            </a:endParaRPr>
          </a:p>
        </p:txBody>
      </p:sp>
      <p:sp>
        <p:nvSpPr>
          <p:cNvPr id="2" name="スライド番号プレースホルダー 1"/>
          <p:cNvSpPr>
            <a:spLocks noGrp="1"/>
          </p:cNvSpPr>
          <p:nvPr>
            <p:ph type="sldNum" sz="quarter" idx="12"/>
          </p:nvPr>
        </p:nvSpPr>
        <p:spPr/>
        <p:txBody>
          <a:bodyPr/>
          <a:lstStyle/>
          <a:p>
            <a:fld id="{7F5CE407-6216-4202-80E4-A30DC2F709B2}" type="slidenum">
              <a:rPr lang="en-US" smtClean="0"/>
              <a:pPr/>
              <a:t>16</a:t>
            </a:fld>
            <a:endParaRPr lang="en-US"/>
          </a:p>
        </p:txBody>
      </p:sp>
    </p:spTree>
    <p:extLst>
      <p:ext uri="{BB962C8B-B14F-4D97-AF65-F5344CB8AC3E}">
        <p14:creationId xmlns:p14="http://schemas.microsoft.com/office/powerpoint/2010/main" xmlns="" val="2029096699"/>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rcRect/>
          <a:stretch>
            <a:fillRect/>
          </a:stretch>
        </p:blipFill>
        <p:spPr bwMode="auto">
          <a:xfrm>
            <a:off x="107504" y="116632"/>
            <a:ext cx="1979613" cy="1168400"/>
          </a:xfrm>
          <a:prstGeom prst="rect">
            <a:avLst/>
          </a:prstGeom>
          <a:noFill/>
          <a:ln w="9525">
            <a:noFill/>
            <a:miter lim="800000"/>
            <a:headEnd/>
            <a:tailEnd/>
          </a:ln>
        </p:spPr>
      </p:pic>
      <p:sp>
        <p:nvSpPr>
          <p:cNvPr id="5" name="Text Box 5"/>
          <p:cNvSpPr txBox="1">
            <a:spLocks noChangeArrowheads="1"/>
          </p:cNvSpPr>
          <p:nvPr/>
        </p:nvSpPr>
        <p:spPr bwMode="auto">
          <a:xfrm>
            <a:off x="1331640" y="404664"/>
            <a:ext cx="7272808" cy="1077218"/>
          </a:xfrm>
          <a:prstGeom prst="rect">
            <a:avLst/>
          </a:prstGeom>
          <a:noFill/>
          <a:ln w="9525">
            <a:noFill/>
            <a:miter lim="800000"/>
            <a:headEnd/>
            <a:tailEnd/>
          </a:ln>
        </p:spPr>
        <p:txBody>
          <a:bodyPr wrap="square">
            <a:spAutoFit/>
          </a:bodyPr>
          <a:lstStyle/>
          <a:p>
            <a:pPr algn="ctr">
              <a:spcBef>
                <a:spcPct val="50000"/>
              </a:spcBef>
            </a:pPr>
            <a:r>
              <a:rPr lang="en-AU" altLang="ja-JP" sz="3200" dirty="0" smtClean="0">
                <a:solidFill>
                  <a:srgbClr val="0000FF"/>
                </a:solidFill>
                <a:latin typeface="Arial Black"/>
                <a:cs typeface="Arial Black"/>
              </a:rPr>
              <a:t>Goal 3 – Strengthen PAC’s identity</a:t>
            </a:r>
            <a:endParaRPr lang="ja-JP" altLang="en-US" sz="3200" b="1" dirty="0">
              <a:solidFill>
                <a:srgbClr val="0000FF"/>
              </a:solidFill>
              <a:latin typeface="Arial Black"/>
              <a:cs typeface="Arial Black"/>
            </a:endParaRPr>
          </a:p>
        </p:txBody>
      </p:sp>
      <p:sp>
        <p:nvSpPr>
          <p:cNvPr id="6" name="Content Placeholder 6"/>
          <p:cNvSpPr>
            <a:spLocks noGrp="1"/>
          </p:cNvSpPr>
          <p:nvPr>
            <p:ph idx="1"/>
          </p:nvPr>
        </p:nvSpPr>
        <p:spPr>
          <a:xfrm>
            <a:off x="834315" y="1988840"/>
            <a:ext cx="8280920" cy="4680520"/>
          </a:xfrm>
        </p:spPr>
        <p:txBody>
          <a:bodyPr>
            <a:normAutofit fontScale="92500" lnSpcReduction="10000"/>
          </a:bodyPr>
          <a:lstStyle/>
          <a:p>
            <a:pPr marL="439738" lvl="1" indent="-439738">
              <a:buClr>
                <a:srgbClr val="FF0000"/>
              </a:buClr>
              <a:buFont typeface="Wingdings" pitchFamily="2" charset="2"/>
              <a:buChar char="q"/>
            </a:pPr>
            <a:r>
              <a:rPr lang="en-AU" sz="2400" b="1" dirty="0" smtClean="0">
                <a:solidFill>
                  <a:srgbClr val="000000"/>
                </a:solidFill>
                <a:latin typeface="Arial" pitchFamily="34" charset="0"/>
                <a:cs typeface="Arial" pitchFamily="34" charset="0"/>
              </a:rPr>
              <a:t>Develop PAC positions to IAF</a:t>
            </a:r>
          </a:p>
          <a:p>
            <a:pPr marL="920750" lvl="3" indent="-298450">
              <a:buClr>
                <a:srgbClr val="FF0000"/>
              </a:buClr>
              <a:buFont typeface="Wingdings" charset="2"/>
              <a:buChar char="n"/>
            </a:pPr>
            <a:r>
              <a:rPr lang="en-AU" sz="2200" b="1" dirty="0" smtClean="0">
                <a:solidFill>
                  <a:srgbClr val="000000"/>
                </a:solidFill>
                <a:latin typeface="Arial" pitchFamily="34" charset="0"/>
                <a:cs typeface="Arial" pitchFamily="34" charset="0"/>
              </a:rPr>
              <a:t>Increase Inter-member communications &amp; consensus</a:t>
            </a:r>
          </a:p>
          <a:p>
            <a:pPr marL="439738" lvl="1" indent="-439738">
              <a:buClr>
                <a:srgbClr val="FF0000"/>
              </a:buClr>
              <a:buFont typeface="Wingdings" pitchFamily="2" charset="2"/>
              <a:buChar char="q"/>
            </a:pPr>
            <a:r>
              <a:rPr lang="en-AU" sz="2400" b="1" dirty="0">
                <a:solidFill>
                  <a:srgbClr val="000000"/>
                </a:solidFill>
                <a:latin typeface="Arial" pitchFamily="34" charset="0"/>
                <a:cs typeface="Arial" pitchFamily="34" charset="0"/>
              </a:rPr>
              <a:t>Strengthen our cooperative arrangements with strategic </a:t>
            </a:r>
            <a:r>
              <a:rPr lang="en-AU" sz="2400" b="1" dirty="0" smtClean="0">
                <a:solidFill>
                  <a:srgbClr val="000000"/>
                </a:solidFill>
                <a:latin typeface="Arial" pitchFamily="34" charset="0"/>
                <a:cs typeface="Arial" pitchFamily="34" charset="0"/>
              </a:rPr>
              <a:t>partners</a:t>
            </a:r>
          </a:p>
          <a:p>
            <a:pPr marL="920750" lvl="3" indent="-298450">
              <a:buClr>
                <a:srgbClr val="FF0000"/>
              </a:buClr>
              <a:buFont typeface="Wingdings" charset="2"/>
              <a:buChar char="n"/>
            </a:pPr>
            <a:r>
              <a:rPr lang="en-AU" altLang="ja-JP" sz="2200" b="1" dirty="0">
                <a:solidFill>
                  <a:srgbClr val="000000"/>
                </a:solidFill>
                <a:latin typeface="Arial" pitchFamily="34" charset="0"/>
                <a:cs typeface="Arial" pitchFamily="34" charset="0"/>
              </a:rPr>
              <a:t>Develop common documents &amp; joint activities</a:t>
            </a:r>
          </a:p>
          <a:p>
            <a:pPr marL="920750" lvl="3" indent="-298450">
              <a:buClr>
                <a:srgbClr val="FF0000"/>
              </a:buClr>
              <a:buFont typeface="Wingdings" charset="2"/>
              <a:buChar char="n"/>
            </a:pPr>
            <a:r>
              <a:rPr lang="en-AU" altLang="ja-JP" sz="2200" b="1" dirty="0">
                <a:solidFill>
                  <a:srgbClr val="000000"/>
                </a:solidFill>
                <a:latin typeface="Arial" pitchFamily="34" charset="0"/>
                <a:cs typeface="Arial" pitchFamily="34" charset="0"/>
              </a:rPr>
              <a:t>Strengthen PAC relationship with other </a:t>
            </a:r>
            <a:r>
              <a:rPr lang="en-AU" altLang="ja-JP" sz="2200" b="1" dirty="0" smtClean="0">
                <a:solidFill>
                  <a:srgbClr val="000000"/>
                </a:solidFill>
                <a:latin typeface="Arial" pitchFamily="34" charset="0"/>
                <a:cs typeface="Arial" pitchFamily="34" charset="0"/>
              </a:rPr>
              <a:t>SRBs</a:t>
            </a:r>
            <a:endParaRPr lang="en-AU" sz="2200" b="1" dirty="0" smtClean="0">
              <a:solidFill>
                <a:srgbClr val="000000"/>
              </a:solidFill>
              <a:latin typeface="Arial" pitchFamily="34" charset="0"/>
              <a:cs typeface="Arial" pitchFamily="34" charset="0"/>
            </a:endParaRPr>
          </a:p>
          <a:p>
            <a:pPr marL="439738" lvl="1" indent="-439738">
              <a:buClr>
                <a:srgbClr val="FF0000"/>
              </a:buClr>
              <a:buFont typeface="Wingdings" pitchFamily="2" charset="2"/>
              <a:buChar char="q"/>
            </a:pPr>
            <a:r>
              <a:rPr lang="en-AU" altLang="ja-JP" sz="2400" b="1" dirty="0" smtClean="0">
                <a:solidFill>
                  <a:srgbClr val="000000"/>
                </a:solidFill>
                <a:latin typeface="Arial" pitchFamily="34" charset="0"/>
                <a:cs typeface="Arial" pitchFamily="34" charset="0"/>
              </a:rPr>
              <a:t>Greater </a:t>
            </a:r>
            <a:r>
              <a:rPr lang="en-AU" altLang="ja-JP" sz="2400" b="1" dirty="0">
                <a:solidFill>
                  <a:srgbClr val="000000"/>
                </a:solidFill>
                <a:latin typeface="Arial" pitchFamily="34" charset="0"/>
                <a:cs typeface="Arial" pitchFamily="34" charset="0"/>
              </a:rPr>
              <a:t>recognition by </a:t>
            </a:r>
            <a:r>
              <a:rPr lang="en-AU" altLang="ja-JP" sz="2400" b="1" dirty="0" smtClean="0">
                <a:solidFill>
                  <a:srgbClr val="000000"/>
                </a:solidFill>
                <a:latin typeface="Arial" pitchFamily="34" charset="0"/>
                <a:cs typeface="Arial" pitchFamily="34" charset="0"/>
              </a:rPr>
              <a:t>APEC</a:t>
            </a:r>
            <a:endParaRPr lang="en-AU" sz="2400" b="1" dirty="0" smtClean="0">
              <a:solidFill>
                <a:srgbClr val="000000"/>
              </a:solidFill>
              <a:latin typeface="Arial" pitchFamily="34" charset="0"/>
              <a:cs typeface="Arial" pitchFamily="34" charset="0"/>
            </a:endParaRPr>
          </a:p>
          <a:p>
            <a:pPr lvl="2" indent="-346075">
              <a:buClr>
                <a:srgbClr val="FF0000"/>
              </a:buClr>
              <a:buFont typeface="Wingdings" charset="2"/>
              <a:buChar char="n"/>
            </a:pPr>
            <a:r>
              <a:rPr lang="en-AU" sz="2200" b="1" dirty="0" smtClean="0">
                <a:solidFill>
                  <a:srgbClr val="000000"/>
                </a:solidFill>
                <a:latin typeface="Arial" pitchFamily="34" charset="0"/>
                <a:cs typeface="Arial" pitchFamily="34" charset="0"/>
              </a:rPr>
              <a:t>Communicate </a:t>
            </a:r>
            <a:r>
              <a:rPr lang="en-AU" sz="2200" b="1" dirty="0">
                <a:solidFill>
                  <a:srgbClr val="000000"/>
                </a:solidFill>
                <a:latin typeface="Arial" pitchFamily="34" charset="0"/>
                <a:cs typeface="Arial" pitchFamily="34" charset="0"/>
              </a:rPr>
              <a:t>PAC’s activities associated with the APEC Bogor </a:t>
            </a:r>
            <a:r>
              <a:rPr lang="en-AU" sz="2200" b="1" dirty="0" smtClean="0">
                <a:solidFill>
                  <a:srgbClr val="000000"/>
                </a:solidFill>
                <a:latin typeface="Arial" pitchFamily="34" charset="0"/>
                <a:cs typeface="Arial" pitchFamily="34" charset="0"/>
              </a:rPr>
              <a:t>Goals</a:t>
            </a:r>
          </a:p>
          <a:p>
            <a:pPr lvl="2" indent="-346075">
              <a:buClr>
                <a:srgbClr val="FF0000"/>
              </a:buClr>
              <a:buFont typeface="Wingdings" charset="2"/>
              <a:buChar char="n"/>
            </a:pPr>
            <a:r>
              <a:rPr lang="en-AU" sz="2200" b="1" dirty="0" smtClean="0">
                <a:solidFill>
                  <a:srgbClr val="000000"/>
                </a:solidFill>
                <a:latin typeface="Arial" pitchFamily="34" charset="0"/>
                <a:cs typeface="Arial" pitchFamily="34" charset="0"/>
              </a:rPr>
              <a:t>Raise PAC Profile</a:t>
            </a:r>
            <a:endParaRPr lang="en-AU" sz="2200" b="1" dirty="0">
              <a:solidFill>
                <a:srgbClr val="000000"/>
              </a:solidFill>
              <a:latin typeface="Arial" pitchFamily="34" charset="0"/>
              <a:cs typeface="Arial" pitchFamily="34" charset="0"/>
            </a:endParaRPr>
          </a:p>
          <a:p>
            <a:pPr marL="439738" indent="-439738">
              <a:spcBef>
                <a:spcPts val="600"/>
              </a:spcBef>
              <a:buClr>
                <a:srgbClr val="FF0000"/>
              </a:buClr>
              <a:buFont typeface="Wingdings" pitchFamily="2" charset="2"/>
              <a:buChar char="q"/>
            </a:pPr>
            <a:r>
              <a:rPr lang="en-AU" b="1" dirty="0" smtClean="0">
                <a:solidFill>
                  <a:srgbClr val="000000"/>
                </a:solidFill>
                <a:latin typeface="Arial" pitchFamily="34" charset="0"/>
                <a:cs typeface="Arial" pitchFamily="34" charset="0"/>
              </a:rPr>
              <a:t>Develop and enhance communication tools</a:t>
            </a:r>
            <a:endParaRPr lang="en-AU" b="1" dirty="0">
              <a:solidFill>
                <a:srgbClr val="000000"/>
              </a:solidFill>
              <a:latin typeface="Arial" pitchFamily="34" charset="0"/>
              <a:cs typeface="Arial" pitchFamily="34" charset="0"/>
            </a:endParaRPr>
          </a:p>
          <a:p>
            <a:pPr marL="800100" lvl="1" indent="-177800">
              <a:buClr>
                <a:srgbClr val="FF0000"/>
              </a:buClr>
              <a:buFont typeface="Wingdings" charset="2"/>
              <a:buChar char="n"/>
            </a:pPr>
            <a:r>
              <a:rPr lang="en-AU" b="1" dirty="0" smtClean="0">
                <a:solidFill>
                  <a:srgbClr val="000000"/>
                </a:solidFill>
                <a:latin typeface="Arial" pitchFamily="34" charset="0"/>
                <a:cs typeface="Arial" pitchFamily="34" charset="0"/>
              </a:rPr>
              <a:t> Make </a:t>
            </a:r>
            <a:r>
              <a:rPr lang="en-AU" b="1" dirty="0">
                <a:solidFill>
                  <a:srgbClr val="000000"/>
                </a:solidFill>
                <a:latin typeface="Arial" pitchFamily="34" charset="0"/>
                <a:cs typeface="Arial" pitchFamily="34" charset="0"/>
              </a:rPr>
              <a:t>clear mechanism for a learning </a:t>
            </a:r>
            <a:r>
              <a:rPr lang="en-AU" b="1" dirty="0" smtClean="0">
                <a:solidFill>
                  <a:srgbClr val="000000"/>
                </a:solidFill>
                <a:latin typeface="Arial" pitchFamily="34" charset="0"/>
                <a:cs typeface="Arial" pitchFamily="34" charset="0"/>
              </a:rPr>
              <a:t>organization</a:t>
            </a:r>
          </a:p>
          <a:p>
            <a:pPr marL="800100" lvl="1" indent="-177800">
              <a:buClr>
                <a:srgbClr val="FF0000"/>
              </a:buClr>
              <a:buFont typeface="Wingdings" charset="2"/>
              <a:buChar char="n"/>
            </a:pPr>
            <a:r>
              <a:rPr lang="en-AU" b="1" dirty="0" smtClean="0">
                <a:solidFill>
                  <a:srgbClr val="000000"/>
                </a:solidFill>
                <a:latin typeface="Arial" pitchFamily="34" charset="0"/>
                <a:cs typeface="Arial" pitchFamily="34" charset="0"/>
              </a:rPr>
              <a:t> Develop </a:t>
            </a:r>
            <a:r>
              <a:rPr lang="en-AU" b="1" dirty="0">
                <a:solidFill>
                  <a:srgbClr val="000000"/>
                </a:solidFill>
                <a:latin typeface="Arial" pitchFamily="34" charset="0"/>
                <a:cs typeface="Arial" pitchFamily="34" charset="0"/>
              </a:rPr>
              <a:t>tools for External communication</a:t>
            </a:r>
          </a:p>
          <a:p>
            <a:pPr marL="800100" lvl="1" indent="-342900">
              <a:buClr>
                <a:srgbClr val="FF0000"/>
              </a:buClr>
              <a:buFont typeface="Wingdings" pitchFamily="2" charset="2"/>
              <a:buChar char="§"/>
            </a:pPr>
            <a:endParaRPr lang="en-AU" dirty="0"/>
          </a:p>
        </p:txBody>
      </p:sp>
      <p:sp>
        <p:nvSpPr>
          <p:cNvPr id="2" name="スライド番号プレースホルダー 1"/>
          <p:cNvSpPr>
            <a:spLocks noGrp="1"/>
          </p:cNvSpPr>
          <p:nvPr>
            <p:ph type="sldNum" sz="quarter" idx="12"/>
          </p:nvPr>
        </p:nvSpPr>
        <p:spPr/>
        <p:txBody>
          <a:bodyPr/>
          <a:lstStyle/>
          <a:p>
            <a:fld id="{7F5CE407-6216-4202-80E4-A30DC2F709B2}" type="slidenum">
              <a:rPr lang="en-US" smtClean="0"/>
              <a:pPr/>
              <a:t>17</a:t>
            </a:fld>
            <a:endParaRPr lang="en-US"/>
          </a:p>
        </p:txBody>
      </p:sp>
    </p:spTree>
    <p:extLst>
      <p:ext uri="{BB962C8B-B14F-4D97-AF65-F5344CB8AC3E}">
        <p14:creationId xmlns:p14="http://schemas.microsoft.com/office/powerpoint/2010/main" xmlns="" val="2029096699"/>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51720" y="620688"/>
            <a:ext cx="6912768" cy="1008112"/>
          </a:xfrm>
        </p:spPr>
        <p:txBody>
          <a:bodyPr/>
          <a:lstStyle/>
          <a:p>
            <a:r>
              <a:rPr lang="en-AU" altLang="ja-JP" sz="2800" dirty="0">
                <a:solidFill>
                  <a:srgbClr val="0000FF"/>
                </a:solidFill>
                <a:latin typeface="Arial Black"/>
                <a:cs typeface="Arial Black"/>
              </a:rPr>
              <a:t>Goal </a:t>
            </a:r>
            <a:r>
              <a:rPr lang="en-AU" altLang="ja-JP" sz="2800" dirty="0" smtClean="0">
                <a:solidFill>
                  <a:srgbClr val="0000FF"/>
                </a:solidFill>
                <a:latin typeface="Arial Black"/>
                <a:cs typeface="Arial Black"/>
              </a:rPr>
              <a:t>4 </a:t>
            </a:r>
            <a:r>
              <a:rPr lang="en-AU" altLang="ja-JP" sz="2800" dirty="0">
                <a:solidFill>
                  <a:srgbClr val="0000FF"/>
                </a:solidFill>
                <a:latin typeface="Arial Black"/>
                <a:cs typeface="Arial Black"/>
              </a:rPr>
              <a:t>– Increase the acceptance of PAC among stakeholders</a:t>
            </a:r>
            <a:endParaRPr lang="en-GB" sz="2800" dirty="0"/>
          </a:p>
        </p:txBody>
      </p:sp>
      <p:sp>
        <p:nvSpPr>
          <p:cNvPr id="3" name="コンテンツ プレースホルダー 2"/>
          <p:cNvSpPr>
            <a:spLocks noGrp="1"/>
          </p:cNvSpPr>
          <p:nvPr>
            <p:ph idx="1"/>
          </p:nvPr>
        </p:nvSpPr>
        <p:spPr>
          <a:xfrm>
            <a:off x="1835696" y="2708920"/>
            <a:ext cx="7187902" cy="3522713"/>
          </a:xfrm>
        </p:spPr>
        <p:txBody>
          <a:bodyPr>
            <a:normAutofit lnSpcReduction="10000"/>
          </a:bodyPr>
          <a:lstStyle/>
          <a:p>
            <a:pPr marL="541338" indent="-541338">
              <a:buClr>
                <a:srgbClr val="ED2A09"/>
              </a:buClr>
              <a:buFont typeface="Wingdings" charset="2"/>
              <a:buChar char="p"/>
            </a:pPr>
            <a:r>
              <a:rPr lang="en-GB" b="1" dirty="0">
                <a:solidFill>
                  <a:srgbClr val="000000"/>
                </a:solidFill>
                <a:latin typeface="Arial"/>
                <a:cs typeface="Arial"/>
              </a:rPr>
              <a:t>I</a:t>
            </a:r>
            <a:r>
              <a:rPr lang="en-GB" b="1" dirty="0" smtClean="0">
                <a:solidFill>
                  <a:srgbClr val="000000"/>
                </a:solidFill>
                <a:latin typeface="Arial"/>
                <a:cs typeface="Arial"/>
              </a:rPr>
              <a:t>nvestigating </a:t>
            </a:r>
            <a:r>
              <a:rPr lang="en-GB" b="1" dirty="0">
                <a:solidFill>
                  <a:srgbClr val="000000"/>
                </a:solidFill>
                <a:latin typeface="Arial"/>
                <a:cs typeface="Arial"/>
              </a:rPr>
              <a:t>opportunities for new MLA </a:t>
            </a:r>
            <a:r>
              <a:rPr lang="en-GB" b="1" dirty="0" smtClean="0">
                <a:solidFill>
                  <a:srgbClr val="000000"/>
                </a:solidFill>
                <a:latin typeface="Arial"/>
                <a:cs typeface="Arial"/>
              </a:rPr>
              <a:t>programs</a:t>
            </a:r>
          </a:p>
          <a:p>
            <a:pPr marL="541338" indent="-541338">
              <a:buClr>
                <a:srgbClr val="ED2A09"/>
              </a:buClr>
              <a:buFont typeface="Wingdings" charset="2"/>
              <a:buChar char="p"/>
            </a:pPr>
            <a:r>
              <a:rPr lang="en-GB" b="1" dirty="0" smtClean="0">
                <a:solidFill>
                  <a:srgbClr val="000000"/>
                </a:solidFill>
                <a:latin typeface="Arial"/>
                <a:cs typeface="Arial"/>
              </a:rPr>
              <a:t>Increasing </a:t>
            </a:r>
            <a:r>
              <a:rPr lang="en-GB" b="1" dirty="0">
                <a:solidFill>
                  <a:srgbClr val="000000"/>
                </a:solidFill>
                <a:latin typeface="Arial"/>
                <a:cs typeface="Arial"/>
              </a:rPr>
              <a:t>membership and the number of signatories to the </a:t>
            </a:r>
            <a:r>
              <a:rPr lang="en-GB" b="1" dirty="0" smtClean="0">
                <a:solidFill>
                  <a:srgbClr val="000000"/>
                </a:solidFill>
                <a:latin typeface="Arial"/>
                <a:cs typeface="Arial"/>
              </a:rPr>
              <a:t>MLA</a:t>
            </a:r>
          </a:p>
          <a:p>
            <a:pPr marL="541338" indent="-541338">
              <a:buClr>
                <a:srgbClr val="ED2A09"/>
              </a:buClr>
              <a:buFont typeface="Wingdings" charset="2"/>
              <a:buChar char="p"/>
            </a:pPr>
            <a:r>
              <a:rPr lang="en-GB" b="1" dirty="0" smtClean="0">
                <a:solidFill>
                  <a:srgbClr val="000000"/>
                </a:solidFill>
                <a:latin typeface="Arial"/>
                <a:cs typeface="Arial"/>
              </a:rPr>
              <a:t>Increase </a:t>
            </a:r>
            <a:r>
              <a:rPr lang="en-GB" b="1" dirty="0">
                <a:solidFill>
                  <a:srgbClr val="000000"/>
                </a:solidFill>
                <a:latin typeface="Arial"/>
                <a:cs typeface="Arial"/>
              </a:rPr>
              <a:t>visibility of PAC among trade blocs in the </a:t>
            </a:r>
            <a:r>
              <a:rPr lang="en-GB" b="1" dirty="0" smtClean="0">
                <a:solidFill>
                  <a:srgbClr val="000000"/>
                </a:solidFill>
                <a:latin typeface="Arial"/>
                <a:cs typeface="Arial"/>
              </a:rPr>
              <a:t>region</a:t>
            </a:r>
          </a:p>
          <a:p>
            <a:pPr marL="541338" indent="-541338">
              <a:buClr>
                <a:srgbClr val="ED2A09"/>
              </a:buClr>
              <a:buFont typeface="Wingdings" charset="2"/>
              <a:buChar char="p"/>
            </a:pPr>
            <a:r>
              <a:rPr lang="en-US" altLang="ja-JP" b="1" dirty="0">
                <a:solidFill>
                  <a:srgbClr val="000000"/>
                </a:solidFill>
                <a:latin typeface="Arial"/>
                <a:cs typeface="Arial"/>
              </a:rPr>
              <a:t>Increase visibility of PAC MLA among regulators</a:t>
            </a:r>
            <a:r>
              <a:rPr lang="ja-JP" altLang="ja-JP" b="1" dirty="0">
                <a:solidFill>
                  <a:srgbClr val="000000"/>
                </a:solidFill>
                <a:latin typeface="Arial"/>
                <a:cs typeface="Arial"/>
              </a:rPr>
              <a:t> </a:t>
            </a:r>
            <a:endParaRPr lang="en-GB" b="1" dirty="0">
              <a:solidFill>
                <a:srgbClr val="000000"/>
              </a:solidFill>
              <a:latin typeface="Arial"/>
              <a:cs typeface="Arial"/>
            </a:endParaRPr>
          </a:p>
        </p:txBody>
      </p:sp>
      <p:pic>
        <p:nvPicPr>
          <p:cNvPr id="4" name="Picture 3"/>
          <p:cNvPicPr>
            <a:picLocks noChangeAspect="1"/>
          </p:cNvPicPr>
          <p:nvPr/>
        </p:nvPicPr>
        <p:blipFill>
          <a:blip r:embed="rId3"/>
          <a:srcRect/>
          <a:stretch>
            <a:fillRect/>
          </a:stretch>
        </p:blipFill>
        <p:spPr bwMode="auto">
          <a:xfrm>
            <a:off x="107504" y="116632"/>
            <a:ext cx="1979613" cy="1168400"/>
          </a:xfrm>
          <a:prstGeom prst="rect">
            <a:avLst/>
          </a:prstGeom>
          <a:noFill/>
          <a:ln w="9525">
            <a:noFill/>
            <a:miter lim="800000"/>
            <a:headEnd/>
            <a:tailEnd/>
          </a:ln>
        </p:spPr>
      </p:pic>
      <p:sp>
        <p:nvSpPr>
          <p:cNvPr id="5" name="スライド番号プレースホルダー 4"/>
          <p:cNvSpPr>
            <a:spLocks noGrp="1"/>
          </p:cNvSpPr>
          <p:nvPr>
            <p:ph type="sldNum" sz="quarter" idx="12"/>
          </p:nvPr>
        </p:nvSpPr>
        <p:spPr/>
        <p:txBody>
          <a:bodyPr/>
          <a:lstStyle/>
          <a:p>
            <a:fld id="{7F5CE407-6216-4202-80E4-A30DC2F709B2}" type="slidenum">
              <a:rPr lang="en-US" smtClean="0"/>
              <a:pPr/>
              <a:t>18</a:t>
            </a:fld>
            <a:endParaRPr lang="en-US"/>
          </a:p>
        </p:txBody>
      </p:sp>
    </p:spTree>
    <p:extLst>
      <p:ext uri="{BB962C8B-B14F-4D97-AF65-F5344CB8AC3E}">
        <p14:creationId xmlns:p14="http://schemas.microsoft.com/office/powerpoint/2010/main" xmlns="" val="380097435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rcRect/>
          <a:stretch>
            <a:fillRect/>
          </a:stretch>
        </p:blipFill>
        <p:spPr bwMode="auto">
          <a:xfrm>
            <a:off x="107504" y="116632"/>
            <a:ext cx="1979613" cy="1168400"/>
          </a:xfrm>
          <a:prstGeom prst="rect">
            <a:avLst/>
          </a:prstGeom>
          <a:noFill/>
          <a:ln w="9525">
            <a:noFill/>
            <a:miter lim="800000"/>
            <a:headEnd/>
            <a:tailEnd/>
          </a:ln>
        </p:spPr>
      </p:pic>
      <p:sp>
        <p:nvSpPr>
          <p:cNvPr id="5" name="Text Box 5"/>
          <p:cNvSpPr txBox="1">
            <a:spLocks noChangeArrowheads="1"/>
          </p:cNvSpPr>
          <p:nvPr/>
        </p:nvSpPr>
        <p:spPr bwMode="auto">
          <a:xfrm>
            <a:off x="2195736" y="476671"/>
            <a:ext cx="5184576" cy="646331"/>
          </a:xfrm>
          <a:prstGeom prst="rect">
            <a:avLst/>
          </a:prstGeom>
          <a:noFill/>
          <a:ln w="9525">
            <a:noFill/>
            <a:miter lim="800000"/>
            <a:headEnd/>
            <a:tailEnd/>
          </a:ln>
        </p:spPr>
        <p:txBody>
          <a:bodyPr wrap="square">
            <a:spAutoFit/>
          </a:bodyPr>
          <a:lstStyle/>
          <a:p>
            <a:pPr algn="ctr">
              <a:spcBef>
                <a:spcPct val="50000"/>
              </a:spcBef>
            </a:pPr>
            <a:r>
              <a:rPr lang="en-AU" altLang="ja-JP" sz="3600" dirty="0" smtClean="0">
                <a:solidFill>
                  <a:srgbClr val="0000FF"/>
                </a:solidFill>
                <a:latin typeface="Arial Black"/>
                <a:cs typeface="Arial Black"/>
              </a:rPr>
              <a:t>Conclusions</a:t>
            </a:r>
            <a:endParaRPr lang="ja-JP" altLang="en-US" sz="3600" b="1" dirty="0">
              <a:solidFill>
                <a:srgbClr val="0000FF"/>
              </a:solidFill>
              <a:latin typeface="Arial Black"/>
              <a:cs typeface="Arial Black"/>
            </a:endParaRPr>
          </a:p>
        </p:txBody>
      </p:sp>
      <p:sp>
        <p:nvSpPr>
          <p:cNvPr id="7" name="Content Placeholder 6"/>
          <p:cNvSpPr>
            <a:spLocks noGrp="1"/>
          </p:cNvSpPr>
          <p:nvPr>
            <p:ph idx="1"/>
          </p:nvPr>
        </p:nvSpPr>
        <p:spPr>
          <a:xfrm>
            <a:off x="1143000" y="1600200"/>
            <a:ext cx="7488832" cy="4343400"/>
          </a:xfrm>
        </p:spPr>
        <p:txBody>
          <a:bodyPr>
            <a:normAutofit fontScale="77500" lnSpcReduction="20000"/>
          </a:bodyPr>
          <a:lstStyle/>
          <a:p>
            <a:pPr marL="0" lvl="1" indent="0">
              <a:buClr>
                <a:srgbClr val="FF0000"/>
              </a:buClr>
              <a:buNone/>
            </a:pPr>
            <a:r>
              <a:rPr lang="en-AU" sz="3200" b="1" dirty="0" smtClean="0">
                <a:solidFill>
                  <a:srgbClr val="000000"/>
                </a:solidFill>
                <a:latin typeface="Arial" pitchFamily="34" charset="0"/>
                <a:cs typeface="Arial" pitchFamily="34" charset="0"/>
              </a:rPr>
              <a:t>PAC region is a main player for conformity assessment scheme based on ISO MS standards in the world</a:t>
            </a:r>
          </a:p>
          <a:p>
            <a:pPr marL="660400" lvl="2" indent="-342900">
              <a:spcBef>
                <a:spcPts val="600"/>
              </a:spcBef>
              <a:buClr>
                <a:srgbClr val="FF0000"/>
              </a:buClr>
              <a:buFont typeface="Wingdings" pitchFamily="2" charset="2"/>
              <a:buChar char="§"/>
            </a:pPr>
            <a:endParaRPr lang="en-AU" b="1" dirty="0" smtClean="0">
              <a:solidFill>
                <a:srgbClr val="000000"/>
              </a:solidFill>
              <a:latin typeface="Arial" pitchFamily="34" charset="0"/>
              <a:cs typeface="Arial" pitchFamily="34" charset="0"/>
            </a:endParaRPr>
          </a:p>
          <a:p>
            <a:pPr marL="317500" lvl="2" indent="0">
              <a:spcBef>
                <a:spcPts val="600"/>
              </a:spcBef>
              <a:buClr>
                <a:srgbClr val="FF0000"/>
              </a:buClr>
              <a:buNone/>
            </a:pPr>
            <a:endParaRPr lang="en-AU" b="1" dirty="0" smtClean="0">
              <a:solidFill>
                <a:srgbClr val="000000"/>
              </a:solidFill>
              <a:latin typeface="Arial" pitchFamily="34" charset="0"/>
              <a:cs typeface="Arial" pitchFamily="34" charset="0"/>
            </a:endParaRPr>
          </a:p>
          <a:p>
            <a:pPr marL="317500" lvl="2" indent="0">
              <a:spcBef>
                <a:spcPts val="600"/>
              </a:spcBef>
              <a:buClr>
                <a:srgbClr val="FF0000"/>
              </a:buClr>
              <a:buNone/>
            </a:pPr>
            <a:endParaRPr lang="en-AU" b="1" dirty="0">
              <a:solidFill>
                <a:srgbClr val="000000"/>
              </a:solidFill>
              <a:latin typeface="Arial" pitchFamily="34" charset="0"/>
              <a:cs typeface="Arial" pitchFamily="34" charset="0"/>
            </a:endParaRPr>
          </a:p>
          <a:p>
            <a:pPr marL="990600" lvl="1" indent="-368300">
              <a:spcBef>
                <a:spcPts val="600"/>
              </a:spcBef>
              <a:buClr>
                <a:srgbClr val="FF0000"/>
              </a:buClr>
              <a:buFont typeface="Wingdings" pitchFamily="2" charset="2"/>
              <a:buChar char="q"/>
            </a:pPr>
            <a:r>
              <a:rPr lang="en-AU" sz="2900" b="1" dirty="0" smtClean="0">
                <a:solidFill>
                  <a:srgbClr val="000000"/>
                </a:solidFill>
                <a:latin typeface="Arial" pitchFamily="34" charset="0"/>
                <a:cs typeface="Arial" pitchFamily="34" charset="0"/>
              </a:rPr>
              <a:t>Market has been changing</a:t>
            </a:r>
          </a:p>
          <a:p>
            <a:pPr marL="990600" lvl="1" indent="-368300">
              <a:spcBef>
                <a:spcPts val="600"/>
              </a:spcBef>
              <a:buClr>
                <a:srgbClr val="FF0000"/>
              </a:buClr>
              <a:buFont typeface="Wingdings" pitchFamily="2" charset="2"/>
              <a:buChar char="q"/>
            </a:pPr>
            <a:r>
              <a:rPr lang="en-AU" sz="2900" b="1" dirty="0" smtClean="0">
                <a:solidFill>
                  <a:srgbClr val="000000"/>
                </a:solidFill>
                <a:latin typeface="Arial" pitchFamily="34" charset="0"/>
                <a:cs typeface="Arial" pitchFamily="34" charset="0"/>
              </a:rPr>
              <a:t>Market need has been changing</a:t>
            </a:r>
          </a:p>
          <a:p>
            <a:pPr marL="990600" lvl="1" indent="-368300">
              <a:buClr>
                <a:srgbClr val="FF0000"/>
              </a:buClr>
              <a:buFont typeface="Wingdings" pitchFamily="2" charset="2"/>
              <a:buChar char="q"/>
            </a:pPr>
            <a:r>
              <a:rPr lang="en-AU" sz="2900" b="1" dirty="0" smtClean="0">
                <a:solidFill>
                  <a:srgbClr val="000000"/>
                </a:solidFill>
                <a:latin typeface="Arial" pitchFamily="34" charset="0"/>
                <a:cs typeface="Arial" pitchFamily="34" charset="0"/>
              </a:rPr>
              <a:t>Regulators may expect for PAC to enhance the infrastructure for </a:t>
            </a:r>
            <a:r>
              <a:rPr lang="en-AU" altLang="ja-JP" sz="2900" b="1" dirty="0" smtClean="0">
                <a:solidFill>
                  <a:srgbClr val="000000"/>
                </a:solidFill>
                <a:latin typeface="Arial" pitchFamily="34" charset="0"/>
                <a:cs typeface="Arial" pitchFamily="34" charset="0"/>
              </a:rPr>
              <a:t>conformity </a:t>
            </a:r>
            <a:r>
              <a:rPr lang="en-AU" altLang="ja-JP" sz="2900" b="1" dirty="0">
                <a:solidFill>
                  <a:srgbClr val="000000"/>
                </a:solidFill>
                <a:latin typeface="Arial" pitchFamily="34" charset="0"/>
                <a:cs typeface="Arial" pitchFamily="34" charset="0"/>
              </a:rPr>
              <a:t>assessment </a:t>
            </a:r>
            <a:r>
              <a:rPr lang="en-AU" sz="2900" b="1" dirty="0" smtClean="0">
                <a:solidFill>
                  <a:srgbClr val="000000"/>
                </a:solidFill>
                <a:latin typeface="Arial" pitchFamily="34" charset="0"/>
                <a:cs typeface="Arial" pitchFamily="34" charset="0"/>
              </a:rPr>
              <a:t> and its credibility</a:t>
            </a:r>
          </a:p>
          <a:p>
            <a:pPr marL="990600" lvl="1" indent="-368300">
              <a:buClr>
                <a:srgbClr val="FF0000"/>
              </a:buClr>
              <a:buFont typeface="Wingdings" pitchFamily="2" charset="2"/>
              <a:buChar char="q"/>
            </a:pPr>
            <a:r>
              <a:rPr lang="en-AU" sz="2900" b="1" dirty="0" smtClean="0">
                <a:solidFill>
                  <a:srgbClr val="000000"/>
                </a:solidFill>
                <a:latin typeface="Arial" pitchFamily="34" charset="0"/>
                <a:cs typeface="Arial" pitchFamily="34" charset="0"/>
              </a:rPr>
              <a:t>SRBs are expected to work more closely</a:t>
            </a:r>
          </a:p>
          <a:p>
            <a:pPr marL="0" lvl="1" indent="0">
              <a:buClr>
                <a:srgbClr val="FF0000"/>
              </a:buClr>
              <a:buNone/>
            </a:pPr>
            <a:r>
              <a:rPr lang="en-AU" b="1" dirty="0" smtClean="0">
                <a:solidFill>
                  <a:srgbClr val="000000"/>
                </a:solidFill>
                <a:latin typeface="Arial" pitchFamily="34" charset="0"/>
                <a:cs typeface="Arial" pitchFamily="34" charset="0"/>
              </a:rPr>
              <a:t> </a:t>
            </a:r>
          </a:p>
          <a:p>
            <a:pPr marL="0" lvl="1" indent="0">
              <a:buClr>
                <a:srgbClr val="FF0000"/>
              </a:buClr>
              <a:buNone/>
            </a:pPr>
            <a:endParaRPr lang="en-AU" b="1" dirty="0" smtClean="0">
              <a:solidFill>
                <a:srgbClr val="000000"/>
              </a:solidFill>
              <a:latin typeface="Arial" pitchFamily="34" charset="0"/>
              <a:cs typeface="Arial" pitchFamily="34" charset="0"/>
            </a:endParaRPr>
          </a:p>
          <a:p>
            <a:pPr marL="342900" lvl="1" indent="-342900">
              <a:spcBef>
                <a:spcPts val="600"/>
              </a:spcBef>
              <a:buClr>
                <a:srgbClr val="FF0000"/>
              </a:buClr>
              <a:buFont typeface="Wingdings" pitchFamily="2" charset="2"/>
              <a:buChar char="q"/>
            </a:pPr>
            <a:endParaRPr lang="en-AU" b="1" dirty="0" smtClean="0">
              <a:latin typeface="Arial" pitchFamily="34" charset="0"/>
              <a:cs typeface="Arial" pitchFamily="34" charset="0"/>
            </a:endParaRPr>
          </a:p>
        </p:txBody>
      </p:sp>
      <p:sp>
        <p:nvSpPr>
          <p:cNvPr id="2" name="ストライプ矢印 1"/>
          <p:cNvSpPr/>
          <p:nvPr/>
        </p:nvSpPr>
        <p:spPr>
          <a:xfrm rot="5400000">
            <a:off x="4211960" y="2564904"/>
            <a:ext cx="504056" cy="792088"/>
          </a:xfrm>
          <a:prstGeom prst="stripedRightArrow">
            <a:avLst/>
          </a:prstGeom>
          <a:solidFill>
            <a:srgbClr val="CCFFCC"/>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 name="スライド番号プレースホルダー 2"/>
          <p:cNvSpPr>
            <a:spLocks noGrp="1"/>
          </p:cNvSpPr>
          <p:nvPr>
            <p:ph type="sldNum" sz="quarter" idx="12"/>
          </p:nvPr>
        </p:nvSpPr>
        <p:spPr/>
        <p:txBody>
          <a:bodyPr/>
          <a:lstStyle/>
          <a:p>
            <a:fld id="{7F5CE407-6216-4202-80E4-A30DC2F709B2}" type="slidenum">
              <a:rPr lang="en-US" smtClean="0"/>
              <a:pPr/>
              <a:t>19</a:t>
            </a:fld>
            <a:endParaRPr lang="en-US"/>
          </a:p>
        </p:txBody>
      </p:sp>
    </p:spTree>
    <p:extLst>
      <p:ext uri="{BB962C8B-B14F-4D97-AF65-F5344CB8AC3E}">
        <p14:creationId xmlns:p14="http://schemas.microsoft.com/office/powerpoint/2010/main" xmlns="" val="203888270"/>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linds(horizontal)">
                                      <p:cBhvr>
                                        <p:cTn id="7" dur="500"/>
                                        <p:tgtEl>
                                          <p:spTgt spid="2"/>
                                        </p:tgtEl>
                                      </p:cBhvr>
                                    </p:animEffect>
                                  </p:childTnLst>
                                </p:cTn>
                              </p:par>
                            </p:childTnLst>
                          </p:cTn>
                        </p:par>
                        <p:par>
                          <p:cTn id="8" fill="hold">
                            <p:stCondLst>
                              <p:cond delay="500"/>
                            </p:stCondLst>
                            <p:childTnLst>
                              <p:par>
                                <p:cTn id="9" presetID="3" presetClass="entr" presetSubtype="10" fill="hold" nodeType="afterEffect">
                                  <p:stCondLst>
                                    <p:cond delay="0"/>
                                  </p:stCondLst>
                                  <p:childTnLst>
                                    <p:set>
                                      <p:cBhvr>
                                        <p:cTn id="10" dur="1" fill="hold">
                                          <p:stCondLst>
                                            <p:cond delay="0"/>
                                          </p:stCondLst>
                                        </p:cTn>
                                        <p:tgtEl>
                                          <p:spTgt spid="7">
                                            <p:txEl>
                                              <p:pRg st="4" end="4"/>
                                            </p:txEl>
                                          </p:spTgt>
                                        </p:tgtEl>
                                        <p:attrNameLst>
                                          <p:attrName>style.visibility</p:attrName>
                                        </p:attrNameLst>
                                      </p:cBhvr>
                                      <p:to>
                                        <p:strVal val="visible"/>
                                      </p:to>
                                    </p:set>
                                    <p:animEffect transition="in" filter="blinds(horizontal)">
                                      <p:cBhvr>
                                        <p:cTn id="11" dur="700"/>
                                        <p:tgtEl>
                                          <p:spTgt spid="7">
                                            <p:txEl>
                                              <p:pRg st="4" end="4"/>
                                            </p:txEl>
                                          </p:spTgt>
                                        </p:tgtEl>
                                      </p:cBhvr>
                                    </p:animEffect>
                                  </p:childTnLst>
                                </p:cTn>
                              </p:par>
                            </p:childTnLst>
                          </p:cTn>
                        </p:par>
                        <p:par>
                          <p:cTn id="12" fill="hold">
                            <p:stCondLst>
                              <p:cond delay="1200"/>
                            </p:stCondLst>
                            <p:childTnLst>
                              <p:par>
                                <p:cTn id="13" presetID="3" presetClass="entr" presetSubtype="10" fill="hold" nodeType="afterEffect">
                                  <p:stCondLst>
                                    <p:cond delay="0"/>
                                  </p:stCondLst>
                                  <p:childTnLst>
                                    <p:set>
                                      <p:cBhvr>
                                        <p:cTn id="14" dur="1" fill="hold">
                                          <p:stCondLst>
                                            <p:cond delay="0"/>
                                          </p:stCondLst>
                                        </p:cTn>
                                        <p:tgtEl>
                                          <p:spTgt spid="7">
                                            <p:txEl>
                                              <p:pRg st="5" end="5"/>
                                            </p:txEl>
                                          </p:spTgt>
                                        </p:tgtEl>
                                        <p:attrNameLst>
                                          <p:attrName>style.visibility</p:attrName>
                                        </p:attrNameLst>
                                      </p:cBhvr>
                                      <p:to>
                                        <p:strVal val="visible"/>
                                      </p:to>
                                    </p:set>
                                    <p:animEffect transition="in" filter="blinds(horizontal)">
                                      <p:cBhvr>
                                        <p:cTn id="15" dur="600"/>
                                        <p:tgtEl>
                                          <p:spTgt spid="7">
                                            <p:txEl>
                                              <p:pRg st="5" end="5"/>
                                            </p:txEl>
                                          </p:spTgt>
                                        </p:tgtEl>
                                      </p:cBhvr>
                                    </p:animEffect>
                                  </p:childTnLst>
                                </p:cTn>
                              </p:par>
                              <p:par>
                                <p:cTn id="16" presetID="3" presetClass="entr" presetSubtype="10" fill="hold" nodeType="withEffect">
                                  <p:stCondLst>
                                    <p:cond delay="0"/>
                                  </p:stCondLst>
                                  <p:childTnLst>
                                    <p:set>
                                      <p:cBhvr>
                                        <p:cTn id="17" dur="1" fill="hold">
                                          <p:stCondLst>
                                            <p:cond delay="0"/>
                                          </p:stCondLst>
                                        </p:cTn>
                                        <p:tgtEl>
                                          <p:spTgt spid="7">
                                            <p:txEl>
                                              <p:pRg st="6" end="6"/>
                                            </p:txEl>
                                          </p:spTgt>
                                        </p:tgtEl>
                                        <p:attrNameLst>
                                          <p:attrName>style.visibility</p:attrName>
                                        </p:attrNameLst>
                                      </p:cBhvr>
                                      <p:to>
                                        <p:strVal val="visible"/>
                                      </p:to>
                                    </p:set>
                                    <p:animEffect transition="in" filter="blinds(horizontal)">
                                      <p:cBhvr>
                                        <p:cTn id="18" dur="700"/>
                                        <p:tgtEl>
                                          <p:spTgt spid="7">
                                            <p:txEl>
                                              <p:pRg st="6" end="6"/>
                                            </p:txEl>
                                          </p:spTgt>
                                        </p:tgtEl>
                                      </p:cBhvr>
                                    </p:animEffect>
                                  </p:childTnLst>
                                </p:cTn>
                              </p:par>
                              <p:par>
                                <p:cTn id="19" presetID="3" presetClass="entr" presetSubtype="10" fill="hold" nodeType="withEffect">
                                  <p:stCondLst>
                                    <p:cond delay="0"/>
                                  </p:stCondLst>
                                  <p:childTnLst>
                                    <p:set>
                                      <p:cBhvr>
                                        <p:cTn id="20" dur="1" fill="hold">
                                          <p:stCondLst>
                                            <p:cond delay="0"/>
                                          </p:stCondLst>
                                        </p:cTn>
                                        <p:tgtEl>
                                          <p:spTgt spid="7">
                                            <p:txEl>
                                              <p:pRg st="7" end="7"/>
                                            </p:txEl>
                                          </p:spTgt>
                                        </p:tgtEl>
                                        <p:attrNameLst>
                                          <p:attrName>style.visibility</p:attrName>
                                        </p:attrNameLst>
                                      </p:cBhvr>
                                      <p:to>
                                        <p:strVal val="visible"/>
                                      </p:to>
                                    </p:set>
                                    <p:animEffect transition="in" filter="blinds(horizontal)">
                                      <p:cBhvr>
                                        <p:cTn id="21" dur="700"/>
                                        <p:tgtEl>
                                          <p:spTgt spid="7">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6051" name="Rectangle 3"/>
          <p:cNvSpPr>
            <a:spLocks noGrp="1" noChangeArrowheads="1"/>
          </p:cNvSpPr>
          <p:nvPr>
            <p:ph type="body" idx="4294967295"/>
          </p:nvPr>
        </p:nvSpPr>
        <p:spPr>
          <a:xfrm>
            <a:off x="467544" y="1484784"/>
            <a:ext cx="8512175" cy="4464050"/>
          </a:xfrm>
        </p:spPr>
        <p:txBody>
          <a:bodyPr lIns="91440" tIns="45720" rIns="91440" bIns="45720" anchor="t">
            <a:normAutofit fontScale="92500"/>
          </a:bodyPr>
          <a:lstStyle/>
          <a:p>
            <a:pPr marL="0" indent="0" eaLnBrk="1" hangingPunct="1">
              <a:spcBef>
                <a:spcPts val="0"/>
              </a:spcBef>
              <a:buFont typeface="Gill Sans Light"/>
              <a:buNone/>
            </a:pPr>
            <a:r>
              <a:rPr kumimoji="1" lang="en-GB" altLang="zh-CN" b="1" dirty="0" smtClean="0">
                <a:solidFill>
                  <a:schemeClr val="tx1"/>
                </a:solidFill>
                <a:latin typeface="Arial" charset="0"/>
                <a:ea typeface="SimSun" pitchFamily="2" charset="-122"/>
              </a:rPr>
              <a:t>Organization:</a:t>
            </a:r>
          </a:p>
          <a:p>
            <a:pPr marL="0" indent="0" eaLnBrk="1" hangingPunct="1">
              <a:spcBef>
                <a:spcPts val="0"/>
              </a:spcBef>
              <a:buFont typeface="Gill Sans Light"/>
              <a:buNone/>
            </a:pPr>
            <a:endParaRPr kumimoji="1" lang="en-GB" altLang="zh-CN" b="1" dirty="0" smtClean="0">
              <a:latin typeface="Arial" charset="0"/>
              <a:ea typeface="SimSun" pitchFamily="2" charset="-122"/>
            </a:endParaRPr>
          </a:p>
          <a:p>
            <a:pPr marL="808038" lvl="1" indent="-808038" eaLnBrk="1" hangingPunct="1">
              <a:spcBef>
                <a:spcPts val="0"/>
              </a:spcBef>
              <a:buClr>
                <a:srgbClr val="FF0000"/>
              </a:buClr>
              <a:buFont typeface="Wingdings" pitchFamily="2" charset="2"/>
              <a:buChar char="q"/>
            </a:pPr>
            <a:r>
              <a:rPr kumimoji="1" lang="en-GB" altLang="zh-CN" b="1" dirty="0" smtClean="0">
                <a:solidFill>
                  <a:srgbClr val="000000"/>
                </a:solidFill>
                <a:latin typeface="Arial" charset="0"/>
                <a:ea typeface="SimSun" pitchFamily="2" charset="-122"/>
              </a:rPr>
              <a:t>An</a:t>
            </a:r>
            <a:r>
              <a:rPr kumimoji="1" lang="en-GB" altLang="zh-CN" b="1" dirty="0" smtClean="0">
                <a:latin typeface="Arial" charset="0"/>
                <a:ea typeface="SimSun" pitchFamily="2" charset="-122"/>
              </a:rPr>
              <a:t> </a:t>
            </a:r>
            <a:r>
              <a:rPr kumimoji="1" lang="en-GB" altLang="zh-CN" b="1" dirty="0" smtClean="0">
                <a:solidFill>
                  <a:srgbClr val="FF0000"/>
                </a:solidFill>
                <a:latin typeface="Arial" charset="0"/>
                <a:ea typeface="SimSun" pitchFamily="2" charset="-122"/>
              </a:rPr>
              <a:t>association of accreditation bodies for certification</a:t>
            </a:r>
            <a:r>
              <a:rPr kumimoji="1" lang="en-GB" altLang="zh-CN" b="1" dirty="0" smtClean="0">
                <a:latin typeface="Arial" charset="0"/>
                <a:ea typeface="SimSun" pitchFamily="2" charset="-122"/>
              </a:rPr>
              <a:t> </a:t>
            </a:r>
            <a:r>
              <a:rPr kumimoji="1" lang="en-GB" altLang="zh-CN" b="1" dirty="0" smtClean="0">
                <a:solidFill>
                  <a:srgbClr val="000000"/>
                </a:solidFill>
                <a:latin typeface="Arial" charset="0"/>
                <a:ea typeface="SimSun" pitchFamily="2" charset="-122"/>
              </a:rPr>
              <a:t>in the APEC member economies and other interested parties such as </a:t>
            </a:r>
            <a:r>
              <a:rPr lang="en-GB" altLang="zh-CN" b="1" dirty="0">
                <a:solidFill>
                  <a:srgbClr val="000000"/>
                </a:solidFill>
                <a:latin typeface="Arial" charset="0"/>
                <a:ea typeface="SimSun" pitchFamily="2" charset="-122"/>
              </a:rPr>
              <a:t>c</a:t>
            </a:r>
            <a:r>
              <a:rPr kumimoji="1" lang="en-GB" altLang="zh-CN" b="1" dirty="0" smtClean="0">
                <a:solidFill>
                  <a:srgbClr val="000000"/>
                </a:solidFill>
                <a:latin typeface="Arial" charset="0"/>
                <a:ea typeface="SimSun" pitchFamily="2" charset="-122"/>
              </a:rPr>
              <a:t>onformity assessment body (CAB) associations</a:t>
            </a:r>
          </a:p>
          <a:p>
            <a:pPr marL="0" indent="0" eaLnBrk="1" hangingPunct="1">
              <a:spcBef>
                <a:spcPts val="0"/>
              </a:spcBef>
              <a:buFont typeface="Gill Sans Light"/>
              <a:buNone/>
            </a:pPr>
            <a:endParaRPr kumimoji="1" lang="en-GB" altLang="zh-CN" b="1" dirty="0">
              <a:latin typeface="Arial" charset="0"/>
              <a:ea typeface="SimSun" pitchFamily="2" charset="-122"/>
            </a:endParaRPr>
          </a:p>
          <a:p>
            <a:pPr marL="0" indent="0" eaLnBrk="1" hangingPunct="1">
              <a:spcBef>
                <a:spcPts val="0"/>
              </a:spcBef>
              <a:buFont typeface="Gill Sans Light"/>
              <a:buNone/>
            </a:pPr>
            <a:r>
              <a:rPr kumimoji="1" lang="en-GB" altLang="zh-CN" b="1" dirty="0" smtClean="0">
                <a:solidFill>
                  <a:srgbClr val="000000"/>
                </a:solidFill>
                <a:latin typeface="Arial" charset="0"/>
                <a:ea typeface="SimSun" pitchFamily="2" charset="-122"/>
              </a:rPr>
              <a:t>Mission Statement:</a:t>
            </a:r>
          </a:p>
          <a:p>
            <a:pPr marL="0" indent="0" eaLnBrk="1" hangingPunct="1">
              <a:spcBef>
                <a:spcPts val="0"/>
              </a:spcBef>
              <a:buFont typeface="Gill Sans Light"/>
              <a:buNone/>
            </a:pPr>
            <a:endParaRPr kumimoji="1" lang="en-GB" altLang="zh-CN" b="1" dirty="0" smtClean="0">
              <a:latin typeface="Arial" charset="0"/>
              <a:ea typeface="SimSun" pitchFamily="2" charset="-122"/>
            </a:endParaRPr>
          </a:p>
          <a:p>
            <a:pPr marL="715963" indent="-715963" algn="just" eaLnBrk="1" hangingPunct="1">
              <a:spcBef>
                <a:spcPts val="0"/>
              </a:spcBef>
              <a:buClr>
                <a:srgbClr val="FF0000"/>
              </a:buClr>
              <a:buFont typeface="Wingdings" pitchFamily="2" charset="2"/>
              <a:buChar char="q"/>
            </a:pPr>
            <a:r>
              <a:rPr kumimoji="1" lang="en-GB" altLang="zh-CN" b="1" dirty="0" smtClean="0">
                <a:solidFill>
                  <a:srgbClr val="000000"/>
                </a:solidFill>
                <a:latin typeface="Arial" charset="0"/>
                <a:ea typeface="SimSun" pitchFamily="2" charset="-122"/>
              </a:rPr>
              <a:t>To </a:t>
            </a:r>
            <a:r>
              <a:rPr kumimoji="1" lang="en-GB" altLang="ja-JP" b="1" dirty="0" smtClean="0">
                <a:solidFill>
                  <a:srgbClr val="000000"/>
                </a:solidFill>
                <a:latin typeface="Arial" charset="0"/>
              </a:rPr>
              <a:t>represent </a:t>
            </a:r>
            <a:r>
              <a:rPr kumimoji="1" lang="en-GB" altLang="ja-JP" b="1" dirty="0" smtClean="0">
                <a:solidFill>
                  <a:srgbClr val="FF0000"/>
                </a:solidFill>
                <a:latin typeface="Arial" charset="0"/>
              </a:rPr>
              <a:t>the interests of Asia and/or Pacific economies</a:t>
            </a:r>
            <a:r>
              <a:rPr kumimoji="1" lang="en-GB" altLang="ja-JP" b="1" dirty="0" smtClean="0">
                <a:latin typeface="Arial" charset="0"/>
              </a:rPr>
              <a:t> </a:t>
            </a:r>
            <a:r>
              <a:rPr kumimoji="1" lang="en-GB" altLang="ja-JP" b="1" dirty="0" smtClean="0">
                <a:solidFill>
                  <a:srgbClr val="000000"/>
                </a:solidFill>
                <a:latin typeface="Arial" charset="0"/>
              </a:rPr>
              <a:t>nationally, regionally and internationally in the area of certification body accreditation and related activities,</a:t>
            </a:r>
            <a:r>
              <a:rPr kumimoji="1" lang="en-GB" altLang="ja-JP" b="1" dirty="0" smtClean="0">
                <a:latin typeface="Arial" charset="0"/>
              </a:rPr>
              <a:t> </a:t>
            </a:r>
            <a:r>
              <a:rPr kumimoji="1" lang="en-GB" altLang="ja-JP" b="1" dirty="0" smtClean="0">
                <a:solidFill>
                  <a:srgbClr val="FF0000"/>
                </a:solidFill>
                <a:latin typeface="Arial" charset="0"/>
              </a:rPr>
              <a:t>in support of APEC, IAF and WTO/TBT aims and objectives</a:t>
            </a:r>
            <a:r>
              <a:rPr kumimoji="1" lang="en-GB" altLang="ja-JP" dirty="0" smtClean="0">
                <a:latin typeface="Arial" charset="0"/>
              </a:rPr>
              <a:t>.</a:t>
            </a:r>
            <a:endParaRPr kumimoji="1" lang="en-AU" altLang="zh-CN" dirty="0" smtClean="0">
              <a:latin typeface="Arial" charset="0"/>
              <a:ea typeface="SimSun" pitchFamily="2" charset="-122"/>
            </a:endParaRPr>
          </a:p>
        </p:txBody>
      </p:sp>
      <p:pic>
        <p:nvPicPr>
          <p:cNvPr id="5" name="Picture 3"/>
          <p:cNvPicPr>
            <a:picLocks noChangeAspect="1"/>
          </p:cNvPicPr>
          <p:nvPr/>
        </p:nvPicPr>
        <p:blipFill>
          <a:blip r:embed="rId3"/>
          <a:srcRect/>
          <a:stretch>
            <a:fillRect/>
          </a:stretch>
        </p:blipFill>
        <p:spPr bwMode="auto">
          <a:xfrm>
            <a:off x="27939" y="116632"/>
            <a:ext cx="1979613" cy="1168400"/>
          </a:xfrm>
          <a:prstGeom prst="rect">
            <a:avLst/>
          </a:prstGeom>
          <a:noFill/>
          <a:ln w="9525">
            <a:noFill/>
            <a:miter lim="800000"/>
            <a:headEnd/>
            <a:tailEnd/>
          </a:ln>
        </p:spPr>
      </p:pic>
      <p:sp>
        <p:nvSpPr>
          <p:cNvPr id="7" name="Title 1"/>
          <p:cNvSpPr txBox="1">
            <a:spLocks/>
          </p:cNvSpPr>
          <p:nvPr/>
        </p:nvSpPr>
        <p:spPr>
          <a:xfrm>
            <a:off x="2267744" y="404664"/>
            <a:ext cx="5761038" cy="684212"/>
          </a:xfrm>
          <a:prstGeom prst="rect">
            <a:avLst/>
          </a:prstGeom>
        </p:spPr>
        <p:txBody>
          <a:bodyPr/>
          <a:lstStyle>
            <a:lvl1pPr algn="ctr" rtl="0" eaLnBrk="0" fontAlgn="base" hangingPunct="0">
              <a:spcBef>
                <a:spcPct val="0"/>
              </a:spcBef>
              <a:spcAft>
                <a:spcPct val="0"/>
              </a:spcAft>
              <a:defRPr sz="5000">
                <a:solidFill>
                  <a:schemeClr val="tx1"/>
                </a:solidFill>
                <a:latin typeface="+mj-lt"/>
                <a:ea typeface="+mj-ea"/>
                <a:cs typeface="+mj-cs"/>
                <a:sym typeface="Gill Sans Light"/>
              </a:defRPr>
            </a:lvl1pPr>
            <a:lvl2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2pPr>
            <a:lvl3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3pPr>
            <a:lvl4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4pPr>
            <a:lvl5pPr algn="ctr" rtl="0" eaLnBrk="0" fontAlgn="base" hangingPunct="0">
              <a:spcBef>
                <a:spcPct val="0"/>
              </a:spcBef>
              <a:spcAft>
                <a:spcPct val="0"/>
              </a:spcAft>
              <a:defRPr sz="5000">
                <a:solidFill>
                  <a:schemeClr val="tx1"/>
                </a:solidFill>
                <a:latin typeface="Gill Sans Light" charset="0"/>
                <a:ea typeface="ヒラギノ角ゴ ProN W3" charset="0"/>
                <a:cs typeface="ヒラギノ角ゴ ProN W3" charset="0"/>
                <a:sym typeface="Gill Sans Light"/>
              </a:defRPr>
            </a:lvl5pPr>
            <a:lvl6pPr marL="4572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6pPr>
            <a:lvl7pPr marL="9144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7pPr>
            <a:lvl8pPr marL="13716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8pPr>
            <a:lvl9pPr marL="1828800" algn="ctr" rtl="0" fontAlgn="base">
              <a:spcBef>
                <a:spcPct val="0"/>
              </a:spcBef>
              <a:spcAft>
                <a:spcPct val="0"/>
              </a:spcAft>
              <a:defRPr sz="5000">
                <a:solidFill>
                  <a:schemeClr val="tx1"/>
                </a:solidFill>
                <a:latin typeface="Gill Sans Light" charset="0"/>
                <a:ea typeface="ヒラギノ角ゴ ProN W3" charset="0"/>
                <a:cs typeface="ヒラギノ角ゴ ProN W3" charset="0"/>
                <a:sym typeface="Gill Sans Light" charset="0"/>
              </a:defRPr>
            </a:lvl9pPr>
          </a:lstStyle>
          <a:p>
            <a:pPr eaLnBrk="1" hangingPunct="1"/>
            <a:r>
              <a:rPr lang="en-AU" altLang="ja-JP" sz="3600" dirty="0" smtClean="0">
                <a:solidFill>
                  <a:srgbClr val="0000FF"/>
                </a:solidFill>
                <a:latin typeface="Arial Black"/>
                <a:cs typeface="Arial Black"/>
              </a:rPr>
              <a:t>Introduction</a:t>
            </a:r>
          </a:p>
        </p:txBody>
      </p:sp>
      <p:sp>
        <p:nvSpPr>
          <p:cNvPr id="2" name="スライド番号プレースホルダー 1"/>
          <p:cNvSpPr>
            <a:spLocks noGrp="1"/>
          </p:cNvSpPr>
          <p:nvPr>
            <p:ph type="sldNum" sz="quarter" idx="12"/>
          </p:nvPr>
        </p:nvSpPr>
        <p:spPr/>
        <p:txBody>
          <a:bodyPr/>
          <a:lstStyle/>
          <a:p>
            <a:fld id="{7F5CE407-6216-4202-80E4-A30DC2F709B2}" type="slidenum">
              <a:rPr lang="en-US" smtClean="0"/>
              <a:pPr/>
              <a:t>2</a:t>
            </a:fld>
            <a:endParaRPr lang="en-US"/>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41" name="WordArt 2"/>
          <p:cNvSpPr>
            <a:spLocks noChangeArrowheads="1" noChangeShapeType="1" noTextEdit="1"/>
          </p:cNvSpPr>
          <p:nvPr/>
        </p:nvSpPr>
        <p:spPr bwMode="auto">
          <a:xfrm>
            <a:off x="1115616" y="2060575"/>
            <a:ext cx="7056784" cy="1944489"/>
          </a:xfrm>
          <a:prstGeom prst="rect">
            <a:avLst/>
          </a:prstGeom>
          <a:ln>
            <a:solidFill>
              <a:schemeClr val="bg1"/>
            </a:solidFill>
          </a:ln>
        </p:spPr>
        <p:txBody>
          <a:bodyPr wrap="none" fromWordArt="1">
            <a:prstTxWarp prst="textPlain">
              <a:avLst>
                <a:gd name="adj" fmla="val 50840"/>
              </a:avLst>
            </a:prstTxWarp>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a:r>
              <a:rPr lang="en-US" altLang="ja-JP" sz="3600" b="1" kern="10" cap="all"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latin typeface="Arial" pitchFamily="34" charset="0"/>
                <a:ea typeface="ＭＳ Ｐゴシック"/>
                <a:cs typeface="Arial" pitchFamily="34" charset="0"/>
              </a:rPr>
              <a:t>Thank </a:t>
            </a:r>
            <a:r>
              <a:rPr lang="en-US" altLang="ja-JP" sz="3600" b="1" kern="10" cap="all" dirty="0"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latin typeface="Arial" pitchFamily="34" charset="0"/>
                <a:ea typeface="ＭＳ Ｐゴシック"/>
                <a:cs typeface="Arial" pitchFamily="34" charset="0"/>
              </a:rPr>
              <a:t>you </a:t>
            </a:r>
          </a:p>
        </p:txBody>
      </p:sp>
      <p:pic>
        <p:nvPicPr>
          <p:cNvPr id="3" name="Picture 2"/>
          <p:cNvPicPr>
            <a:picLocks noChangeAspect="1"/>
          </p:cNvPicPr>
          <p:nvPr/>
        </p:nvPicPr>
        <p:blipFill>
          <a:blip r:embed="rId2"/>
          <a:srcRect/>
          <a:stretch>
            <a:fillRect/>
          </a:stretch>
        </p:blipFill>
        <p:spPr bwMode="auto">
          <a:xfrm>
            <a:off x="107504" y="116632"/>
            <a:ext cx="1979613" cy="1168400"/>
          </a:xfrm>
          <a:prstGeom prst="rect">
            <a:avLst/>
          </a:prstGeom>
          <a:noFill/>
          <a:ln w="9525">
            <a:noFill/>
            <a:miter lim="800000"/>
            <a:headEnd/>
            <a:tailEnd/>
          </a:ln>
        </p:spPr>
      </p:pic>
      <p:sp>
        <p:nvSpPr>
          <p:cNvPr id="2" name="スライド番号プレースホルダー 1"/>
          <p:cNvSpPr>
            <a:spLocks noGrp="1"/>
          </p:cNvSpPr>
          <p:nvPr>
            <p:ph type="sldNum" sz="quarter" idx="12"/>
          </p:nvPr>
        </p:nvSpPr>
        <p:spPr/>
        <p:txBody>
          <a:bodyPr/>
          <a:lstStyle/>
          <a:p>
            <a:fld id="{7F5CE407-6216-4202-80E4-A30DC2F709B2}" type="slidenum">
              <a:rPr lang="en-US" smtClean="0"/>
              <a:pPr/>
              <a:t>20</a:t>
            </a:fld>
            <a:endParaRPr lang="en-US"/>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Freeform 4"/>
          <p:cNvSpPr>
            <a:spLocks/>
          </p:cNvSpPr>
          <p:nvPr>
            <p:custDataLst>
              <p:tags r:id="rId1"/>
            </p:custDataLst>
          </p:nvPr>
        </p:nvSpPr>
        <p:spPr bwMode="auto">
          <a:xfrm>
            <a:off x="2519363" y="5394325"/>
            <a:ext cx="33337" cy="57150"/>
          </a:xfrm>
          <a:custGeom>
            <a:avLst/>
            <a:gdLst>
              <a:gd name="T0" fmla="*/ 0 w 73"/>
              <a:gd name="T1" fmla="*/ 0 h 20"/>
              <a:gd name="T2" fmla="*/ 2147483647 w 73"/>
              <a:gd name="T3" fmla="*/ 2147483647 h 20"/>
              <a:gd name="T4" fmla="*/ 2147483647 w 73"/>
              <a:gd name="T5" fmla="*/ 2147483647 h 20"/>
              <a:gd name="T6" fmla="*/ 2147483647 w 73"/>
              <a:gd name="T7" fmla="*/ 2147483647 h 20"/>
              <a:gd name="T8" fmla="*/ 2147483647 w 73"/>
              <a:gd name="T9" fmla="*/ 2147483647 h 20"/>
              <a:gd name="T10" fmla="*/ 2147483647 w 73"/>
              <a:gd name="T11" fmla="*/ 2147483647 h 20"/>
              <a:gd name="T12" fmla="*/ 2147483647 w 73"/>
              <a:gd name="T13" fmla="*/ 2147483647 h 20"/>
              <a:gd name="T14" fmla="*/ 2147483647 w 73"/>
              <a:gd name="T15" fmla="*/ 2147483647 h 20"/>
              <a:gd name="T16" fmla="*/ 2147483647 w 73"/>
              <a:gd name="T17" fmla="*/ 2147483647 h 20"/>
              <a:gd name="T18" fmla="*/ 2147483647 w 73"/>
              <a:gd name="T19" fmla="*/ 2147483647 h 20"/>
              <a:gd name="T20" fmla="*/ 2147483647 w 73"/>
              <a:gd name="T21" fmla="*/ 2147483647 h 20"/>
              <a:gd name="T22" fmla="*/ 2147483647 w 73"/>
              <a:gd name="T23" fmla="*/ 2147483647 h 20"/>
              <a:gd name="T24" fmla="*/ 2147483647 w 73"/>
              <a:gd name="T25" fmla="*/ 2147483647 h 20"/>
              <a:gd name="T26" fmla="*/ 2147483647 w 73"/>
              <a:gd name="T27" fmla="*/ 2147483647 h 20"/>
              <a:gd name="T28" fmla="*/ 2147483647 w 73"/>
              <a:gd name="T29" fmla="*/ 2147483647 h 20"/>
              <a:gd name="T30" fmla="*/ 2147483647 w 73"/>
              <a:gd name="T31" fmla="*/ 2147483647 h 20"/>
              <a:gd name="T32" fmla="*/ 214748364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mpd="sng">
            <a:solidFill>
              <a:srgbClr val="FFFFFF"/>
            </a:solidFill>
            <a:prstDash val="solid"/>
            <a:round/>
            <a:headEnd/>
            <a:tailEnd/>
          </a:ln>
        </p:spPr>
        <p:txBody>
          <a:bodyPr/>
          <a:lstStyle/>
          <a:p>
            <a:endParaRPr lang="en-AU"/>
          </a:p>
        </p:txBody>
      </p:sp>
      <p:sp>
        <p:nvSpPr>
          <p:cNvPr id="2051" name="Freeform 5"/>
          <p:cNvSpPr>
            <a:spLocks/>
          </p:cNvSpPr>
          <p:nvPr>
            <p:custDataLst>
              <p:tags r:id="rId2"/>
            </p:custDataLst>
          </p:nvPr>
        </p:nvSpPr>
        <p:spPr bwMode="auto">
          <a:xfrm>
            <a:off x="677863" y="1495425"/>
            <a:ext cx="784225" cy="446088"/>
          </a:xfrm>
          <a:custGeom>
            <a:avLst/>
            <a:gdLst>
              <a:gd name="T0" fmla="*/ 2147483647 w 1808"/>
              <a:gd name="T1" fmla="*/ 2147483647 h 850"/>
              <a:gd name="T2" fmla="*/ 2147483647 w 1808"/>
              <a:gd name="T3" fmla="*/ 2147483647 h 850"/>
              <a:gd name="T4" fmla="*/ 2147483647 w 1808"/>
              <a:gd name="T5" fmla="*/ 2147483647 h 850"/>
              <a:gd name="T6" fmla="*/ 2147483647 w 1808"/>
              <a:gd name="T7" fmla="*/ 2147483647 h 850"/>
              <a:gd name="T8" fmla="*/ 2147483647 w 1808"/>
              <a:gd name="T9" fmla="*/ 2147483647 h 850"/>
              <a:gd name="T10" fmla="*/ 2147483647 w 1808"/>
              <a:gd name="T11" fmla="*/ 2147483647 h 850"/>
              <a:gd name="T12" fmla="*/ 2147483647 w 1808"/>
              <a:gd name="T13" fmla="*/ 2147483647 h 850"/>
              <a:gd name="T14" fmla="*/ 2147483647 w 1808"/>
              <a:gd name="T15" fmla="*/ 2147483647 h 850"/>
              <a:gd name="T16" fmla="*/ 2147483647 w 1808"/>
              <a:gd name="T17" fmla="*/ 2147483647 h 850"/>
              <a:gd name="T18" fmla="*/ 2147483647 w 1808"/>
              <a:gd name="T19" fmla="*/ 2147483647 h 850"/>
              <a:gd name="T20" fmla="*/ 2147483647 w 1808"/>
              <a:gd name="T21" fmla="*/ 2147483647 h 850"/>
              <a:gd name="T22" fmla="*/ 2147483647 w 1808"/>
              <a:gd name="T23" fmla="*/ 2147483647 h 850"/>
              <a:gd name="T24" fmla="*/ 2147483647 w 1808"/>
              <a:gd name="T25" fmla="*/ 2147483647 h 850"/>
              <a:gd name="T26" fmla="*/ 2147483647 w 1808"/>
              <a:gd name="T27" fmla="*/ 2147483647 h 850"/>
              <a:gd name="T28" fmla="*/ 2147483647 w 1808"/>
              <a:gd name="T29" fmla="*/ 2147483647 h 850"/>
              <a:gd name="T30" fmla="*/ 2147483647 w 1808"/>
              <a:gd name="T31" fmla="*/ 2147483647 h 850"/>
              <a:gd name="T32" fmla="*/ 2147483647 w 1808"/>
              <a:gd name="T33" fmla="*/ 2147483647 h 850"/>
              <a:gd name="T34" fmla="*/ 2147483647 w 1808"/>
              <a:gd name="T35" fmla="*/ 2147483647 h 850"/>
              <a:gd name="T36" fmla="*/ 2147483647 w 1808"/>
              <a:gd name="T37" fmla="*/ 2147483647 h 850"/>
              <a:gd name="T38" fmla="*/ 2147483647 w 1808"/>
              <a:gd name="T39" fmla="*/ 2147483647 h 850"/>
              <a:gd name="T40" fmla="*/ 2147483647 w 1808"/>
              <a:gd name="T41" fmla="*/ 2147483647 h 850"/>
              <a:gd name="T42" fmla="*/ 2147483647 w 1808"/>
              <a:gd name="T43" fmla="*/ 2147483647 h 850"/>
              <a:gd name="T44" fmla="*/ 2147483647 w 1808"/>
              <a:gd name="T45" fmla="*/ 2147483647 h 850"/>
              <a:gd name="T46" fmla="*/ 2147483647 w 1808"/>
              <a:gd name="T47" fmla="*/ 2147483647 h 850"/>
              <a:gd name="T48" fmla="*/ 2147483647 w 1808"/>
              <a:gd name="T49" fmla="*/ 2147483647 h 850"/>
              <a:gd name="T50" fmla="*/ 2147483647 w 1808"/>
              <a:gd name="T51" fmla="*/ 2147483647 h 850"/>
              <a:gd name="T52" fmla="*/ 2147483647 w 1808"/>
              <a:gd name="T53" fmla="*/ 2147483647 h 850"/>
              <a:gd name="T54" fmla="*/ 2147483647 w 1808"/>
              <a:gd name="T55" fmla="*/ 2147483647 h 850"/>
              <a:gd name="T56" fmla="*/ 2147483647 w 1808"/>
              <a:gd name="T57" fmla="*/ 2147483647 h 850"/>
              <a:gd name="T58" fmla="*/ 2147483647 w 1808"/>
              <a:gd name="T59" fmla="*/ 2147483647 h 850"/>
              <a:gd name="T60" fmla="*/ 2147483647 w 1808"/>
              <a:gd name="T61" fmla="*/ 2147483647 h 850"/>
              <a:gd name="T62" fmla="*/ 2147483647 w 1808"/>
              <a:gd name="T63" fmla="*/ 2147483647 h 850"/>
              <a:gd name="T64" fmla="*/ 2147483647 w 1808"/>
              <a:gd name="T65" fmla="*/ 2147483647 h 850"/>
              <a:gd name="T66" fmla="*/ 2147483647 w 1808"/>
              <a:gd name="T67" fmla="*/ 2147483647 h 850"/>
              <a:gd name="T68" fmla="*/ 2147483647 w 1808"/>
              <a:gd name="T69" fmla="*/ 2147483647 h 850"/>
              <a:gd name="T70" fmla="*/ 2147483647 w 1808"/>
              <a:gd name="T71" fmla="*/ 2147483647 h 850"/>
              <a:gd name="T72" fmla="*/ 2147483647 w 1808"/>
              <a:gd name="T73" fmla="*/ 2147483647 h 850"/>
              <a:gd name="T74" fmla="*/ 2147483647 w 1808"/>
              <a:gd name="T75" fmla="*/ 2147483647 h 850"/>
              <a:gd name="T76" fmla="*/ 2147483647 w 1808"/>
              <a:gd name="T77" fmla="*/ 2147483647 h 850"/>
              <a:gd name="T78" fmla="*/ 2147483647 w 1808"/>
              <a:gd name="T79" fmla="*/ 2147483647 h 850"/>
              <a:gd name="T80" fmla="*/ 2147483647 w 1808"/>
              <a:gd name="T81" fmla="*/ 2147483647 h 850"/>
              <a:gd name="T82" fmla="*/ 2147483647 w 1808"/>
              <a:gd name="T83" fmla="*/ 2147483647 h 850"/>
              <a:gd name="T84" fmla="*/ 2147483647 w 1808"/>
              <a:gd name="T85" fmla="*/ 2147483647 h 850"/>
              <a:gd name="T86" fmla="*/ 2147483647 w 1808"/>
              <a:gd name="T87" fmla="*/ 2147483647 h 850"/>
              <a:gd name="T88" fmla="*/ 2147483647 w 1808"/>
              <a:gd name="T89" fmla="*/ 2147483647 h 850"/>
              <a:gd name="T90" fmla="*/ 2147483647 w 1808"/>
              <a:gd name="T91" fmla="*/ 2147483647 h 850"/>
              <a:gd name="T92" fmla="*/ 2147483647 w 1808"/>
              <a:gd name="T93" fmla="*/ 2147483647 h 850"/>
              <a:gd name="T94" fmla="*/ 2147483647 w 1808"/>
              <a:gd name="T95" fmla="*/ 2147483647 h 850"/>
              <a:gd name="T96" fmla="*/ 2147483647 w 1808"/>
              <a:gd name="T97" fmla="*/ 2147483647 h 850"/>
              <a:gd name="T98" fmla="*/ 2147483647 w 1808"/>
              <a:gd name="T99" fmla="*/ 2147483647 h 850"/>
              <a:gd name="T100" fmla="*/ 2147483647 w 1808"/>
              <a:gd name="T101" fmla="*/ 2147483647 h 850"/>
              <a:gd name="T102" fmla="*/ 2147483647 w 1808"/>
              <a:gd name="T103" fmla="*/ 2147483647 h 850"/>
              <a:gd name="T104" fmla="*/ 2147483647 w 1808"/>
              <a:gd name="T105" fmla="*/ 2147483647 h 850"/>
              <a:gd name="T106" fmla="*/ 2147483647 w 1808"/>
              <a:gd name="T107" fmla="*/ 2147483647 h 850"/>
              <a:gd name="T108" fmla="*/ 2147483647 w 1808"/>
              <a:gd name="T109" fmla="*/ 2147483647 h 850"/>
              <a:gd name="T110" fmla="*/ 2147483647 w 1808"/>
              <a:gd name="T111" fmla="*/ 2147483647 h 850"/>
              <a:gd name="T112" fmla="*/ 2147483647 w 1808"/>
              <a:gd name="T113" fmla="*/ 2147483647 h 850"/>
              <a:gd name="T114" fmla="*/ 2147483647 w 1808"/>
              <a:gd name="T115" fmla="*/ 2147483647 h 850"/>
              <a:gd name="T116" fmla="*/ 2147483647 w 1808"/>
              <a:gd name="T117" fmla="*/ 2147483647 h 850"/>
              <a:gd name="T118" fmla="*/ 2147483647 w 1808"/>
              <a:gd name="T119" fmla="*/ 2147483647 h 850"/>
              <a:gd name="T120" fmla="*/ 2147483647 w 1808"/>
              <a:gd name="T121" fmla="*/ 2147483647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FF0000"/>
          </a:solidFill>
          <a:ln w="9525" cap="flat" cmpd="sng">
            <a:solidFill>
              <a:srgbClr val="FFFFFF"/>
            </a:solidFill>
            <a:prstDash val="solid"/>
            <a:round/>
            <a:headEnd type="none" w="med" len="med"/>
            <a:tailEnd type="none" w="med" len="med"/>
          </a:ln>
        </p:spPr>
        <p:txBody>
          <a:bodyPr/>
          <a:lstStyle/>
          <a:p>
            <a:endParaRPr lang="en-AU"/>
          </a:p>
        </p:txBody>
      </p:sp>
      <p:sp>
        <p:nvSpPr>
          <p:cNvPr id="2052" name="Freeform 6"/>
          <p:cNvSpPr>
            <a:spLocks/>
          </p:cNvSpPr>
          <p:nvPr>
            <p:custDataLst>
              <p:tags r:id="rId3"/>
            </p:custDataLst>
          </p:nvPr>
        </p:nvSpPr>
        <p:spPr bwMode="auto">
          <a:xfrm>
            <a:off x="1138238" y="2111375"/>
            <a:ext cx="1381125" cy="769938"/>
          </a:xfrm>
          <a:custGeom>
            <a:avLst/>
            <a:gdLst>
              <a:gd name="T0" fmla="*/ 2147483647 w 3175"/>
              <a:gd name="T1" fmla="*/ 2147483647 h 1472"/>
              <a:gd name="T2" fmla="*/ 2147483647 w 3175"/>
              <a:gd name="T3" fmla="*/ 2147483647 h 1472"/>
              <a:gd name="T4" fmla="*/ 2147483647 w 3175"/>
              <a:gd name="T5" fmla="*/ 2147483647 h 1472"/>
              <a:gd name="T6" fmla="*/ 2147483647 w 3175"/>
              <a:gd name="T7" fmla="*/ 2147483647 h 1472"/>
              <a:gd name="T8" fmla="*/ 2147483647 w 3175"/>
              <a:gd name="T9" fmla="*/ 2147483647 h 1472"/>
              <a:gd name="T10" fmla="*/ 2147483647 w 3175"/>
              <a:gd name="T11" fmla="*/ 2147483647 h 1472"/>
              <a:gd name="T12" fmla="*/ 2147483647 w 3175"/>
              <a:gd name="T13" fmla="*/ 2147483647 h 1472"/>
              <a:gd name="T14" fmla="*/ 2147483647 w 3175"/>
              <a:gd name="T15" fmla="*/ 2147483647 h 1472"/>
              <a:gd name="T16" fmla="*/ 2147483647 w 3175"/>
              <a:gd name="T17" fmla="*/ 2147483647 h 1472"/>
              <a:gd name="T18" fmla="*/ 2147483647 w 3175"/>
              <a:gd name="T19" fmla="*/ 2147483647 h 1472"/>
              <a:gd name="T20" fmla="*/ 2147483647 w 3175"/>
              <a:gd name="T21" fmla="*/ 2147483647 h 1472"/>
              <a:gd name="T22" fmla="*/ 2147483647 w 3175"/>
              <a:gd name="T23" fmla="*/ 2147483647 h 1472"/>
              <a:gd name="T24" fmla="*/ 2147483647 w 3175"/>
              <a:gd name="T25" fmla="*/ 2147483647 h 1472"/>
              <a:gd name="T26" fmla="*/ 2147483647 w 3175"/>
              <a:gd name="T27" fmla="*/ 2147483647 h 1472"/>
              <a:gd name="T28" fmla="*/ 2147483647 w 3175"/>
              <a:gd name="T29" fmla="*/ 2147483647 h 1472"/>
              <a:gd name="T30" fmla="*/ 2147483647 w 3175"/>
              <a:gd name="T31" fmla="*/ 2147483647 h 1472"/>
              <a:gd name="T32" fmla="*/ 2147483647 w 3175"/>
              <a:gd name="T33" fmla="*/ 2147483647 h 1472"/>
              <a:gd name="T34" fmla="*/ 2147483647 w 3175"/>
              <a:gd name="T35" fmla="*/ 2147483647 h 1472"/>
              <a:gd name="T36" fmla="*/ 2147483647 w 3175"/>
              <a:gd name="T37" fmla="*/ 2147483647 h 1472"/>
              <a:gd name="T38" fmla="*/ 2147483647 w 3175"/>
              <a:gd name="T39" fmla="*/ 2147483647 h 1472"/>
              <a:gd name="T40" fmla="*/ 2147483647 w 3175"/>
              <a:gd name="T41" fmla="*/ 2147483647 h 1472"/>
              <a:gd name="T42" fmla="*/ 2147483647 w 3175"/>
              <a:gd name="T43" fmla="*/ 2147483647 h 1472"/>
              <a:gd name="T44" fmla="*/ 2147483647 w 3175"/>
              <a:gd name="T45" fmla="*/ 2147483647 h 1472"/>
              <a:gd name="T46" fmla="*/ 2147483647 w 3175"/>
              <a:gd name="T47" fmla="*/ 2147483647 h 1472"/>
              <a:gd name="T48" fmla="*/ 2147483647 w 3175"/>
              <a:gd name="T49" fmla="*/ 2147483647 h 1472"/>
              <a:gd name="T50" fmla="*/ 2147483647 w 3175"/>
              <a:gd name="T51" fmla="*/ 2147483647 h 1472"/>
              <a:gd name="T52" fmla="*/ 2147483647 w 3175"/>
              <a:gd name="T53" fmla="*/ 2147483647 h 1472"/>
              <a:gd name="T54" fmla="*/ 2147483647 w 3175"/>
              <a:gd name="T55" fmla="*/ 2147483647 h 1472"/>
              <a:gd name="T56" fmla="*/ 2147483647 w 3175"/>
              <a:gd name="T57" fmla="*/ 2147483647 h 1472"/>
              <a:gd name="T58" fmla="*/ 2147483647 w 3175"/>
              <a:gd name="T59" fmla="*/ 2147483647 h 1472"/>
              <a:gd name="T60" fmla="*/ 2147483647 w 3175"/>
              <a:gd name="T61" fmla="*/ 2147483647 h 1472"/>
              <a:gd name="T62" fmla="*/ 2147483647 w 3175"/>
              <a:gd name="T63" fmla="*/ 2147483647 h 1472"/>
              <a:gd name="T64" fmla="*/ 2147483647 w 3175"/>
              <a:gd name="T65" fmla="*/ 2147483647 h 1472"/>
              <a:gd name="T66" fmla="*/ 2147483647 w 3175"/>
              <a:gd name="T67" fmla="*/ 2147483647 h 1472"/>
              <a:gd name="T68" fmla="*/ 2147483647 w 3175"/>
              <a:gd name="T69" fmla="*/ 2147483647 h 1472"/>
              <a:gd name="T70" fmla="*/ 0 w 3175"/>
              <a:gd name="T71" fmla="*/ 2147483647 h 1472"/>
              <a:gd name="T72" fmla="*/ 2147483647 w 3175"/>
              <a:gd name="T73" fmla="*/ 2147483647 h 1472"/>
              <a:gd name="T74" fmla="*/ 2147483647 w 3175"/>
              <a:gd name="T75" fmla="*/ 2147483647 h 1472"/>
              <a:gd name="T76" fmla="*/ 2147483647 w 3175"/>
              <a:gd name="T77" fmla="*/ 2147483647 h 1472"/>
              <a:gd name="T78" fmla="*/ 2147483647 w 3175"/>
              <a:gd name="T79" fmla="*/ 2147483647 h 1472"/>
              <a:gd name="T80" fmla="*/ 2147483647 w 3175"/>
              <a:gd name="T81" fmla="*/ 0 h 1472"/>
              <a:gd name="T82" fmla="*/ 2147483647 w 3175"/>
              <a:gd name="T83" fmla="*/ 2147483647 h 1472"/>
              <a:gd name="T84" fmla="*/ 2147483647 w 3175"/>
              <a:gd name="T85" fmla="*/ 2147483647 h 1472"/>
              <a:gd name="T86" fmla="*/ 2147483647 w 3175"/>
              <a:gd name="T87" fmla="*/ 2147483647 h 1472"/>
              <a:gd name="T88" fmla="*/ 2147483647 w 3175"/>
              <a:gd name="T89" fmla="*/ 2147483647 h 1472"/>
              <a:gd name="T90" fmla="*/ 2147483647 w 3175"/>
              <a:gd name="T91" fmla="*/ 2147483647 h 1472"/>
              <a:gd name="T92" fmla="*/ 2147483647 w 3175"/>
              <a:gd name="T93" fmla="*/ 2147483647 h 1472"/>
              <a:gd name="T94" fmla="*/ 2147483647 w 3175"/>
              <a:gd name="T95" fmla="*/ 2147483647 h 1472"/>
              <a:gd name="T96" fmla="*/ 2147483647 w 3175"/>
              <a:gd name="T97" fmla="*/ 2147483647 h 1472"/>
              <a:gd name="T98" fmla="*/ 2147483647 w 3175"/>
              <a:gd name="T99" fmla="*/ 2147483647 h 1472"/>
              <a:gd name="T100" fmla="*/ 2147483647 w 3175"/>
              <a:gd name="T101" fmla="*/ 2147483647 h 1472"/>
              <a:gd name="T102" fmla="*/ 2147483647 w 3175"/>
              <a:gd name="T103" fmla="*/ 2147483647 h 1472"/>
              <a:gd name="T104" fmla="*/ 2147483647 w 3175"/>
              <a:gd name="T105" fmla="*/ 2147483647 h 1472"/>
              <a:gd name="T106" fmla="*/ 2147483647 w 3175"/>
              <a:gd name="T107" fmla="*/ 2147483647 h 1472"/>
              <a:gd name="T108" fmla="*/ 2147483647 w 3175"/>
              <a:gd name="T109" fmla="*/ 2147483647 h 1472"/>
              <a:gd name="T110" fmla="*/ 2147483647 w 3175"/>
              <a:gd name="T111" fmla="*/ 2147483647 h 1472"/>
              <a:gd name="T112" fmla="*/ 2147483647 w 3175"/>
              <a:gd name="T113" fmla="*/ 2147483647 h 1472"/>
              <a:gd name="T114" fmla="*/ 2147483647 w 3175"/>
              <a:gd name="T115" fmla="*/ 2147483647 h 1472"/>
              <a:gd name="T116" fmla="*/ 2147483647 w 3175"/>
              <a:gd name="T117" fmla="*/ 2147483647 h 1472"/>
              <a:gd name="T118" fmla="*/ 2147483647 w 3175"/>
              <a:gd name="T119" fmla="*/ 2147483647 h 1472"/>
              <a:gd name="T120" fmla="*/ 2147483647 w 3175"/>
              <a:gd name="T121" fmla="*/ 2147483647 h 1472"/>
              <a:gd name="T122" fmla="*/ 2147483647 w 3175"/>
              <a:gd name="T123" fmla="*/ 2147483647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FF0000"/>
          </a:solidFill>
          <a:ln w="9525" cmpd="sng">
            <a:solidFill>
              <a:srgbClr val="FFFFFF"/>
            </a:solidFill>
            <a:prstDash val="solid"/>
            <a:round/>
            <a:headEnd/>
            <a:tailEnd/>
          </a:ln>
        </p:spPr>
        <p:txBody>
          <a:bodyPr/>
          <a:lstStyle/>
          <a:p>
            <a:endParaRPr lang="en-AU"/>
          </a:p>
        </p:txBody>
      </p:sp>
      <p:sp>
        <p:nvSpPr>
          <p:cNvPr id="2053" name="Freeform 7"/>
          <p:cNvSpPr>
            <a:spLocks/>
          </p:cNvSpPr>
          <p:nvPr>
            <p:custDataLst>
              <p:tags r:id="rId4"/>
            </p:custDataLst>
          </p:nvPr>
        </p:nvSpPr>
        <p:spPr bwMode="auto">
          <a:xfrm>
            <a:off x="1971675" y="3662363"/>
            <a:ext cx="339725" cy="590550"/>
          </a:xfrm>
          <a:custGeom>
            <a:avLst/>
            <a:gdLst>
              <a:gd name="T0" fmla="*/ 2147483647 w 784"/>
              <a:gd name="T1" fmla="*/ 2147483647 h 1128"/>
              <a:gd name="T2" fmla="*/ 2147483647 w 784"/>
              <a:gd name="T3" fmla="*/ 2147483647 h 1128"/>
              <a:gd name="T4" fmla="*/ 2147483647 w 784"/>
              <a:gd name="T5" fmla="*/ 2147483647 h 1128"/>
              <a:gd name="T6" fmla="*/ 2147483647 w 784"/>
              <a:gd name="T7" fmla="*/ 2147483647 h 1128"/>
              <a:gd name="T8" fmla="*/ 2147483647 w 784"/>
              <a:gd name="T9" fmla="*/ 2147483647 h 1128"/>
              <a:gd name="T10" fmla="*/ 2147483647 w 784"/>
              <a:gd name="T11" fmla="*/ 2147483647 h 1128"/>
              <a:gd name="T12" fmla="*/ 2147483647 w 784"/>
              <a:gd name="T13" fmla="*/ 2147483647 h 1128"/>
              <a:gd name="T14" fmla="*/ 2147483647 w 784"/>
              <a:gd name="T15" fmla="*/ 2147483647 h 1128"/>
              <a:gd name="T16" fmla="*/ 2147483647 w 784"/>
              <a:gd name="T17" fmla="*/ 2147483647 h 1128"/>
              <a:gd name="T18" fmla="*/ 2147483647 w 784"/>
              <a:gd name="T19" fmla="*/ 2147483647 h 1128"/>
              <a:gd name="T20" fmla="*/ 2147483647 w 784"/>
              <a:gd name="T21" fmla="*/ 2147483647 h 1128"/>
              <a:gd name="T22" fmla="*/ 2147483647 w 784"/>
              <a:gd name="T23" fmla="*/ 2147483647 h 1128"/>
              <a:gd name="T24" fmla="*/ 2147483647 w 784"/>
              <a:gd name="T25" fmla="*/ 2147483647 h 1128"/>
              <a:gd name="T26" fmla="*/ 2147483647 w 784"/>
              <a:gd name="T27" fmla="*/ 2147483647 h 1128"/>
              <a:gd name="T28" fmla="*/ 2147483647 w 784"/>
              <a:gd name="T29" fmla="*/ 2147483647 h 1128"/>
              <a:gd name="T30" fmla="*/ 2147483647 w 784"/>
              <a:gd name="T31" fmla="*/ 2147483647 h 1128"/>
              <a:gd name="T32" fmla="*/ 2147483647 w 784"/>
              <a:gd name="T33" fmla="*/ 2147483647 h 1128"/>
              <a:gd name="T34" fmla="*/ 2147483647 w 784"/>
              <a:gd name="T35" fmla="*/ 2147483647 h 1128"/>
              <a:gd name="T36" fmla="*/ 2147483647 w 784"/>
              <a:gd name="T37" fmla="*/ 2147483647 h 1128"/>
              <a:gd name="T38" fmla="*/ 2147483647 w 784"/>
              <a:gd name="T39" fmla="*/ 2147483647 h 1128"/>
              <a:gd name="T40" fmla="*/ 2147483647 w 784"/>
              <a:gd name="T41" fmla="*/ 2147483647 h 1128"/>
              <a:gd name="T42" fmla="*/ 2147483647 w 784"/>
              <a:gd name="T43" fmla="*/ 2147483647 h 1128"/>
              <a:gd name="T44" fmla="*/ 2147483647 w 784"/>
              <a:gd name="T45" fmla="*/ 2147483647 h 1128"/>
              <a:gd name="T46" fmla="*/ 2147483647 w 784"/>
              <a:gd name="T47" fmla="*/ 2147483647 h 1128"/>
              <a:gd name="T48" fmla="*/ 2147483647 w 784"/>
              <a:gd name="T49" fmla="*/ 2147483647 h 1128"/>
              <a:gd name="T50" fmla="*/ 2147483647 w 784"/>
              <a:gd name="T51" fmla="*/ 2147483647 h 1128"/>
              <a:gd name="T52" fmla="*/ 2147483647 w 784"/>
              <a:gd name="T53" fmla="*/ 2147483647 h 1128"/>
              <a:gd name="T54" fmla="*/ 2147483647 w 784"/>
              <a:gd name="T55" fmla="*/ 2147483647 h 1128"/>
              <a:gd name="T56" fmla="*/ 2147483647 w 784"/>
              <a:gd name="T57" fmla="*/ 2147483647 h 1128"/>
              <a:gd name="T58" fmla="*/ 2147483647 w 784"/>
              <a:gd name="T59" fmla="*/ 2147483647 h 1128"/>
              <a:gd name="T60" fmla="*/ 2147483647 w 784"/>
              <a:gd name="T61" fmla="*/ 2147483647 h 1128"/>
              <a:gd name="T62" fmla="*/ 2147483647 w 784"/>
              <a:gd name="T63" fmla="*/ 2147483647 h 1128"/>
              <a:gd name="T64" fmla="*/ 2147483647 w 784"/>
              <a:gd name="T65" fmla="*/ 2147483647 h 1128"/>
              <a:gd name="T66" fmla="*/ 2147483647 w 784"/>
              <a:gd name="T67" fmla="*/ 2147483647 h 1128"/>
              <a:gd name="T68" fmla="*/ 0 w 784"/>
              <a:gd name="T69" fmla="*/ 2147483647 h 1128"/>
              <a:gd name="T70" fmla="*/ 2147483647 w 784"/>
              <a:gd name="T71" fmla="*/ 2147483647 h 1128"/>
              <a:gd name="T72" fmla="*/ 2147483647 w 784"/>
              <a:gd name="T73" fmla="*/ 2147483647 h 1128"/>
              <a:gd name="T74" fmla="*/ 2147483647 w 784"/>
              <a:gd name="T75" fmla="*/ 2147483647 h 1128"/>
              <a:gd name="T76" fmla="*/ 2147483647 w 784"/>
              <a:gd name="T77" fmla="*/ 2147483647 h 1128"/>
              <a:gd name="T78" fmla="*/ 2147483647 w 784"/>
              <a:gd name="T79" fmla="*/ 2147483647 h 1128"/>
              <a:gd name="T80" fmla="*/ 2147483647 w 784"/>
              <a:gd name="T81" fmla="*/ 2147483647 h 1128"/>
              <a:gd name="T82" fmla="*/ 2147483647 w 784"/>
              <a:gd name="T83" fmla="*/ 2147483647 h 1128"/>
              <a:gd name="T84" fmla="*/ 2147483647 w 784"/>
              <a:gd name="T85" fmla="*/ 2147483647 h 1128"/>
              <a:gd name="T86" fmla="*/ 2147483647 w 784"/>
              <a:gd name="T87" fmla="*/ 2147483647 h 1128"/>
              <a:gd name="T88" fmla="*/ 2147483647 w 784"/>
              <a:gd name="T89" fmla="*/ 2147483647 h 1128"/>
              <a:gd name="T90" fmla="*/ 2147483647 w 784"/>
              <a:gd name="T91" fmla="*/ 2147483647 h 1128"/>
              <a:gd name="T92" fmla="*/ 2147483647 w 784"/>
              <a:gd name="T93" fmla="*/ 2147483647 h 1128"/>
              <a:gd name="T94" fmla="*/ 2147483647 w 784"/>
              <a:gd name="T95" fmla="*/ 2147483647 h 1128"/>
              <a:gd name="T96" fmla="*/ 2147483647 w 784"/>
              <a:gd name="T97" fmla="*/ 2147483647 h 1128"/>
              <a:gd name="T98" fmla="*/ 2147483647 w 784"/>
              <a:gd name="T99" fmla="*/ 2147483647 h 1128"/>
              <a:gd name="T100" fmla="*/ 2147483647 w 784"/>
              <a:gd name="T101" fmla="*/ 2147483647 h 1128"/>
              <a:gd name="T102" fmla="*/ 2147483647 w 784"/>
              <a:gd name="T103" fmla="*/ 2147483647 h 1128"/>
              <a:gd name="T104" fmla="*/ 2147483647 w 784"/>
              <a:gd name="T105" fmla="*/ 2147483647 h 1128"/>
              <a:gd name="T106" fmla="*/ 2147483647 w 784"/>
              <a:gd name="T107" fmla="*/ 2147483647 h 1128"/>
              <a:gd name="T108" fmla="*/ 2147483647 w 784"/>
              <a:gd name="T109" fmla="*/ 2147483647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FF0000"/>
          </a:solidFill>
          <a:ln w="9525" cap="flat" cmpd="sng">
            <a:solidFill>
              <a:srgbClr val="FFFFFF"/>
            </a:solidFill>
            <a:prstDash val="solid"/>
            <a:round/>
            <a:headEnd type="none" w="med" len="med"/>
            <a:tailEnd type="none" w="med" len="med"/>
          </a:ln>
        </p:spPr>
        <p:txBody>
          <a:bodyPr/>
          <a:lstStyle/>
          <a:p>
            <a:endParaRPr lang="en-AU"/>
          </a:p>
        </p:txBody>
      </p:sp>
      <p:sp>
        <p:nvSpPr>
          <p:cNvPr id="2054" name="Freeform 8"/>
          <p:cNvSpPr>
            <a:spLocks/>
          </p:cNvSpPr>
          <p:nvPr>
            <p:custDataLst>
              <p:tags r:id="rId5"/>
            </p:custDataLst>
          </p:nvPr>
        </p:nvSpPr>
        <p:spPr bwMode="auto">
          <a:xfrm>
            <a:off x="2271713" y="4225925"/>
            <a:ext cx="261937" cy="1130300"/>
          </a:xfrm>
          <a:custGeom>
            <a:avLst/>
            <a:gdLst>
              <a:gd name="T0" fmla="*/ 183093 w 598"/>
              <a:gd name="T1" fmla="*/ 1058543 h 2158"/>
              <a:gd name="T2" fmla="*/ 149803 w 598"/>
              <a:gd name="T3" fmla="*/ 1023974 h 2158"/>
              <a:gd name="T4" fmla="*/ 148489 w 598"/>
              <a:gd name="T5" fmla="*/ 991500 h 2158"/>
              <a:gd name="T6" fmla="*/ 151118 w 598"/>
              <a:gd name="T7" fmla="*/ 965312 h 2158"/>
              <a:gd name="T8" fmla="*/ 158564 w 598"/>
              <a:gd name="T9" fmla="*/ 938076 h 2158"/>
              <a:gd name="T10" fmla="*/ 155060 w 598"/>
              <a:gd name="T11" fmla="*/ 911363 h 2158"/>
              <a:gd name="T12" fmla="*/ 145423 w 598"/>
              <a:gd name="T13" fmla="*/ 881508 h 2158"/>
              <a:gd name="T14" fmla="*/ 132721 w 598"/>
              <a:gd name="T15" fmla="*/ 828084 h 2158"/>
              <a:gd name="T16" fmla="*/ 98993 w 598"/>
              <a:gd name="T17" fmla="*/ 764707 h 2158"/>
              <a:gd name="T18" fmla="*/ 90232 w 598"/>
              <a:gd name="T19" fmla="*/ 723329 h 2158"/>
              <a:gd name="T20" fmla="*/ 95051 w 598"/>
              <a:gd name="T21" fmla="*/ 680380 h 2158"/>
              <a:gd name="T22" fmla="*/ 91109 w 598"/>
              <a:gd name="T23" fmla="*/ 646858 h 2158"/>
              <a:gd name="T24" fmla="*/ 81034 w 598"/>
              <a:gd name="T25" fmla="*/ 610194 h 2158"/>
              <a:gd name="T26" fmla="*/ 92423 w 598"/>
              <a:gd name="T27" fmla="*/ 588196 h 2158"/>
              <a:gd name="T28" fmla="*/ 85414 w 598"/>
              <a:gd name="T29" fmla="*/ 566721 h 2158"/>
              <a:gd name="T30" fmla="*/ 92423 w 598"/>
              <a:gd name="T31" fmla="*/ 536866 h 2158"/>
              <a:gd name="T32" fmla="*/ 91985 w 598"/>
              <a:gd name="T33" fmla="*/ 520106 h 2158"/>
              <a:gd name="T34" fmla="*/ 81910 w 598"/>
              <a:gd name="T35" fmla="*/ 485537 h 2158"/>
              <a:gd name="T36" fmla="*/ 59571 w 598"/>
              <a:gd name="T37" fmla="*/ 446254 h 2158"/>
              <a:gd name="T38" fmla="*/ 58695 w 598"/>
              <a:gd name="T39" fmla="*/ 359308 h 2158"/>
              <a:gd name="T40" fmla="*/ 80158 w 598"/>
              <a:gd name="T41" fmla="*/ 305883 h 2158"/>
              <a:gd name="T42" fmla="*/ 82786 w 598"/>
              <a:gd name="T43" fmla="*/ 273409 h 2158"/>
              <a:gd name="T44" fmla="*/ 70083 w 598"/>
              <a:gd name="T45" fmla="*/ 240411 h 2158"/>
              <a:gd name="T46" fmla="*/ 79720 w 598"/>
              <a:gd name="T47" fmla="*/ 212651 h 2158"/>
              <a:gd name="T48" fmla="*/ 100307 w 598"/>
              <a:gd name="T49" fmla="*/ 181225 h 2158"/>
              <a:gd name="T50" fmla="*/ 87604 w 598"/>
              <a:gd name="T51" fmla="*/ 161322 h 2158"/>
              <a:gd name="T52" fmla="*/ 64827 w 598"/>
              <a:gd name="T53" fmla="*/ 116277 h 2158"/>
              <a:gd name="T54" fmla="*/ 56505 w 598"/>
              <a:gd name="T55" fmla="*/ 65472 h 2158"/>
              <a:gd name="T56" fmla="*/ 39860 w 598"/>
              <a:gd name="T57" fmla="*/ 19380 h 2158"/>
              <a:gd name="T58" fmla="*/ 0 w 598"/>
              <a:gd name="T59" fmla="*/ 23046 h 2158"/>
              <a:gd name="T60" fmla="*/ 13579 w 598"/>
              <a:gd name="T61" fmla="*/ 104754 h 2158"/>
              <a:gd name="T62" fmla="*/ 18397 w 598"/>
              <a:gd name="T63" fmla="*/ 159227 h 2158"/>
              <a:gd name="T64" fmla="*/ 11827 w 598"/>
              <a:gd name="T65" fmla="*/ 195891 h 2158"/>
              <a:gd name="T66" fmla="*/ 22777 w 598"/>
              <a:gd name="T67" fmla="*/ 274457 h 2158"/>
              <a:gd name="T68" fmla="*/ 20149 w 598"/>
              <a:gd name="T69" fmla="*/ 339928 h 2158"/>
              <a:gd name="T70" fmla="*/ 15769 w 598"/>
              <a:gd name="T71" fmla="*/ 376068 h 2158"/>
              <a:gd name="T72" fmla="*/ 22777 w 598"/>
              <a:gd name="T73" fmla="*/ 401733 h 2158"/>
              <a:gd name="T74" fmla="*/ 28033 w 598"/>
              <a:gd name="T75" fmla="*/ 456205 h 2158"/>
              <a:gd name="T76" fmla="*/ 35480 w 598"/>
              <a:gd name="T77" fmla="*/ 478204 h 2158"/>
              <a:gd name="T78" fmla="*/ 31976 w 598"/>
              <a:gd name="T79" fmla="*/ 547342 h 2158"/>
              <a:gd name="T80" fmla="*/ 27595 w 598"/>
              <a:gd name="T81" fmla="*/ 603385 h 2158"/>
              <a:gd name="T82" fmla="*/ 17521 w 598"/>
              <a:gd name="T83" fmla="*/ 622241 h 2158"/>
              <a:gd name="T84" fmla="*/ 26281 w 598"/>
              <a:gd name="T85" fmla="*/ 658905 h 2158"/>
              <a:gd name="T86" fmla="*/ 46430 w 598"/>
              <a:gd name="T87" fmla="*/ 703426 h 2158"/>
              <a:gd name="T88" fmla="*/ 40736 w 598"/>
              <a:gd name="T89" fmla="*/ 731186 h 2158"/>
              <a:gd name="T90" fmla="*/ 46430 w 598"/>
              <a:gd name="T91" fmla="*/ 758946 h 2158"/>
              <a:gd name="T92" fmla="*/ 71836 w 598"/>
              <a:gd name="T93" fmla="*/ 768374 h 2158"/>
              <a:gd name="T94" fmla="*/ 91547 w 598"/>
              <a:gd name="T95" fmla="*/ 849034 h 2158"/>
              <a:gd name="T96" fmla="*/ 99431 w 598"/>
              <a:gd name="T97" fmla="*/ 895126 h 2158"/>
              <a:gd name="T98" fmla="*/ 66141 w 598"/>
              <a:gd name="T99" fmla="*/ 916077 h 2158"/>
              <a:gd name="T100" fmla="*/ 90671 w 598"/>
              <a:gd name="T101" fmla="*/ 930219 h 2158"/>
              <a:gd name="T102" fmla="*/ 109505 w 598"/>
              <a:gd name="T103" fmla="*/ 953265 h 2158"/>
              <a:gd name="T104" fmla="*/ 120456 w 598"/>
              <a:gd name="T105" fmla="*/ 979977 h 2158"/>
              <a:gd name="T106" fmla="*/ 134911 w 598"/>
              <a:gd name="T107" fmla="*/ 1027117 h 2158"/>
              <a:gd name="T108" fmla="*/ 157250 w 598"/>
              <a:gd name="T109" fmla="*/ 1054353 h 2158"/>
              <a:gd name="T110" fmla="*/ 172143 w 598"/>
              <a:gd name="T111" fmla="*/ 1072685 h 2158"/>
              <a:gd name="T112" fmla="*/ 185721 w 598"/>
              <a:gd name="T113" fmla="*/ 1086303 h 2158"/>
              <a:gd name="T114" fmla="*/ 203680 w 598"/>
              <a:gd name="T115" fmla="*/ 1105159 h 2158"/>
              <a:gd name="T116" fmla="*/ 227333 w 598"/>
              <a:gd name="T117" fmla="*/ 1120872 h 2158"/>
              <a:gd name="T118" fmla="*/ 235656 w 598"/>
              <a:gd name="T119" fmla="*/ 1126634 h 2158"/>
              <a:gd name="T120" fmla="*/ 256681 w 598"/>
              <a:gd name="T121" fmla="*/ 1098874 h 2158"/>
              <a:gd name="T122" fmla="*/ 258871 w 598"/>
              <a:gd name="T123" fmla="*/ 1084732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chemeClr val="accent3">
              <a:lumMod val="75000"/>
            </a:schemeClr>
          </a:solidFill>
          <a:ln w="9525" cap="flat" cmpd="sng">
            <a:solidFill>
              <a:srgbClr val="FFFFFF"/>
            </a:solidFill>
            <a:prstDash val="solid"/>
            <a:round/>
            <a:headEnd type="none" w="med" len="med"/>
            <a:tailEnd type="none" w="med" len="med"/>
          </a:ln>
          <a:effectLst/>
        </p:spPr>
        <p:txBody>
          <a:bodyPr/>
          <a:lstStyle/>
          <a:p>
            <a:pPr>
              <a:defRPr/>
            </a:pPr>
            <a:endParaRPr lang="en-AU"/>
          </a:p>
        </p:txBody>
      </p:sp>
      <p:sp>
        <p:nvSpPr>
          <p:cNvPr id="2055" name="Freeform 9"/>
          <p:cNvSpPr>
            <a:spLocks/>
          </p:cNvSpPr>
          <p:nvPr>
            <p:custDataLst>
              <p:tags r:id="rId6"/>
            </p:custDataLst>
          </p:nvPr>
        </p:nvSpPr>
        <p:spPr bwMode="auto">
          <a:xfrm>
            <a:off x="2176463" y="3508375"/>
            <a:ext cx="966787" cy="1203325"/>
          </a:xfrm>
          <a:custGeom>
            <a:avLst/>
            <a:gdLst>
              <a:gd name="T0" fmla="*/ 2147483647 w 2226"/>
              <a:gd name="T1" fmla="*/ 2147483647 h 2292"/>
              <a:gd name="T2" fmla="*/ 2147483647 w 2226"/>
              <a:gd name="T3" fmla="*/ 2147483647 h 2292"/>
              <a:gd name="T4" fmla="*/ 2147483647 w 2226"/>
              <a:gd name="T5" fmla="*/ 2147483647 h 2292"/>
              <a:gd name="T6" fmla="*/ 2147483647 w 2226"/>
              <a:gd name="T7" fmla="*/ 2147483647 h 2292"/>
              <a:gd name="T8" fmla="*/ 2147483647 w 2226"/>
              <a:gd name="T9" fmla="*/ 2147483647 h 2292"/>
              <a:gd name="T10" fmla="*/ 2147483647 w 2226"/>
              <a:gd name="T11" fmla="*/ 2147483647 h 2292"/>
              <a:gd name="T12" fmla="*/ 2147483647 w 2226"/>
              <a:gd name="T13" fmla="*/ 2147483647 h 2292"/>
              <a:gd name="T14" fmla="*/ 2147483647 w 2226"/>
              <a:gd name="T15" fmla="*/ 2147483647 h 2292"/>
              <a:gd name="T16" fmla="*/ 2147483647 w 2226"/>
              <a:gd name="T17" fmla="*/ 2147483647 h 2292"/>
              <a:gd name="T18" fmla="*/ 2147483647 w 2226"/>
              <a:gd name="T19" fmla="*/ 2147483647 h 2292"/>
              <a:gd name="T20" fmla="*/ 2147483647 w 2226"/>
              <a:gd name="T21" fmla="*/ 2147483647 h 2292"/>
              <a:gd name="T22" fmla="*/ 2147483647 w 2226"/>
              <a:gd name="T23" fmla="*/ 2147483647 h 2292"/>
              <a:gd name="T24" fmla="*/ 2147483647 w 2226"/>
              <a:gd name="T25" fmla="*/ 2147483647 h 2292"/>
              <a:gd name="T26" fmla="*/ 2147483647 w 2226"/>
              <a:gd name="T27" fmla="*/ 2147483647 h 2292"/>
              <a:gd name="T28" fmla="*/ 2147483647 w 2226"/>
              <a:gd name="T29" fmla="*/ 2147483647 h 2292"/>
              <a:gd name="T30" fmla="*/ 2147483647 w 2226"/>
              <a:gd name="T31" fmla="*/ 2147483647 h 2292"/>
              <a:gd name="T32" fmla="*/ 2147483647 w 2226"/>
              <a:gd name="T33" fmla="*/ 2147483647 h 2292"/>
              <a:gd name="T34" fmla="*/ 2147483647 w 2226"/>
              <a:gd name="T35" fmla="*/ 2147483647 h 2292"/>
              <a:gd name="T36" fmla="*/ 2147483647 w 2226"/>
              <a:gd name="T37" fmla="*/ 2147483647 h 2292"/>
              <a:gd name="T38" fmla="*/ 2147483647 w 2226"/>
              <a:gd name="T39" fmla="*/ 2147483647 h 2292"/>
              <a:gd name="T40" fmla="*/ 2147483647 w 2226"/>
              <a:gd name="T41" fmla="*/ 2147483647 h 2292"/>
              <a:gd name="T42" fmla="*/ 2147483647 w 2226"/>
              <a:gd name="T43" fmla="*/ 2147483647 h 2292"/>
              <a:gd name="T44" fmla="*/ 2147483647 w 2226"/>
              <a:gd name="T45" fmla="*/ 2147483647 h 2292"/>
              <a:gd name="T46" fmla="*/ 2147483647 w 2226"/>
              <a:gd name="T47" fmla="*/ 2147483647 h 2292"/>
              <a:gd name="T48" fmla="*/ 2147483647 w 2226"/>
              <a:gd name="T49" fmla="*/ 2147483647 h 2292"/>
              <a:gd name="T50" fmla="*/ 2147483647 w 2226"/>
              <a:gd name="T51" fmla="*/ 2147483647 h 2292"/>
              <a:gd name="T52" fmla="*/ 2147483647 w 2226"/>
              <a:gd name="T53" fmla="*/ 2147483647 h 2292"/>
              <a:gd name="T54" fmla="*/ 2147483647 w 2226"/>
              <a:gd name="T55" fmla="*/ 2147483647 h 2292"/>
              <a:gd name="T56" fmla="*/ 2147483647 w 2226"/>
              <a:gd name="T57" fmla="*/ 2147483647 h 2292"/>
              <a:gd name="T58" fmla="*/ 2147483647 w 2226"/>
              <a:gd name="T59" fmla="*/ 2147483647 h 2292"/>
              <a:gd name="T60" fmla="*/ 2147483647 w 2226"/>
              <a:gd name="T61" fmla="*/ 2147483647 h 2292"/>
              <a:gd name="T62" fmla="*/ 2147483647 w 2226"/>
              <a:gd name="T63" fmla="*/ 2147483647 h 2292"/>
              <a:gd name="T64" fmla="*/ 2147483647 w 2226"/>
              <a:gd name="T65" fmla="*/ 2147483647 h 2292"/>
              <a:gd name="T66" fmla="*/ 2147483647 w 2226"/>
              <a:gd name="T67" fmla="*/ 2147483647 h 2292"/>
              <a:gd name="T68" fmla="*/ 2147483647 w 2226"/>
              <a:gd name="T69" fmla="*/ 2147483647 h 2292"/>
              <a:gd name="T70" fmla="*/ 2147483647 w 2226"/>
              <a:gd name="T71" fmla="*/ 2147483647 h 2292"/>
              <a:gd name="T72" fmla="*/ 2147483647 w 2226"/>
              <a:gd name="T73" fmla="*/ 2147483647 h 2292"/>
              <a:gd name="T74" fmla="*/ 2147483647 w 2226"/>
              <a:gd name="T75" fmla="*/ 2147483647 h 2292"/>
              <a:gd name="T76" fmla="*/ 2147483647 w 2226"/>
              <a:gd name="T77" fmla="*/ 2147483647 h 2292"/>
              <a:gd name="T78" fmla="*/ 2147483647 w 2226"/>
              <a:gd name="T79" fmla="*/ 2147483647 h 2292"/>
              <a:gd name="T80" fmla="*/ 2147483647 w 2226"/>
              <a:gd name="T81" fmla="*/ 2147483647 h 2292"/>
              <a:gd name="T82" fmla="*/ 2147483647 w 2226"/>
              <a:gd name="T83" fmla="*/ 2147483647 h 2292"/>
              <a:gd name="T84" fmla="*/ 2147483647 w 2226"/>
              <a:gd name="T85" fmla="*/ 2147483647 h 2292"/>
              <a:gd name="T86" fmla="*/ 2147483647 w 2226"/>
              <a:gd name="T87" fmla="*/ 2147483647 h 2292"/>
              <a:gd name="T88" fmla="*/ 2147483647 w 2226"/>
              <a:gd name="T89" fmla="*/ 2147483647 h 2292"/>
              <a:gd name="T90" fmla="*/ 2147483647 w 2226"/>
              <a:gd name="T91" fmla="*/ 2147483647 h 2292"/>
              <a:gd name="T92" fmla="*/ 2147483647 w 2226"/>
              <a:gd name="T93" fmla="*/ 2147483647 h 2292"/>
              <a:gd name="T94" fmla="*/ 2147483647 w 2226"/>
              <a:gd name="T95" fmla="*/ 2147483647 h 2292"/>
              <a:gd name="T96" fmla="*/ 2147483647 w 2226"/>
              <a:gd name="T97" fmla="*/ 0 h 2292"/>
              <a:gd name="T98" fmla="*/ 2147483647 w 2226"/>
              <a:gd name="T99" fmla="*/ 2147483647 h 2292"/>
              <a:gd name="T100" fmla="*/ 2147483647 w 2226"/>
              <a:gd name="T101" fmla="*/ 2147483647 h 2292"/>
              <a:gd name="T102" fmla="*/ 2147483647 w 2226"/>
              <a:gd name="T103" fmla="*/ 2147483647 h 2292"/>
              <a:gd name="T104" fmla="*/ 2147483647 w 2226"/>
              <a:gd name="T105" fmla="*/ 2147483647 h 2292"/>
              <a:gd name="T106" fmla="*/ 2147483647 w 2226"/>
              <a:gd name="T107" fmla="*/ 2147483647 h 2292"/>
              <a:gd name="T108" fmla="*/ 2147483647 w 2226"/>
              <a:gd name="T109" fmla="*/ 2147483647 h 2292"/>
              <a:gd name="T110" fmla="*/ 2147483647 w 2226"/>
              <a:gd name="T111" fmla="*/ 2147483647 h 2292"/>
              <a:gd name="T112" fmla="*/ 2147483647 w 2226"/>
              <a:gd name="T113" fmla="*/ 2147483647 h 2292"/>
              <a:gd name="T114" fmla="*/ 2147483647 w 2226"/>
              <a:gd name="T115" fmla="*/ 2147483647 h 2292"/>
              <a:gd name="T116" fmla="*/ 2147483647 w 2226"/>
              <a:gd name="T117" fmla="*/ 2147483647 h 2292"/>
              <a:gd name="T118" fmla="*/ 2147483647 w 2226"/>
              <a:gd name="T119" fmla="*/ 2147483647 h 2292"/>
              <a:gd name="T120" fmla="*/ 2147483647 w 2226"/>
              <a:gd name="T121" fmla="*/ 2147483647 h 2292"/>
              <a:gd name="T122" fmla="*/ 2147483647 w 2226"/>
              <a:gd name="T123" fmla="*/ 2147483647 h 2292"/>
              <a:gd name="T124" fmla="*/ 2147483647 w 2226"/>
              <a:gd name="T125" fmla="*/ 2147483647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056" name="Freeform 10"/>
          <p:cNvSpPr>
            <a:spLocks/>
          </p:cNvSpPr>
          <p:nvPr>
            <p:custDataLst>
              <p:tags r:id="rId7"/>
            </p:custDataLst>
          </p:nvPr>
        </p:nvSpPr>
        <p:spPr bwMode="auto">
          <a:xfrm>
            <a:off x="4289425" y="2454275"/>
            <a:ext cx="69850" cy="49213"/>
          </a:xfrm>
          <a:custGeom>
            <a:avLst/>
            <a:gdLst>
              <a:gd name="T0" fmla="*/ 2147483647 w 161"/>
              <a:gd name="T1" fmla="*/ 0 h 93"/>
              <a:gd name="T2" fmla="*/ 2147483647 w 161"/>
              <a:gd name="T3" fmla="*/ 2147483647 h 93"/>
              <a:gd name="T4" fmla="*/ 2147483647 w 161"/>
              <a:gd name="T5" fmla="*/ 2147483647 h 93"/>
              <a:gd name="T6" fmla="*/ 2147483647 w 161"/>
              <a:gd name="T7" fmla="*/ 2147483647 h 93"/>
              <a:gd name="T8" fmla="*/ 2147483647 w 161"/>
              <a:gd name="T9" fmla="*/ 2147483647 h 93"/>
              <a:gd name="T10" fmla="*/ 2147483647 w 161"/>
              <a:gd name="T11" fmla="*/ 2147483647 h 93"/>
              <a:gd name="T12" fmla="*/ 2147483647 w 161"/>
              <a:gd name="T13" fmla="*/ 2147483647 h 93"/>
              <a:gd name="T14" fmla="*/ 2147483647 w 161"/>
              <a:gd name="T15" fmla="*/ 0 h 93"/>
              <a:gd name="T16" fmla="*/ 2147483647 w 161"/>
              <a:gd name="T17" fmla="*/ 0 h 93"/>
              <a:gd name="T18" fmla="*/ 2147483647 w 161"/>
              <a:gd name="T19" fmla="*/ 0 h 93"/>
              <a:gd name="T20" fmla="*/ 2147483647 w 161"/>
              <a:gd name="T21" fmla="*/ 2147483647 h 93"/>
              <a:gd name="T22" fmla="*/ 2147483647 w 161"/>
              <a:gd name="T23" fmla="*/ 2147483647 h 93"/>
              <a:gd name="T24" fmla="*/ 2147483647 w 161"/>
              <a:gd name="T25" fmla="*/ 2147483647 h 93"/>
              <a:gd name="T26" fmla="*/ 2147483647 w 161"/>
              <a:gd name="T27" fmla="*/ 2147483647 h 93"/>
              <a:gd name="T28" fmla="*/ 2147483647 w 161"/>
              <a:gd name="T29" fmla="*/ 2147483647 h 93"/>
              <a:gd name="T30" fmla="*/ 2147483647 w 161"/>
              <a:gd name="T31" fmla="*/ 2147483647 h 93"/>
              <a:gd name="T32" fmla="*/ 2147483647 w 161"/>
              <a:gd name="T33" fmla="*/ 2147483647 h 93"/>
              <a:gd name="T34" fmla="*/ 2147483647 w 161"/>
              <a:gd name="T35" fmla="*/ 2147483647 h 93"/>
              <a:gd name="T36" fmla="*/ 2147483647 w 161"/>
              <a:gd name="T37" fmla="*/ 2147483647 h 93"/>
              <a:gd name="T38" fmla="*/ 2147483647 w 161"/>
              <a:gd name="T39" fmla="*/ 2147483647 h 93"/>
              <a:gd name="T40" fmla="*/ 2147483647 w 161"/>
              <a:gd name="T41" fmla="*/ 2147483647 h 93"/>
              <a:gd name="T42" fmla="*/ 2147483647 w 161"/>
              <a:gd name="T43" fmla="*/ 2147483647 h 93"/>
              <a:gd name="T44" fmla="*/ 2147483647 w 161"/>
              <a:gd name="T45" fmla="*/ 2147483647 h 93"/>
              <a:gd name="T46" fmla="*/ 2147483647 w 161"/>
              <a:gd name="T47" fmla="*/ 2147483647 h 93"/>
              <a:gd name="T48" fmla="*/ 2147483647 w 161"/>
              <a:gd name="T49" fmla="*/ 2147483647 h 93"/>
              <a:gd name="T50" fmla="*/ 2147483647 w 161"/>
              <a:gd name="T51" fmla="*/ 2147483647 h 93"/>
              <a:gd name="T52" fmla="*/ 2147483647 w 161"/>
              <a:gd name="T53" fmla="*/ 2147483647 h 93"/>
              <a:gd name="T54" fmla="*/ 2147483647 w 161"/>
              <a:gd name="T55" fmla="*/ 2147483647 h 93"/>
              <a:gd name="T56" fmla="*/ 2147483647 w 161"/>
              <a:gd name="T57" fmla="*/ 2147483647 h 93"/>
              <a:gd name="T58" fmla="*/ 2147483647 w 161"/>
              <a:gd name="T59" fmla="*/ 2147483647 h 93"/>
              <a:gd name="T60" fmla="*/ 2147483647 w 161"/>
              <a:gd name="T61" fmla="*/ 2147483647 h 93"/>
              <a:gd name="T62" fmla="*/ 2147483647 w 161"/>
              <a:gd name="T63" fmla="*/ 2147483647 h 93"/>
              <a:gd name="T64" fmla="*/ 2147483647 w 161"/>
              <a:gd name="T65" fmla="*/ 2147483647 h 93"/>
              <a:gd name="T66" fmla="*/ 2147483647 w 161"/>
              <a:gd name="T67" fmla="*/ 2147483647 h 93"/>
              <a:gd name="T68" fmla="*/ 2147483647 w 161"/>
              <a:gd name="T69" fmla="*/ 2147483647 h 93"/>
              <a:gd name="T70" fmla="*/ 2147483647 w 161"/>
              <a:gd name="T71" fmla="*/ 2147483647 h 93"/>
              <a:gd name="T72" fmla="*/ 0 w 161"/>
              <a:gd name="T73" fmla="*/ 0 h 93"/>
              <a:gd name="T74" fmla="*/ 2147483647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057" name="Freeform 11"/>
          <p:cNvSpPr>
            <a:spLocks/>
          </p:cNvSpPr>
          <p:nvPr>
            <p:custDataLst>
              <p:tags r:id="rId8"/>
            </p:custDataLst>
          </p:nvPr>
        </p:nvSpPr>
        <p:spPr bwMode="auto">
          <a:xfrm>
            <a:off x="3787775" y="2328863"/>
            <a:ext cx="82550" cy="160337"/>
          </a:xfrm>
          <a:custGeom>
            <a:avLst/>
            <a:gdLst>
              <a:gd name="T0" fmla="*/ 2147483647 w 192"/>
              <a:gd name="T1" fmla="*/ 2147483647 h 307"/>
              <a:gd name="T2" fmla="*/ 2147483647 w 192"/>
              <a:gd name="T3" fmla="*/ 0 h 307"/>
              <a:gd name="T4" fmla="*/ 2147483647 w 192"/>
              <a:gd name="T5" fmla="*/ 2147483647 h 307"/>
              <a:gd name="T6" fmla="*/ 2147483647 w 192"/>
              <a:gd name="T7" fmla="*/ 2147483647 h 307"/>
              <a:gd name="T8" fmla="*/ 2147483647 w 192"/>
              <a:gd name="T9" fmla="*/ 2147483647 h 307"/>
              <a:gd name="T10" fmla="*/ 2147483647 w 192"/>
              <a:gd name="T11" fmla="*/ 2147483647 h 307"/>
              <a:gd name="T12" fmla="*/ 2147483647 w 192"/>
              <a:gd name="T13" fmla="*/ 2147483647 h 307"/>
              <a:gd name="T14" fmla="*/ 2147483647 w 192"/>
              <a:gd name="T15" fmla="*/ 2147483647 h 307"/>
              <a:gd name="T16" fmla="*/ 2147483647 w 192"/>
              <a:gd name="T17" fmla="*/ 2147483647 h 307"/>
              <a:gd name="T18" fmla="*/ 2147483647 w 192"/>
              <a:gd name="T19" fmla="*/ 2147483647 h 307"/>
              <a:gd name="T20" fmla="*/ 2147483647 w 192"/>
              <a:gd name="T21" fmla="*/ 2147483647 h 307"/>
              <a:gd name="T22" fmla="*/ 2147483647 w 192"/>
              <a:gd name="T23" fmla="*/ 2147483647 h 307"/>
              <a:gd name="T24" fmla="*/ 2147483647 w 192"/>
              <a:gd name="T25" fmla="*/ 2147483647 h 307"/>
              <a:gd name="T26" fmla="*/ 2147483647 w 192"/>
              <a:gd name="T27" fmla="*/ 2147483647 h 307"/>
              <a:gd name="T28" fmla="*/ 2147483647 w 192"/>
              <a:gd name="T29" fmla="*/ 2147483647 h 307"/>
              <a:gd name="T30" fmla="*/ 2147483647 w 192"/>
              <a:gd name="T31" fmla="*/ 2147483647 h 307"/>
              <a:gd name="T32" fmla="*/ 2147483647 w 192"/>
              <a:gd name="T33" fmla="*/ 2147483647 h 307"/>
              <a:gd name="T34" fmla="*/ 2147483647 w 192"/>
              <a:gd name="T35" fmla="*/ 2147483647 h 307"/>
              <a:gd name="T36" fmla="*/ 2147483647 w 192"/>
              <a:gd name="T37" fmla="*/ 2147483647 h 307"/>
              <a:gd name="T38" fmla="*/ 2147483647 w 192"/>
              <a:gd name="T39" fmla="*/ 2147483647 h 307"/>
              <a:gd name="T40" fmla="*/ 2147483647 w 192"/>
              <a:gd name="T41" fmla="*/ 2147483647 h 307"/>
              <a:gd name="T42" fmla="*/ 2147483647 w 192"/>
              <a:gd name="T43" fmla="*/ 2147483647 h 307"/>
              <a:gd name="T44" fmla="*/ 2147483647 w 192"/>
              <a:gd name="T45" fmla="*/ 2147483647 h 307"/>
              <a:gd name="T46" fmla="*/ 0 w 192"/>
              <a:gd name="T47" fmla="*/ 2147483647 h 307"/>
              <a:gd name="T48" fmla="*/ 0 w 192"/>
              <a:gd name="T49" fmla="*/ 2147483647 h 307"/>
              <a:gd name="T50" fmla="*/ 2147483647 w 192"/>
              <a:gd name="T51" fmla="*/ 2147483647 h 307"/>
              <a:gd name="T52" fmla="*/ 2147483647 w 192"/>
              <a:gd name="T53" fmla="*/ 2147483647 h 307"/>
              <a:gd name="T54" fmla="*/ 2147483647 w 192"/>
              <a:gd name="T55" fmla="*/ 2147483647 h 307"/>
              <a:gd name="T56" fmla="*/ 2147483647 w 192"/>
              <a:gd name="T57" fmla="*/ 2147483647 h 307"/>
              <a:gd name="T58" fmla="*/ 2147483647 w 192"/>
              <a:gd name="T59" fmla="*/ 2147483647 h 307"/>
              <a:gd name="T60" fmla="*/ 2147483647 w 192"/>
              <a:gd name="T61" fmla="*/ 2147483647 h 307"/>
              <a:gd name="T62" fmla="*/ 2147483647 w 192"/>
              <a:gd name="T63" fmla="*/ 2147483647 h 307"/>
              <a:gd name="T64" fmla="*/ 2147483647 w 192"/>
              <a:gd name="T65" fmla="*/ 2147483647 h 307"/>
              <a:gd name="T66" fmla="*/ 2147483647 w 192"/>
              <a:gd name="T67" fmla="*/ 2147483647 h 307"/>
              <a:gd name="T68" fmla="*/ 2147483647 w 192"/>
              <a:gd name="T69" fmla="*/ 2147483647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058" name="Freeform 12"/>
          <p:cNvSpPr>
            <a:spLocks/>
          </p:cNvSpPr>
          <p:nvPr>
            <p:custDataLst>
              <p:tags r:id="rId9"/>
            </p:custDataLst>
          </p:nvPr>
        </p:nvSpPr>
        <p:spPr bwMode="auto">
          <a:xfrm>
            <a:off x="3868738" y="1814513"/>
            <a:ext cx="171450" cy="269875"/>
          </a:xfrm>
          <a:custGeom>
            <a:avLst/>
            <a:gdLst>
              <a:gd name="T0" fmla="*/ 2147483647 w 398"/>
              <a:gd name="T1" fmla="*/ 2147483647 h 518"/>
              <a:gd name="T2" fmla="*/ 2147483647 w 398"/>
              <a:gd name="T3" fmla="*/ 2147483647 h 518"/>
              <a:gd name="T4" fmla="*/ 2147483647 w 398"/>
              <a:gd name="T5" fmla="*/ 2147483647 h 518"/>
              <a:gd name="T6" fmla="*/ 2147483647 w 398"/>
              <a:gd name="T7" fmla="*/ 2147483647 h 518"/>
              <a:gd name="T8" fmla="*/ 2147483647 w 398"/>
              <a:gd name="T9" fmla="*/ 2147483647 h 518"/>
              <a:gd name="T10" fmla="*/ 2147483647 w 398"/>
              <a:gd name="T11" fmla="*/ 2147483647 h 518"/>
              <a:gd name="T12" fmla="*/ 2147483647 w 398"/>
              <a:gd name="T13" fmla="*/ 2147483647 h 518"/>
              <a:gd name="T14" fmla="*/ 2147483647 w 398"/>
              <a:gd name="T15" fmla="*/ 2147483647 h 518"/>
              <a:gd name="T16" fmla="*/ 2147483647 w 398"/>
              <a:gd name="T17" fmla="*/ 2147483647 h 518"/>
              <a:gd name="T18" fmla="*/ 2147483647 w 398"/>
              <a:gd name="T19" fmla="*/ 2147483647 h 518"/>
              <a:gd name="T20" fmla="*/ 2147483647 w 398"/>
              <a:gd name="T21" fmla="*/ 2147483647 h 518"/>
              <a:gd name="T22" fmla="*/ 2147483647 w 398"/>
              <a:gd name="T23" fmla="*/ 2147483647 h 518"/>
              <a:gd name="T24" fmla="*/ 2147483647 w 398"/>
              <a:gd name="T25" fmla="*/ 2147483647 h 518"/>
              <a:gd name="T26" fmla="*/ 2147483647 w 398"/>
              <a:gd name="T27" fmla="*/ 2147483647 h 518"/>
              <a:gd name="T28" fmla="*/ 2147483647 w 398"/>
              <a:gd name="T29" fmla="*/ 2147483647 h 518"/>
              <a:gd name="T30" fmla="*/ 2147483647 w 398"/>
              <a:gd name="T31" fmla="*/ 2147483647 h 518"/>
              <a:gd name="T32" fmla="*/ 2147483647 w 398"/>
              <a:gd name="T33" fmla="*/ 2147483647 h 518"/>
              <a:gd name="T34" fmla="*/ 2147483647 w 398"/>
              <a:gd name="T35" fmla="*/ 2147483647 h 518"/>
              <a:gd name="T36" fmla="*/ 2147483647 w 398"/>
              <a:gd name="T37" fmla="*/ 2147483647 h 518"/>
              <a:gd name="T38" fmla="*/ 2147483647 w 398"/>
              <a:gd name="T39" fmla="*/ 2147483647 h 518"/>
              <a:gd name="T40" fmla="*/ 2147483647 w 398"/>
              <a:gd name="T41" fmla="*/ 2147483647 h 518"/>
              <a:gd name="T42" fmla="*/ 2147483647 w 398"/>
              <a:gd name="T43" fmla="*/ 2147483647 h 518"/>
              <a:gd name="T44" fmla="*/ 2147483647 w 398"/>
              <a:gd name="T45" fmla="*/ 2147483647 h 518"/>
              <a:gd name="T46" fmla="*/ 2147483647 w 398"/>
              <a:gd name="T47" fmla="*/ 2147483647 h 518"/>
              <a:gd name="T48" fmla="*/ 2147483647 w 398"/>
              <a:gd name="T49" fmla="*/ 2147483647 h 518"/>
              <a:gd name="T50" fmla="*/ 2147483647 w 398"/>
              <a:gd name="T51" fmla="*/ 2147483647 h 518"/>
              <a:gd name="T52" fmla="*/ 2147483647 w 398"/>
              <a:gd name="T53" fmla="*/ 2147483647 h 518"/>
              <a:gd name="T54" fmla="*/ 2147483647 w 398"/>
              <a:gd name="T55" fmla="*/ 2147483647 h 518"/>
              <a:gd name="T56" fmla="*/ 2147483647 w 398"/>
              <a:gd name="T57" fmla="*/ 2147483647 h 518"/>
              <a:gd name="T58" fmla="*/ 2147483647 w 398"/>
              <a:gd name="T59" fmla="*/ 2147483647 h 518"/>
              <a:gd name="T60" fmla="*/ 2147483647 w 398"/>
              <a:gd name="T61" fmla="*/ 2147483647 h 518"/>
              <a:gd name="T62" fmla="*/ 2147483647 w 398"/>
              <a:gd name="T63" fmla="*/ 2147483647 h 518"/>
              <a:gd name="T64" fmla="*/ 2147483647 w 398"/>
              <a:gd name="T65" fmla="*/ 2147483647 h 518"/>
              <a:gd name="T66" fmla="*/ 2147483647 w 398"/>
              <a:gd name="T67" fmla="*/ 2147483647 h 518"/>
              <a:gd name="T68" fmla="*/ 2147483647 w 398"/>
              <a:gd name="T69" fmla="*/ 2147483647 h 518"/>
              <a:gd name="T70" fmla="*/ 2147483647 w 398"/>
              <a:gd name="T71" fmla="*/ 2147483647 h 518"/>
              <a:gd name="T72" fmla="*/ 2147483647 w 398"/>
              <a:gd name="T73" fmla="*/ 2147483647 h 518"/>
              <a:gd name="T74" fmla="*/ 2147483647 w 398"/>
              <a:gd name="T75" fmla="*/ 2147483647 h 518"/>
              <a:gd name="T76" fmla="*/ 2147483647 w 398"/>
              <a:gd name="T77" fmla="*/ 2147483647 h 518"/>
              <a:gd name="T78" fmla="*/ 2147483647 w 398"/>
              <a:gd name="T79" fmla="*/ 2147483647 h 518"/>
              <a:gd name="T80" fmla="*/ 2147483647 w 398"/>
              <a:gd name="T81" fmla="*/ 2147483647 h 518"/>
              <a:gd name="T82" fmla="*/ 2147483647 w 398"/>
              <a:gd name="T83" fmla="*/ 2147483647 h 518"/>
              <a:gd name="T84" fmla="*/ 2147483647 w 398"/>
              <a:gd name="T85" fmla="*/ 2147483647 h 518"/>
              <a:gd name="T86" fmla="*/ 2147483647 w 398"/>
              <a:gd name="T87" fmla="*/ 2147483647 h 518"/>
              <a:gd name="T88" fmla="*/ 2147483647 w 398"/>
              <a:gd name="T89" fmla="*/ 2147483647 h 518"/>
              <a:gd name="T90" fmla="*/ 2147483647 w 398"/>
              <a:gd name="T91" fmla="*/ 2147483647 h 518"/>
              <a:gd name="T92" fmla="*/ 2147483647 w 398"/>
              <a:gd name="T93" fmla="*/ 2147483647 h 518"/>
              <a:gd name="T94" fmla="*/ 2147483647 w 398"/>
              <a:gd name="T95" fmla="*/ 2147483647 h 518"/>
              <a:gd name="T96" fmla="*/ 2147483647 w 398"/>
              <a:gd name="T97" fmla="*/ 2147483647 h 518"/>
              <a:gd name="T98" fmla="*/ 2147483647 w 398"/>
              <a:gd name="T99" fmla="*/ 2147483647 h 518"/>
              <a:gd name="T100" fmla="*/ 2147483647 w 398"/>
              <a:gd name="T101" fmla="*/ 2147483647 h 518"/>
              <a:gd name="T102" fmla="*/ 2147483647 w 398"/>
              <a:gd name="T103" fmla="*/ 2147483647 h 518"/>
              <a:gd name="T104" fmla="*/ 2147483647 w 398"/>
              <a:gd name="T105" fmla="*/ 2147483647 h 518"/>
              <a:gd name="T106" fmla="*/ 2147483647 w 398"/>
              <a:gd name="T107" fmla="*/ 2147483647 h 518"/>
              <a:gd name="T108" fmla="*/ 2147483647 w 398"/>
              <a:gd name="T109" fmla="*/ 2147483647 h 518"/>
              <a:gd name="T110" fmla="*/ 2147483647 w 398"/>
              <a:gd name="T111" fmla="*/ 2147483647 h 518"/>
              <a:gd name="T112" fmla="*/ 2147483647 w 398"/>
              <a:gd name="T113" fmla="*/ 2147483647 h 518"/>
              <a:gd name="T114" fmla="*/ 2147483647 w 398"/>
              <a:gd name="T115" fmla="*/ 2147483647 h 518"/>
              <a:gd name="T116" fmla="*/ 2147483647 w 398"/>
              <a:gd name="T117" fmla="*/ 2147483647 h 518"/>
              <a:gd name="T118" fmla="*/ 2147483647 w 398"/>
              <a:gd name="T119" fmla="*/ 2147483647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C0C0C0"/>
          </a:solidFill>
          <a:ln w="9525" cmpd="sng">
            <a:solidFill>
              <a:srgbClr val="FFFFFF"/>
            </a:solidFill>
            <a:prstDash val="solid"/>
            <a:round/>
            <a:headEnd/>
            <a:tailEnd/>
          </a:ln>
        </p:spPr>
        <p:txBody>
          <a:bodyPr/>
          <a:lstStyle/>
          <a:p>
            <a:endParaRPr lang="en-AU"/>
          </a:p>
        </p:txBody>
      </p:sp>
      <p:sp>
        <p:nvSpPr>
          <p:cNvPr id="2059" name="Freeform 13"/>
          <p:cNvSpPr>
            <a:spLocks/>
          </p:cNvSpPr>
          <p:nvPr>
            <p:custDataLst>
              <p:tags r:id="rId10"/>
            </p:custDataLst>
          </p:nvPr>
        </p:nvSpPr>
        <p:spPr bwMode="auto">
          <a:xfrm>
            <a:off x="4227513" y="2117725"/>
            <a:ext cx="169862" cy="76200"/>
          </a:xfrm>
          <a:custGeom>
            <a:avLst/>
            <a:gdLst>
              <a:gd name="T0" fmla="*/ 2147483647 w 382"/>
              <a:gd name="T1" fmla="*/ 2147483647 h 148"/>
              <a:gd name="T2" fmla="*/ 2147483647 w 382"/>
              <a:gd name="T3" fmla="*/ 2147483647 h 148"/>
              <a:gd name="T4" fmla="*/ 2147483647 w 382"/>
              <a:gd name="T5" fmla="*/ 2147483647 h 148"/>
              <a:gd name="T6" fmla="*/ 2147483647 w 382"/>
              <a:gd name="T7" fmla="*/ 2147483647 h 148"/>
              <a:gd name="T8" fmla="*/ 2147483647 w 382"/>
              <a:gd name="T9" fmla="*/ 2147483647 h 148"/>
              <a:gd name="T10" fmla="*/ 2147483647 w 382"/>
              <a:gd name="T11" fmla="*/ 2147483647 h 148"/>
              <a:gd name="T12" fmla="*/ 2147483647 w 382"/>
              <a:gd name="T13" fmla="*/ 2147483647 h 148"/>
              <a:gd name="T14" fmla="*/ 2147483647 w 382"/>
              <a:gd name="T15" fmla="*/ 2147483647 h 148"/>
              <a:gd name="T16" fmla="*/ 2147483647 w 382"/>
              <a:gd name="T17" fmla="*/ 2147483647 h 148"/>
              <a:gd name="T18" fmla="*/ 2147483647 w 382"/>
              <a:gd name="T19" fmla="*/ 2147483647 h 148"/>
              <a:gd name="T20" fmla="*/ 2147483647 w 382"/>
              <a:gd name="T21" fmla="*/ 2147483647 h 148"/>
              <a:gd name="T22" fmla="*/ 0 w 382"/>
              <a:gd name="T23" fmla="*/ 2147483647 h 148"/>
              <a:gd name="T24" fmla="*/ 2147483647 w 382"/>
              <a:gd name="T25" fmla="*/ 2147483647 h 148"/>
              <a:gd name="T26" fmla="*/ 2147483647 w 382"/>
              <a:gd name="T27" fmla="*/ 2147483647 h 148"/>
              <a:gd name="T28" fmla="*/ 2147483647 w 382"/>
              <a:gd name="T29" fmla="*/ 2147483647 h 148"/>
              <a:gd name="T30" fmla="*/ 2147483647 w 382"/>
              <a:gd name="T31" fmla="*/ 2147483647 h 148"/>
              <a:gd name="T32" fmla="*/ 2147483647 w 382"/>
              <a:gd name="T33" fmla="*/ 2147483647 h 148"/>
              <a:gd name="T34" fmla="*/ 2147483647 w 382"/>
              <a:gd name="T35" fmla="*/ 2147483647 h 148"/>
              <a:gd name="T36" fmla="*/ 2147483647 w 382"/>
              <a:gd name="T37" fmla="*/ 2147483647 h 148"/>
              <a:gd name="T38" fmla="*/ 2147483647 w 382"/>
              <a:gd name="T39" fmla="*/ 2147483647 h 148"/>
              <a:gd name="T40" fmla="*/ 2147483647 w 382"/>
              <a:gd name="T41" fmla="*/ 2147483647 h 148"/>
              <a:gd name="T42" fmla="*/ 2147483647 w 382"/>
              <a:gd name="T43" fmla="*/ 2147483647 h 148"/>
              <a:gd name="T44" fmla="*/ 2147483647 w 382"/>
              <a:gd name="T45" fmla="*/ 2147483647 h 148"/>
              <a:gd name="T46" fmla="*/ 2147483647 w 382"/>
              <a:gd name="T47" fmla="*/ 2147483647 h 148"/>
              <a:gd name="T48" fmla="*/ 2147483647 w 382"/>
              <a:gd name="T49" fmla="*/ 2147483647 h 148"/>
              <a:gd name="T50" fmla="*/ 2147483647 w 382"/>
              <a:gd name="T51" fmla="*/ 2147483647 h 148"/>
              <a:gd name="T52" fmla="*/ 2147483647 w 382"/>
              <a:gd name="T53" fmla="*/ 2147483647 h 148"/>
              <a:gd name="T54" fmla="*/ 2147483647 w 382"/>
              <a:gd name="T55" fmla="*/ 2147483647 h 148"/>
              <a:gd name="T56" fmla="*/ 2147483647 w 382"/>
              <a:gd name="T57" fmla="*/ 2147483647 h 148"/>
              <a:gd name="T58" fmla="*/ 2147483647 w 382"/>
              <a:gd name="T59" fmla="*/ 2147483647 h 148"/>
              <a:gd name="T60" fmla="*/ 2147483647 w 382"/>
              <a:gd name="T61" fmla="*/ 2147483647 h 148"/>
              <a:gd name="T62" fmla="*/ 2147483647 w 382"/>
              <a:gd name="T63" fmla="*/ 2147483647 h 148"/>
              <a:gd name="T64" fmla="*/ 2147483647 w 382"/>
              <a:gd name="T65" fmla="*/ 2147483647 h 148"/>
              <a:gd name="T66" fmla="*/ 2147483647 w 382"/>
              <a:gd name="T67" fmla="*/ 2147483647 h 148"/>
              <a:gd name="T68" fmla="*/ 2147483647 w 382"/>
              <a:gd name="T69" fmla="*/ 2147483647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060" name="Freeform 14"/>
          <p:cNvSpPr>
            <a:spLocks/>
          </p:cNvSpPr>
          <p:nvPr>
            <p:custDataLst>
              <p:tags r:id="rId11"/>
            </p:custDataLst>
          </p:nvPr>
        </p:nvSpPr>
        <p:spPr bwMode="auto">
          <a:xfrm>
            <a:off x="5719763" y="1966913"/>
            <a:ext cx="1281112" cy="1038225"/>
          </a:xfrm>
          <a:custGeom>
            <a:avLst/>
            <a:gdLst>
              <a:gd name="T0" fmla="*/ 2147483647 w 2936"/>
              <a:gd name="T1" fmla="*/ 2147483647 h 1983"/>
              <a:gd name="T2" fmla="*/ 2147483647 w 2936"/>
              <a:gd name="T3" fmla="*/ 2147483647 h 1983"/>
              <a:gd name="T4" fmla="*/ 2147483647 w 2936"/>
              <a:gd name="T5" fmla="*/ 2147483647 h 1983"/>
              <a:gd name="T6" fmla="*/ 2147483647 w 2936"/>
              <a:gd name="T7" fmla="*/ 2147483647 h 1983"/>
              <a:gd name="T8" fmla="*/ 2147483647 w 2936"/>
              <a:gd name="T9" fmla="*/ 2147483647 h 1983"/>
              <a:gd name="T10" fmla="*/ 2147483647 w 2936"/>
              <a:gd name="T11" fmla="*/ 2147483647 h 1983"/>
              <a:gd name="T12" fmla="*/ 2147483647 w 2936"/>
              <a:gd name="T13" fmla="*/ 2147483647 h 1983"/>
              <a:gd name="T14" fmla="*/ 2147483647 w 2936"/>
              <a:gd name="T15" fmla="*/ 2147483647 h 1983"/>
              <a:gd name="T16" fmla="*/ 2147483647 w 2936"/>
              <a:gd name="T17" fmla="*/ 2147483647 h 1983"/>
              <a:gd name="T18" fmla="*/ 2147483647 w 2936"/>
              <a:gd name="T19" fmla="*/ 2147483647 h 1983"/>
              <a:gd name="T20" fmla="*/ 2147483647 w 2936"/>
              <a:gd name="T21" fmla="*/ 2147483647 h 1983"/>
              <a:gd name="T22" fmla="*/ 2147483647 w 2936"/>
              <a:gd name="T23" fmla="*/ 2147483647 h 1983"/>
              <a:gd name="T24" fmla="*/ 2147483647 w 2936"/>
              <a:gd name="T25" fmla="*/ 2147483647 h 1983"/>
              <a:gd name="T26" fmla="*/ 2147483647 w 2936"/>
              <a:gd name="T27" fmla="*/ 2147483647 h 1983"/>
              <a:gd name="T28" fmla="*/ 2147483647 w 2936"/>
              <a:gd name="T29" fmla="*/ 2147483647 h 1983"/>
              <a:gd name="T30" fmla="*/ 2147483647 w 2936"/>
              <a:gd name="T31" fmla="*/ 2147483647 h 1983"/>
              <a:gd name="T32" fmla="*/ 2147483647 w 2936"/>
              <a:gd name="T33" fmla="*/ 2147483647 h 1983"/>
              <a:gd name="T34" fmla="*/ 2147483647 w 2936"/>
              <a:gd name="T35" fmla="*/ 2147483647 h 1983"/>
              <a:gd name="T36" fmla="*/ 2147483647 w 2936"/>
              <a:gd name="T37" fmla="*/ 2147483647 h 1983"/>
              <a:gd name="T38" fmla="*/ 2147483647 w 2936"/>
              <a:gd name="T39" fmla="*/ 2147483647 h 1983"/>
              <a:gd name="T40" fmla="*/ 2147483647 w 2936"/>
              <a:gd name="T41" fmla="*/ 2147483647 h 1983"/>
              <a:gd name="T42" fmla="*/ 2147483647 w 2936"/>
              <a:gd name="T43" fmla="*/ 2147483647 h 1983"/>
              <a:gd name="T44" fmla="*/ 2147483647 w 2936"/>
              <a:gd name="T45" fmla="*/ 2147483647 h 1983"/>
              <a:gd name="T46" fmla="*/ 2147483647 w 2936"/>
              <a:gd name="T47" fmla="*/ 2147483647 h 1983"/>
              <a:gd name="T48" fmla="*/ 2147483647 w 2936"/>
              <a:gd name="T49" fmla="*/ 2147483647 h 1983"/>
              <a:gd name="T50" fmla="*/ 2147483647 w 2936"/>
              <a:gd name="T51" fmla="*/ 2147483647 h 1983"/>
              <a:gd name="T52" fmla="*/ 2147483647 w 2936"/>
              <a:gd name="T53" fmla="*/ 2147483647 h 1983"/>
              <a:gd name="T54" fmla="*/ 2147483647 w 2936"/>
              <a:gd name="T55" fmla="*/ 2147483647 h 1983"/>
              <a:gd name="T56" fmla="*/ 2147483647 w 2936"/>
              <a:gd name="T57" fmla="*/ 2147483647 h 1983"/>
              <a:gd name="T58" fmla="*/ 2147483647 w 2936"/>
              <a:gd name="T59" fmla="*/ 2147483647 h 1983"/>
              <a:gd name="T60" fmla="*/ 2147483647 w 2936"/>
              <a:gd name="T61" fmla="*/ 2147483647 h 1983"/>
              <a:gd name="T62" fmla="*/ 2147483647 w 2936"/>
              <a:gd name="T63" fmla="*/ 2147483647 h 1983"/>
              <a:gd name="T64" fmla="*/ 2147483647 w 2936"/>
              <a:gd name="T65" fmla="*/ 2147483647 h 1983"/>
              <a:gd name="T66" fmla="*/ 2147483647 w 2936"/>
              <a:gd name="T67" fmla="*/ 2147483647 h 1983"/>
              <a:gd name="T68" fmla="*/ 2147483647 w 2936"/>
              <a:gd name="T69" fmla="*/ 2147483647 h 1983"/>
              <a:gd name="T70" fmla="*/ 2147483647 w 2936"/>
              <a:gd name="T71" fmla="*/ 2147483647 h 1983"/>
              <a:gd name="T72" fmla="*/ 2147483647 w 2936"/>
              <a:gd name="T73" fmla="*/ 2147483647 h 1983"/>
              <a:gd name="T74" fmla="*/ 2147483647 w 2936"/>
              <a:gd name="T75" fmla="*/ 2147483647 h 1983"/>
              <a:gd name="T76" fmla="*/ 2147483647 w 2936"/>
              <a:gd name="T77" fmla="*/ 2147483647 h 1983"/>
              <a:gd name="T78" fmla="*/ 2147483647 w 2936"/>
              <a:gd name="T79" fmla="*/ 2147483647 h 1983"/>
              <a:gd name="T80" fmla="*/ 2147483647 w 2936"/>
              <a:gd name="T81" fmla="*/ 2147483647 h 1983"/>
              <a:gd name="T82" fmla="*/ 2147483647 w 2936"/>
              <a:gd name="T83" fmla="*/ 2147483647 h 1983"/>
              <a:gd name="T84" fmla="*/ 2147483647 w 2936"/>
              <a:gd name="T85" fmla="*/ 2147483647 h 1983"/>
              <a:gd name="T86" fmla="*/ 2147483647 w 2936"/>
              <a:gd name="T87" fmla="*/ 2147483647 h 1983"/>
              <a:gd name="T88" fmla="*/ 2147483647 w 2936"/>
              <a:gd name="T89" fmla="*/ 2147483647 h 1983"/>
              <a:gd name="T90" fmla="*/ 2147483647 w 2936"/>
              <a:gd name="T91" fmla="*/ 2147483647 h 1983"/>
              <a:gd name="T92" fmla="*/ 2147483647 w 2936"/>
              <a:gd name="T93" fmla="*/ 2147483647 h 1983"/>
              <a:gd name="T94" fmla="*/ 2147483647 w 2936"/>
              <a:gd name="T95" fmla="*/ 2147483647 h 1983"/>
              <a:gd name="T96" fmla="*/ 2147483647 w 2936"/>
              <a:gd name="T97" fmla="*/ 2147483647 h 1983"/>
              <a:gd name="T98" fmla="*/ 2147483647 w 2936"/>
              <a:gd name="T99" fmla="*/ 2147483647 h 1983"/>
              <a:gd name="T100" fmla="*/ 2147483647 w 2936"/>
              <a:gd name="T101" fmla="*/ 2147483647 h 1983"/>
              <a:gd name="T102" fmla="*/ 2147483647 w 2936"/>
              <a:gd name="T103" fmla="*/ 2147483647 h 1983"/>
              <a:gd name="T104" fmla="*/ 2147483647 w 2936"/>
              <a:gd name="T105" fmla="*/ 2147483647 h 1983"/>
              <a:gd name="T106" fmla="*/ 2147483647 w 2936"/>
              <a:gd name="T107" fmla="*/ 2147483647 h 1983"/>
              <a:gd name="T108" fmla="*/ 2147483647 w 2936"/>
              <a:gd name="T109" fmla="*/ 2147483647 h 1983"/>
              <a:gd name="T110" fmla="*/ 2147483647 w 2936"/>
              <a:gd name="T111" fmla="*/ 2147483647 h 1983"/>
              <a:gd name="T112" fmla="*/ 2147483647 w 2936"/>
              <a:gd name="T113" fmla="*/ 2147483647 h 1983"/>
              <a:gd name="T114" fmla="*/ 2147483647 w 2936"/>
              <a:gd name="T115" fmla="*/ 2147483647 h 1983"/>
              <a:gd name="T116" fmla="*/ 2147483647 w 2936"/>
              <a:gd name="T117" fmla="*/ 2147483647 h 1983"/>
              <a:gd name="T118" fmla="*/ 2147483647 w 2936"/>
              <a:gd name="T119" fmla="*/ 2147483647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FF0000"/>
          </a:solidFill>
          <a:ln w="9525" cmpd="sng">
            <a:solidFill>
              <a:srgbClr val="FFFFFF"/>
            </a:solidFill>
            <a:prstDash val="solid"/>
            <a:round/>
            <a:headEnd/>
            <a:tailEnd/>
          </a:ln>
        </p:spPr>
        <p:txBody>
          <a:bodyPr/>
          <a:lstStyle/>
          <a:p>
            <a:endParaRPr lang="en-AU"/>
          </a:p>
        </p:txBody>
      </p:sp>
      <p:sp>
        <p:nvSpPr>
          <p:cNvPr id="2061" name="Freeform 15"/>
          <p:cNvSpPr>
            <a:spLocks/>
          </p:cNvSpPr>
          <p:nvPr>
            <p:custDataLst>
              <p:tags r:id="rId12"/>
            </p:custDataLst>
          </p:nvPr>
        </p:nvSpPr>
        <p:spPr bwMode="auto">
          <a:xfrm>
            <a:off x="4411663" y="1508125"/>
            <a:ext cx="220662" cy="273050"/>
          </a:xfrm>
          <a:custGeom>
            <a:avLst/>
            <a:gdLst>
              <a:gd name="T0" fmla="*/ 2147483647 w 504"/>
              <a:gd name="T1" fmla="*/ 2147483647 h 524"/>
              <a:gd name="T2" fmla="*/ 2147483647 w 504"/>
              <a:gd name="T3" fmla="*/ 2147483647 h 524"/>
              <a:gd name="T4" fmla="*/ 2147483647 w 504"/>
              <a:gd name="T5" fmla="*/ 2147483647 h 524"/>
              <a:gd name="T6" fmla="*/ 2147483647 w 504"/>
              <a:gd name="T7" fmla="*/ 2147483647 h 524"/>
              <a:gd name="T8" fmla="*/ 2147483647 w 504"/>
              <a:gd name="T9" fmla="*/ 2147483647 h 524"/>
              <a:gd name="T10" fmla="*/ 2147483647 w 504"/>
              <a:gd name="T11" fmla="*/ 2147483647 h 524"/>
              <a:gd name="T12" fmla="*/ 2147483647 w 504"/>
              <a:gd name="T13" fmla="*/ 2147483647 h 524"/>
              <a:gd name="T14" fmla="*/ 2147483647 w 504"/>
              <a:gd name="T15" fmla="*/ 2147483647 h 524"/>
              <a:gd name="T16" fmla="*/ 2147483647 w 504"/>
              <a:gd name="T17" fmla="*/ 2147483647 h 524"/>
              <a:gd name="T18" fmla="*/ 2147483647 w 504"/>
              <a:gd name="T19" fmla="*/ 2147483647 h 524"/>
              <a:gd name="T20" fmla="*/ 2147483647 w 504"/>
              <a:gd name="T21" fmla="*/ 2147483647 h 524"/>
              <a:gd name="T22" fmla="*/ 2147483647 w 504"/>
              <a:gd name="T23" fmla="*/ 2147483647 h 524"/>
              <a:gd name="T24" fmla="*/ 2147483647 w 504"/>
              <a:gd name="T25" fmla="*/ 2147483647 h 524"/>
              <a:gd name="T26" fmla="*/ 2147483647 w 504"/>
              <a:gd name="T27" fmla="*/ 2147483647 h 524"/>
              <a:gd name="T28" fmla="*/ 2147483647 w 504"/>
              <a:gd name="T29" fmla="*/ 2147483647 h 524"/>
              <a:gd name="T30" fmla="*/ 2147483647 w 504"/>
              <a:gd name="T31" fmla="*/ 2147483647 h 524"/>
              <a:gd name="T32" fmla="*/ 2147483647 w 504"/>
              <a:gd name="T33" fmla="*/ 2147483647 h 524"/>
              <a:gd name="T34" fmla="*/ 2147483647 w 504"/>
              <a:gd name="T35" fmla="*/ 2147483647 h 524"/>
              <a:gd name="T36" fmla="*/ 2147483647 w 504"/>
              <a:gd name="T37" fmla="*/ 2147483647 h 524"/>
              <a:gd name="T38" fmla="*/ 2147483647 w 504"/>
              <a:gd name="T39" fmla="*/ 2147483647 h 524"/>
              <a:gd name="T40" fmla="*/ 2147483647 w 504"/>
              <a:gd name="T41" fmla="*/ 2147483647 h 524"/>
              <a:gd name="T42" fmla="*/ 2147483647 w 504"/>
              <a:gd name="T43" fmla="*/ 2147483647 h 524"/>
              <a:gd name="T44" fmla="*/ 2147483647 w 504"/>
              <a:gd name="T45" fmla="*/ 2147483647 h 524"/>
              <a:gd name="T46" fmla="*/ 2147483647 w 504"/>
              <a:gd name="T47" fmla="*/ 2147483647 h 524"/>
              <a:gd name="T48" fmla="*/ 2147483647 w 504"/>
              <a:gd name="T49" fmla="*/ 2147483647 h 524"/>
              <a:gd name="T50" fmla="*/ 2147483647 w 504"/>
              <a:gd name="T51" fmla="*/ 2147483647 h 524"/>
              <a:gd name="T52" fmla="*/ 2147483647 w 504"/>
              <a:gd name="T53" fmla="*/ 2147483647 h 524"/>
              <a:gd name="T54" fmla="*/ 2147483647 w 504"/>
              <a:gd name="T55" fmla="*/ 2147483647 h 524"/>
              <a:gd name="T56" fmla="*/ 2147483647 w 504"/>
              <a:gd name="T57" fmla="*/ 2147483647 h 524"/>
              <a:gd name="T58" fmla="*/ 2147483647 w 504"/>
              <a:gd name="T59" fmla="*/ 2147483647 h 524"/>
              <a:gd name="T60" fmla="*/ 2147483647 w 504"/>
              <a:gd name="T61" fmla="*/ 2147483647 h 524"/>
              <a:gd name="T62" fmla="*/ 2147483647 w 504"/>
              <a:gd name="T63" fmla="*/ 2147483647 h 524"/>
              <a:gd name="T64" fmla="*/ 2147483647 w 504"/>
              <a:gd name="T65" fmla="*/ 2147483647 h 524"/>
              <a:gd name="T66" fmla="*/ 2147483647 w 504"/>
              <a:gd name="T67" fmla="*/ 2147483647 h 524"/>
              <a:gd name="T68" fmla="*/ 2147483647 w 504"/>
              <a:gd name="T69" fmla="*/ 2147483647 h 524"/>
              <a:gd name="T70" fmla="*/ 2147483647 w 504"/>
              <a:gd name="T71" fmla="*/ 2147483647 h 524"/>
              <a:gd name="T72" fmla="*/ 2147483647 w 504"/>
              <a:gd name="T73" fmla="*/ 2147483647 h 524"/>
              <a:gd name="T74" fmla="*/ 2147483647 w 504"/>
              <a:gd name="T75" fmla="*/ 0 h 524"/>
              <a:gd name="T76" fmla="*/ 2147483647 w 504"/>
              <a:gd name="T77" fmla="*/ 0 h 524"/>
              <a:gd name="T78" fmla="*/ 2147483647 w 504"/>
              <a:gd name="T79" fmla="*/ 2147483647 h 524"/>
              <a:gd name="T80" fmla="*/ 2147483647 w 504"/>
              <a:gd name="T81" fmla="*/ 2147483647 h 524"/>
              <a:gd name="T82" fmla="*/ 2147483647 w 504"/>
              <a:gd name="T83" fmla="*/ 2147483647 h 524"/>
              <a:gd name="T84" fmla="*/ 2147483647 w 504"/>
              <a:gd name="T85" fmla="*/ 2147483647 h 524"/>
              <a:gd name="T86" fmla="*/ 2147483647 w 504"/>
              <a:gd name="T87" fmla="*/ 2147483647 h 524"/>
              <a:gd name="T88" fmla="*/ 2147483647 w 504"/>
              <a:gd name="T89" fmla="*/ 2147483647 h 524"/>
              <a:gd name="T90" fmla="*/ 2147483647 w 504"/>
              <a:gd name="T91" fmla="*/ 2147483647 h 524"/>
              <a:gd name="T92" fmla="*/ 2147483647 w 504"/>
              <a:gd name="T93" fmla="*/ 2147483647 h 524"/>
              <a:gd name="T94" fmla="*/ 2147483647 w 504"/>
              <a:gd name="T95" fmla="*/ 2147483647 h 524"/>
              <a:gd name="T96" fmla="*/ 2147483647 w 504"/>
              <a:gd name="T97" fmla="*/ 2147483647 h 524"/>
              <a:gd name="T98" fmla="*/ 2147483647 w 504"/>
              <a:gd name="T99" fmla="*/ 2147483647 h 524"/>
              <a:gd name="T100" fmla="*/ 2147483647 w 504"/>
              <a:gd name="T101" fmla="*/ 2147483647 h 524"/>
              <a:gd name="T102" fmla="*/ 2147483647 w 504"/>
              <a:gd name="T103" fmla="*/ 2147483647 h 524"/>
              <a:gd name="T104" fmla="*/ 2147483647 w 504"/>
              <a:gd name="T105" fmla="*/ 2147483647 h 524"/>
              <a:gd name="T106" fmla="*/ 2147483647 w 504"/>
              <a:gd name="T107" fmla="*/ 2147483647 h 524"/>
              <a:gd name="T108" fmla="*/ 2147483647 w 504"/>
              <a:gd name="T109" fmla="*/ 2147483647 h 524"/>
              <a:gd name="T110" fmla="*/ 2147483647 w 504"/>
              <a:gd name="T111" fmla="*/ 214748364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062" name="Freeform 16"/>
          <p:cNvSpPr>
            <a:spLocks/>
          </p:cNvSpPr>
          <p:nvPr>
            <p:custDataLst>
              <p:tags r:id="rId13"/>
            </p:custDataLst>
          </p:nvPr>
        </p:nvSpPr>
        <p:spPr bwMode="auto">
          <a:xfrm>
            <a:off x="4148138" y="1925638"/>
            <a:ext cx="182562" cy="238125"/>
          </a:xfrm>
          <a:custGeom>
            <a:avLst/>
            <a:gdLst>
              <a:gd name="T0" fmla="*/ 2147483647 w 438"/>
              <a:gd name="T1" fmla="*/ 2147483647 h 451"/>
              <a:gd name="T2" fmla="*/ 2147483647 w 438"/>
              <a:gd name="T3" fmla="*/ 2147483647 h 451"/>
              <a:gd name="T4" fmla="*/ 2147483647 w 438"/>
              <a:gd name="T5" fmla="*/ 2147483647 h 451"/>
              <a:gd name="T6" fmla="*/ 2147483647 w 438"/>
              <a:gd name="T7" fmla="*/ 2147483647 h 451"/>
              <a:gd name="T8" fmla="*/ 2147483647 w 438"/>
              <a:gd name="T9" fmla="*/ 2147483647 h 451"/>
              <a:gd name="T10" fmla="*/ 2147483647 w 438"/>
              <a:gd name="T11" fmla="*/ 2147483647 h 451"/>
              <a:gd name="T12" fmla="*/ 2147483647 w 438"/>
              <a:gd name="T13" fmla="*/ 2147483647 h 451"/>
              <a:gd name="T14" fmla="*/ 2147483647 w 438"/>
              <a:gd name="T15" fmla="*/ 2147483647 h 451"/>
              <a:gd name="T16" fmla="*/ 2147483647 w 438"/>
              <a:gd name="T17" fmla="*/ 2147483647 h 451"/>
              <a:gd name="T18" fmla="*/ 2147483647 w 438"/>
              <a:gd name="T19" fmla="*/ 2147483647 h 451"/>
              <a:gd name="T20" fmla="*/ 2147483647 w 438"/>
              <a:gd name="T21" fmla="*/ 2147483647 h 451"/>
              <a:gd name="T22" fmla="*/ 2147483647 w 438"/>
              <a:gd name="T23" fmla="*/ 2147483647 h 451"/>
              <a:gd name="T24" fmla="*/ 2147483647 w 438"/>
              <a:gd name="T25" fmla="*/ 2147483647 h 451"/>
              <a:gd name="T26" fmla="*/ 2147483647 w 438"/>
              <a:gd name="T27" fmla="*/ 0 h 451"/>
              <a:gd name="T28" fmla="*/ 2147483647 w 438"/>
              <a:gd name="T29" fmla="*/ 2147483647 h 451"/>
              <a:gd name="T30" fmla="*/ 2147483647 w 438"/>
              <a:gd name="T31" fmla="*/ 2147483647 h 451"/>
              <a:gd name="T32" fmla="*/ 2147483647 w 438"/>
              <a:gd name="T33" fmla="*/ 2147483647 h 451"/>
              <a:gd name="T34" fmla="*/ 2147483647 w 438"/>
              <a:gd name="T35" fmla="*/ 2147483647 h 451"/>
              <a:gd name="T36" fmla="*/ 2147483647 w 438"/>
              <a:gd name="T37" fmla="*/ 2147483647 h 451"/>
              <a:gd name="T38" fmla="*/ 2147483647 w 438"/>
              <a:gd name="T39" fmla="*/ 2147483647 h 451"/>
              <a:gd name="T40" fmla="*/ 2147483647 w 438"/>
              <a:gd name="T41" fmla="*/ 2147483647 h 451"/>
              <a:gd name="T42" fmla="*/ 2147483647 w 438"/>
              <a:gd name="T43" fmla="*/ 2147483647 h 451"/>
              <a:gd name="T44" fmla="*/ 2147483647 w 438"/>
              <a:gd name="T45" fmla="*/ 2147483647 h 451"/>
              <a:gd name="T46" fmla="*/ 2147483647 w 438"/>
              <a:gd name="T47" fmla="*/ 2147483647 h 451"/>
              <a:gd name="T48" fmla="*/ 2147483647 w 438"/>
              <a:gd name="T49" fmla="*/ 2147483647 h 451"/>
              <a:gd name="T50" fmla="*/ 2147483647 w 438"/>
              <a:gd name="T51" fmla="*/ 2147483647 h 451"/>
              <a:gd name="T52" fmla="*/ 2147483647 w 438"/>
              <a:gd name="T53" fmla="*/ 2147483647 h 451"/>
              <a:gd name="T54" fmla="*/ 2147483647 w 438"/>
              <a:gd name="T55" fmla="*/ 2147483647 h 451"/>
              <a:gd name="T56" fmla="*/ 2147483647 w 438"/>
              <a:gd name="T57" fmla="*/ 2147483647 h 451"/>
              <a:gd name="T58" fmla="*/ 2147483647 w 438"/>
              <a:gd name="T59" fmla="*/ 2147483647 h 451"/>
              <a:gd name="T60" fmla="*/ 2147483647 w 438"/>
              <a:gd name="T61" fmla="*/ 2147483647 h 451"/>
              <a:gd name="T62" fmla="*/ 2147483647 w 438"/>
              <a:gd name="T63" fmla="*/ 2147483647 h 451"/>
              <a:gd name="T64" fmla="*/ 2147483647 w 438"/>
              <a:gd name="T65" fmla="*/ 2147483647 h 451"/>
              <a:gd name="T66" fmla="*/ 2147483647 w 438"/>
              <a:gd name="T67" fmla="*/ 2147483647 h 451"/>
              <a:gd name="T68" fmla="*/ 2147483647 w 438"/>
              <a:gd name="T69" fmla="*/ 2147483647 h 451"/>
              <a:gd name="T70" fmla="*/ 2147483647 w 438"/>
              <a:gd name="T71" fmla="*/ 2147483647 h 451"/>
              <a:gd name="T72" fmla="*/ 2147483647 w 438"/>
              <a:gd name="T73" fmla="*/ 2147483647 h 451"/>
              <a:gd name="T74" fmla="*/ 2147483647 w 438"/>
              <a:gd name="T75" fmla="*/ 2147483647 h 451"/>
              <a:gd name="T76" fmla="*/ 2147483647 w 438"/>
              <a:gd name="T77" fmla="*/ 2147483647 h 451"/>
              <a:gd name="T78" fmla="*/ 2147483647 w 438"/>
              <a:gd name="T79" fmla="*/ 2147483647 h 451"/>
              <a:gd name="T80" fmla="*/ 2147483647 w 438"/>
              <a:gd name="T81" fmla="*/ 2147483647 h 451"/>
              <a:gd name="T82" fmla="*/ 2147483647 w 438"/>
              <a:gd name="T83" fmla="*/ 2147483647 h 451"/>
              <a:gd name="T84" fmla="*/ 2147483647 w 438"/>
              <a:gd name="T85" fmla="*/ 2147483647 h 451"/>
              <a:gd name="T86" fmla="*/ 2147483647 w 438"/>
              <a:gd name="T87" fmla="*/ 2147483647 h 451"/>
              <a:gd name="T88" fmla="*/ 2147483647 w 438"/>
              <a:gd name="T89" fmla="*/ 2147483647 h 451"/>
              <a:gd name="T90" fmla="*/ 2147483647 w 438"/>
              <a:gd name="T91" fmla="*/ 2147483647 h 451"/>
              <a:gd name="T92" fmla="*/ 2147483647 w 438"/>
              <a:gd name="T93" fmla="*/ 2147483647 h 451"/>
              <a:gd name="T94" fmla="*/ 2147483647 w 438"/>
              <a:gd name="T95" fmla="*/ 2147483647 h 451"/>
              <a:gd name="T96" fmla="*/ 2147483647 w 438"/>
              <a:gd name="T97" fmla="*/ 2147483647 h 451"/>
              <a:gd name="T98" fmla="*/ 2147483647 w 438"/>
              <a:gd name="T99" fmla="*/ 2147483647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063" name="Freeform 17"/>
          <p:cNvSpPr>
            <a:spLocks/>
          </p:cNvSpPr>
          <p:nvPr>
            <p:custDataLst>
              <p:tags r:id="rId14"/>
            </p:custDataLst>
          </p:nvPr>
        </p:nvSpPr>
        <p:spPr bwMode="auto">
          <a:xfrm>
            <a:off x="4173538" y="2182813"/>
            <a:ext cx="250825" cy="274637"/>
          </a:xfrm>
          <a:custGeom>
            <a:avLst/>
            <a:gdLst>
              <a:gd name="T0" fmla="*/ 2147483647 w 578"/>
              <a:gd name="T1" fmla="*/ 2147483647 h 524"/>
              <a:gd name="T2" fmla="*/ 2147483647 w 578"/>
              <a:gd name="T3" fmla="*/ 2147483647 h 524"/>
              <a:gd name="T4" fmla="*/ 2147483647 w 578"/>
              <a:gd name="T5" fmla="*/ 2147483647 h 524"/>
              <a:gd name="T6" fmla="*/ 2147483647 w 578"/>
              <a:gd name="T7" fmla="*/ 2147483647 h 524"/>
              <a:gd name="T8" fmla="*/ 2147483647 w 578"/>
              <a:gd name="T9" fmla="*/ 2147483647 h 524"/>
              <a:gd name="T10" fmla="*/ 2147483647 w 578"/>
              <a:gd name="T11" fmla="*/ 2147483647 h 524"/>
              <a:gd name="T12" fmla="*/ 2147483647 w 578"/>
              <a:gd name="T13" fmla="*/ 2147483647 h 524"/>
              <a:gd name="T14" fmla="*/ 2147483647 w 578"/>
              <a:gd name="T15" fmla="*/ 2147483647 h 524"/>
              <a:gd name="T16" fmla="*/ 2147483647 w 578"/>
              <a:gd name="T17" fmla="*/ 2147483647 h 524"/>
              <a:gd name="T18" fmla="*/ 2147483647 w 578"/>
              <a:gd name="T19" fmla="*/ 2147483647 h 524"/>
              <a:gd name="T20" fmla="*/ 2147483647 w 578"/>
              <a:gd name="T21" fmla="*/ 2147483647 h 524"/>
              <a:gd name="T22" fmla="*/ 2147483647 w 578"/>
              <a:gd name="T23" fmla="*/ 2147483647 h 524"/>
              <a:gd name="T24" fmla="*/ 2147483647 w 578"/>
              <a:gd name="T25" fmla="*/ 2147483647 h 524"/>
              <a:gd name="T26" fmla="*/ 2147483647 w 578"/>
              <a:gd name="T27" fmla="*/ 2147483647 h 524"/>
              <a:gd name="T28" fmla="*/ 2147483647 w 578"/>
              <a:gd name="T29" fmla="*/ 2147483647 h 524"/>
              <a:gd name="T30" fmla="*/ 2147483647 w 578"/>
              <a:gd name="T31" fmla="*/ 2147483647 h 524"/>
              <a:gd name="T32" fmla="*/ 2147483647 w 578"/>
              <a:gd name="T33" fmla="*/ 2147483647 h 524"/>
              <a:gd name="T34" fmla="*/ 2147483647 w 578"/>
              <a:gd name="T35" fmla="*/ 2147483647 h 524"/>
              <a:gd name="T36" fmla="*/ 2147483647 w 578"/>
              <a:gd name="T37" fmla="*/ 2147483647 h 524"/>
              <a:gd name="T38" fmla="*/ 2147483647 w 578"/>
              <a:gd name="T39" fmla="*/ 2147483647 h 524"/>
              <a:gd name="T40" fmla="*/ 2147483647 w 578"/>
              <a:gd name="T41" fmla="*/ 2147483647 h 524"/>
              <a:gd name="T42" fmla="*/ 2147483647 w 578"/>
              <a:gd name="T43" fmla="*/ 2147483647 h 524"/>
              <a:gd name="T44" fmla="*/ 2147483647 w 578"/>
              <a:gd name="T45" fmla="*/ 2147483647 h 524"/>
              <a:gd name="T46" fmla="*/ 2147483647 w 578"/>
              <a:gd name="T47" fmla="*/ 2147483647 h 524"/>
              <a:gd name="T48" fmla="*/ 2147483647 w 578"/>
              <a:gd name="T49" fmla="*/ 2147483647 h 524"/>
              <a:gd name="T50" fmla="*/ 2147483647 w 578"/>
              <a:gd name="T51" fmla="*/ 2147483647 h 524"/>
              <a:gd name="T52" fmla="*/ 2147483647 w 578"/>
              <a:gd name="T53" fmla="*/ 2147483647 h 524"/>
              <a:gd name="T54" fmla="*/ 2147483647 w 578"/>
              <a:gd name="T55" fmla="*/ 2147483647 h 524"/>
              <a:gd name="T56" fmla="*/ 2147483647 w 578"/>
              <a:gd name="T57" fmla="*/ 2147483647 h 524"/>
              <a:gd name="T58" fmla="*/ 2147483647 w 578"/>
              <a:gd name="T59" fmla="*/ 2147483647 h 524"/>
              <a:gd name="T60" fmla="*/ 2147483647 w 578"/>
              <a:gd name="T61" fmla="*/ 2147483647 h 524"/>
              <a:gd name="T62" fmla="*/ 2147483647 w 578"/>
              <a:gd name="T63" fmla="*/ 2147483647 h 524"/>
              <a:gd name="T64" fmla="*/ 2147483647 w 578"/>
              <a:gd name="T65" fmla="*/ 2147483647 h 524"/>
              <a:gd name="T66" fmla="*/ 2147483647 w 578"/>
              <a:gd name="T67" fmla="*/ 2147483647 h 524"/>
              <a:gd name="T68" fmla="*/ 2147483647 w 578"/>
              <a:gd name="T69" fmla="*/ 2147483647 h 524"/>
              <a:gd name="T70" fmla="*/ 2147483647 w 578"/>
              <a:gd name="T71" fmla="*/ 2147483647 h 524"/>
              <a:gd name="T72" fmla="*/ 2147483647 w 578"/>
              <a:gd name="T73" fmla="*/ 2147483647 h 524"/>
              <a:gd name="T74" fmla="*/ 2147483647 w 578"/>
              <a:gd name="T75" fmla="*/ 2147483647 h 524"/>
              <a:gd name="T76" fmla="*/ 2147483647 w 578"/>
              <a:gd name="T77" fmla="*/ 2147483647 h 524"/>
              <a:gd name="T78" fmla="*/ 2147483647 w 578"/>
              <a:gd name="T79" fmla="*/ 2147483647 h 524"/>
              <a:gd name="T80" fmla="*/ 2147483647 w 578"/>
              <a:gd name="T81" fmla="*/ 2147483647 h 524"/>
              <a:gd name="T82" fmla="*/ 2147483647 w 578"/>
              <a:gd name="T83" fmla="*/ 2147483647 h 524"/>
              <a:gd name="T84" fmla="*/ 2147483647 w 578"/>
              <a:gd name="T85" fmla="*/ 2147483647 h 524"/>
              <a:gd name="T86" fmla="*/ 2147483647 w 578"/>
              <a:gd name="T87" fmla="*/ 2147483647 h 524"/>
              <a:gd name="T88" fmla="*/ 2147483647 w 578"/>
              <a:gd name="T89" fmla="*/ 2147483647 h 524"/>
              <a:gd name="T90" fmla="*/ 2147483647 w 578"/>
              <a:gd name="T91" fmla="*/ 2147483647 h 524"/>
              <a:gd name="T92" fmla="*/ 2147483647 w 578"/>
              <a:gd name="T93" fmla="*/ 2147483647 h 524"/>
              <a:gd name="T94" fmla="*/ 2147483647 w 578"/>
              <a:gd name="T95" fmla="*/ 2147483647 h 524"/>
              <a:gd name="T96" fmla="*/ 2147483647 w 578"/>
              <a:gd name="T97" fmla="*/ 0 h 524"/>
              <a:gd name="T98" fmla="*/ 2147483647 w 578"/>
              <a:gd name="T99" fmla="*/ 2147483647 h 524"/>
              <a:gd name="T100" fmla="*/ 2147483647 w 578"/>
              <a:gd name="T101" fmla="*/ 2147483647 h 524"/>
              <a:gd name="T102" fmla="*/ 2147483647 w 578"/>
              <a:gd name="T103" fmla="*/ 2147483647 h 524"/>
              <a:gd name="T104" fmla="*/ 2147483647 w 578"/>
              <a:gd name="T105" fmla="*/ 2147483647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064" name="Freeform 18"/>
          <p:cNvSpPr>
            <a:spLocks/>
          </p:cNvSpPr>
          <p:nvPr>
            <p:custDataLst>
              <p:tags r:id="rId15"/>
            </p:custDataLst>
          </p:nvPr>
        </p:nvSpPr>
        <p:spPr bwMode="auto">
          <a:xfrm>
            <a:off x="4191000" y="2351088"/>
            <a:ext cx="33338" cy="82550"/>
          </a:xfrm>
          <a:custGeom>
            <a:avLst/>
            <a:gdLst>
              <a:gd name="T0" fmla="*/ 0 w 79"/>
              <a:gd name="T1" fmla="*/ 2147483647 h 160"/>
              <a:gd name="T2" fmla="*/ 2147483647 w 79"/>
              <a:gd name="T3" fmla="*/ 2147483647 h 160"/>
              <a:gd name="T4" fmla="*/ 2147483647 w 79"/>
              <a:gd name="T5" fmla="*/ 2147483647 h 160"/>
              <a:gd name="T6" fmla="*/ 2147483647 w 79"/>
              <a:gd name="T7" fmla="*/ 2147483647 h 160"/>
              <a:gd name="T8" fmla="*/ 2147483647 w 79"/>
              <a:gd name="T9" fmla="*/ 2147483647 h 160"/>
              <a:gd name="T10" fmla="*/ 2147483647 w 79"/>
              <a:gd name="T11" fmla="*/ 2147483647 h 160"/>
              <a:gd name="T12" fmla="*/ 2147483647 w 79"/>
              <a:gd name="T13" fmla="*/ 2147483647 h 160"/>
              <a:gd name="T14" fmla="*/ 2147483647 w 79"/>
              <a:gd name="T15" fmla="*/ 2147483647 h 160"/>
              <a:gd name="T16" fmla="*/ 2147483647 w 79"/>
              <a:gd name="T17" fmla="*/ 2147483647 h 160"/>
              <a:gd name="T18" fmla="*/ 2147483647 w 79"/>
              <a:gd name="T19" fmla="*/ 2147483647 h 160"/>
              <a:gd name="T20" fmla="*/ 2147483647 w 79"/>
              <a:gd name="T21" fmla="*/ 0 h 160"/>
              <a:gd name="T22" fmla="*/ 2147483647 w 79"/>
              <a:gd name="T23" fmla="*/ 2147483647 h 160"/>
              <a:gd name="T24" fmla="*/ 2147483647 w 79"/>
              <a:gd name="T25" fmla="*/ 2147483647 h 160"/>
              <a:gd name="T26" fmla="*/ 2147483647 w 79"/>
              <a:gd name="T27" fmla="*/ 2147483647 h 160"/>
              <a:gd name="T28" fmla="*/ 2147483647 w 79"/>
              <a:gd name="T29" fmla="*/ 2147483647 h 160"/>
              <a:gd name="T30" fmla="*/ 2147483647 w 79"/>
              <a:gd name="T31" fmla="*/ 2147483647 h 160"/>
              <a:gd name="T32" fmla="*/ 2147483647 w 79"/>
              <a:gd name="T33" fmla="*/ 2147483647 h 160"/>
              <a:gd name="T34" fmla="*/ 2147483647 w 79"/>
              <a:gd name="T35" fmla="*/ 2147483647 h 160"/>
              <a:gd name="T36" fmla="*/ 2147483647 w 79"/>
              <a:gd name="T37" fmla="*/ 2147483647 h 160"/>
              <a:gd name="T38" fmla="*/ 2147483647 w 79"/>
              <a:gd name="T39" fmla="*/ 2147483647 h 160"/>
              <a:gd name="T40" fmla="*/ 2147483647 w 79"/>
              <a:gd name="T41" fmla="*/ 2147483647 h 160"/>
              <a:gd name="T42" fmla="*/ 2147483647 w 79"/>
              <a:gd name="T43" fmla="*/ 2147483647 h 160"/>
              <a:gd name="T44" fmla="*/ 2147483647 w 79"/>
              <a:gd name="T45" fmla="*/ 2147483647 h 160"/>
              <a:gd name="T46" fmla="*/ 2147483647 w 79"/>
              <a:gd name="T47" fmla="*/ 2147483647 h 160"/>
              <a:gd name="T48" fmla="*/ 2147483647 w 79"/>
              <a:gd name="T49" fmla="*/ 2147483647 h 160"/>
              <a:gd name="T50" fmla="*/ 2147483647 w 79"/>
              <a:gd name="T51" fmla="*/ 2147483647 h 160"/>
              <a:gd name="T52" fmla="*/ 2147483647 w 79"/>
              <a:gd name="T53" fmla="*/ 2147483647 h 160"/>
              <a:gd name="T54" fmla="*/ 2147483647 w 79"/>
              <a:gd name="T55" fmla="*/ 2147483647 h 160"/>
              <a:gd name="T56" fmla="*/ 2147483647 w 79"/>
              <a:gd name="T57" fmla="*/ 2147483647 h 160"/>
              <a:gd name="T58" fmla="*/ 2147483647 w 79"/>
              <a:gd name="T59" fmla="*/ 2147483647 h 160"/>
              <a:gd name="T60" fmla="*/ 2147483647 w 79"/>
              <a:gd name="T61" fmla="*/ 2147483647 h 160"/>
              <a:gd name="T62" fmla="*/ 2147483647 w 79"/>
              <a:gd name="T63" fmla="*/ 2147483647 h 160"/>
              <a:gd name="T64" fmla="*/ 2147483647 w 79"/>
              <a:gd name="T65" fmla="*/ 2147483647 h 160"/>
              <a:gd name="T66" fmla="*/ 2147483647 w 79"/>
              <a:gd name="T67" fmla="*/ 2147483647 h 160"/>
              <a:gd name="T68" fmla="*/ 2147483647 w 79"/>
              <a:gd name="T69" fmla="*/ 2147483647 h 160"/>
              <a:gd name="T70" fmla="*/ 2147483647 w 79"/>
              <a:gd name="T71" fmla="*/ 2147483647 h 160"/>
              <a:gd name="T72" fmla="*/ 2147483647 w 79"/>
              <a:gd name="T73" fmla="*/ 2147483647 h 160"/>
              <a:gd name="T74" fmla="*/ 2147483647 w 79"/>
              <a:gd name="T75" fmla="*/ 2147483647 h 160"/>
              <a:gd name="T76" fmla="*/ 0 w 79"/>
              <a:gd name="T77" fmla="*/ 2147483647 h 160"/>
              <a:gd name="T78" fmla="*/ 0 w 79"/>
              <a:gd name="T79" fmla="*/ 2147483647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grpSp>
        <p:nvGrpSpPr>
          <p:cNvPr id="2065" name="Group 19"/>
          <p:cNvGrpSpPr>
            <a:grpSpLocks/>
          </p:cNvGrpSpPr>
          <p:nvPr>
            <p:custDataLst>
              <p:tags r:id="rId16"/>
            </p:custDataLst>
          </p:nvPr>
        </p:nvGrpSpPr>
        <p:grpSpPr bwMode="auto">
          <a:xfrm>
            <a:off x="6510338" y="3411538"/>
            <a:ext cx="473075" cy="212725"/>
            <a:chOff x="4488" y="2394"/>
            <a:chExt cx="358" cy="124"/>
          </a:xfrm>
          <a:solidFill>
            <a:srgbClr val="FF0000"/>
          </a:solidFill>
        </p:grpSpPr>
        <p:sp>
          <p:nvSpPr>
            <p:cNvPr id="2596" name="Freeform 20"/>
            <p:cNvSpPr>
              <a:spLocks/>
            </p:cNvSpPr>
            <p:nvPr/>
          </p:nvSpPr>
          <p:spPr bwMode="auto">
            <a:xfrm>
              <a:off x="4675" y="2394"/>
              <a:ext cx="171" cy="124"/>
            </a:xfrm>
            <a:custGeom>
              <a:avLst/>
              <a:gdLst>
                <a:gd name="T0" fmla="*/ 142 w 512"/>
                <a:gd name="T1" fmla="*/ 60 h 408"/>
                <a:gd name="T2" fmla="*/ 129 w 512"/>
                <a:gd name="T3" fmla="*/ 59 h 408"/>
                <a:gd name="T4" fmla="*/ 123 w 512"/>
                <a:gd name="T5" fmla="*/ 62 h 408"/>
                <a:gd name="T6" fmla="*/ 118 w 512"/>
                <a:gd name="T7" fmla="*/ 66 h 408"/>
                <a:gd name="T8" fmla="*/ 116 w 512"/>
                <a:gd name="T9" fmla="*/ 77 h 408"/>
                <a:gd name="T10" fmla="*/ 109 w 512"/>
                <a:gd name="T11" fmla="*/ 93 h 408"/>
                <a:gd name="T12" fmla="*/ 102 w 512"/>
                <a:gd name="T13" fmla="*/ 102 h 408"/>
                <a:gd name="T14" fmla="*/ 97 w 512"/>
                <a:gd name="T15" fmla="*/ 106 h 408"/>
                <a:gd name="T16" fmla="*/ 91 w 512"/>
                <a:gd name="T17" fmla="*/ 109 h 408"/>
                <a:gd name="T18" fmla="*/ 86 w 512"/>
                <a:gd name="T19" fmla="*/ 112 h 408"/>
                <a:gd name="T20" fmla="*/ 84 w 512"/>
                <a:gd name="T21" fmla="*/ 114 h 408"/>
                <a:gd name="T22" fmla="*/ 72 w 512"/>
                <a:gd name="T23" fmla="*/ 112 h 408"/>
                <a:gd name="T24" fmla="*/ 61 w 512"/>
                <a:gd name="T25" fmla="*/ 112 h 408"/>
                <a:gd name="T26" fmla="*/ 52 w 512"/>
                <a:gd name="T27" fmla="*/ 113 h 408"/>
                <a:gd name="T28" fmla="*/ 46 w 512"/>
                <a:gd name="T29" fmla="*/ 118 h 408"/>
                <a:gd name="T30" fmla="*/ 32 w 512"/>
                <a:gd name="T31" fmla="*/ 123 h 408"/>
                <a:gd name="T32" fmla="*/ 21 w 512"/>
                <a:gd name="T33" fmla="*/ 124 h 408"/>
                <a:gd name="T34" fmla="*/ 15 w 512"/>
                <a:gd name="T35" fmla="*/ 122 h 408"/>
                <a:gd name="T36" fmla="*/ 5 w 512"/>
                <a:gd name="T37" fmla="*/ 112 h 408"/>
                <a:gd name="T38" fmla="*/ 1 w 512"/>
                <a:gd name="T39" fmla="*/ 105 h 408"/>
                <a:gd name="T40" fmla="*/ 3 w 512"/>
                <a:gd name="T41" fmla="*/ 102 h 408"/>
                <a:gd name="T42" fmla="*/ 11 w 512"/>
                <a:gd name="T43" fmla="*/ 105 h 408"/>
                <a:gd name="T44" fmla="*/ 18 w 512"/>
                <a:gd name="T45" fmla="*/ 102 h 408"/>
                <a:gd name="T46" fmla="*/ 19 w 512"/>
                <a:gd name="T47" fmla="*/ 95 h 408"/>
                <a:gd name="T48" fmla="*/ 24 w 512"/>
                <a:gd name="T49" fmla="*/ 91 h 408"/>
                <a:gd name="T50" fmla="*/ 27 w 512"/>
                <a:gd name="T51" fmla="*/ 87 h 408"/>
                <a:gd name="T52" fmla="*/ 30 w 512"/>
                <a:gd name="T53" fmla="*/ 83 h 408"/>
                <a:gd name="T54" fmla="*/ 34 w 512"/>
                <a:gd name="T55" fmla="*/ 80 h 408"/>
                <a:gd name="T56" fmla="*/ 46 w 512"/>
                <a:gd name="T57" fmla="*/ 75 h 408"/>
                <a:gd name="T58" fmla="*/ 58 w 512"/>
                <a:gd name="T59" fmla="*/ 71 h 408"/>
                <a:gd name="T60" fmla="*/ 67 w 512"/>
                <a:gd name="T61" fmla="*/ 66 h 408"/>
                <a:gd name="T62" fmla="*/ 71 w 512"/>
                <a:gd name="T63" fmla="*/ 62 h 408"/>
                <a:gd name="T64" fmla="*/ 73 w 512"/>
                <a:gd name="T65" fmla="*/ 58 h 408"/>
                <a:gd name="T66" fmla="*/ 76 w 512"/>
                <a:gd name="T67" fmla="*/ 49 h 408"/>
                <a:gd name="T68" fmla="*/ 76 w 512"/>
                <a:gd name="T69" fmla="*/ 45 h 408"/>
                <a:gd name="T70" fmla="*/ 77 w 512"/>
                <a:gd name="T71" fmla="*/ 46 h 408"/>
                <a:gd name="T72" fmla="*/ 80 w 512"/>
                <a:gd name="T73" fmla="*/ 43 h 408"/>
                <a:gd name="T74" fmla="*/ 79 w 512"/>
                <a:gd name="T75" fmla="*/ 47 h 408"/>
                <a:gd name="T76" fmla="*/ 80 w 512"/>
                <a:gd name="T77" fmla="*/ 53 h 408"/>
                <a:gd name="T78" fmla="*/ 84 w 512"/>
                <a:gd name="T79" fmla="*/ 59 h 408"/>
                <a:gd name="T80" fmla="*/ 91 w 512"/>
                <a:gd name="T81" fmla="*/ 62 h 408"/>
                <a:gd name="T82" fmla="*/ 102 w 512"/>
                <a:gd name="T83" fmla="*/ 62 h 408"/>
                <a:gd name="T84" fmla="*/ 107 w 512"/>
                <a:gd name="T85" fmla="*/ 62 h 408"/>
                <a:gd name="T86" fmla="*/ 109 w 512"/>
                <a:gd name="T87" fmla="*/ 60 h 408"/>
                <a:gd name="T88" fmla="*/ 108 w 512"/>
                <a:gd name="T89" fmla="*/ 53 h 408"/>
                <a:gd name="T90" fmla="*/ 100 w 512"/>
                <a:gd name="T91" fmla="*/ 40 h 408"/>
                <a:gd name="T92" fmla="*/ 107 w 512"/>
                <a:gd name="T93" fmla="*/ 33 h 408"/>
                <a:gd name="T94" fmla="*/ 115 w 512"/>
                <a:gd name="T95" fmla="*/ 20 h 408"/>
                <a:gd name="T96" fmla="*/ 125 w 512"/>
                <a:gd name="T97" fmla="*/ 7 h 408"/>
                <a:gd name="T98" fmla="*/ 133 w 512"/>
                <a:gd name="T99" fmla="*/ 0 h 408"/>
                <a:gd name="T100" fmla="*/ 134 w 512"/>
                <a:gd name="T101" fmla="*/ 7 h 408"/>
                <a:gd name="T102" fmla="*/ 138 w 512"/>
                <a:gd name="T103" fmla="*/ 15 h 408"/>
                <a:gd name="T104" fmla="*/ 147 w 512"/>
                <a:gd name="T105" fmla="*/ 23 h 408"/>
                <a:gd name="T106" fmla="*/ 162 w 512"/>
                <a:gd name="T107" fmla="*/ 32 h 408"/>
                <a:gd name="T108" fmla="*/ 170 w 512"/>
                <a:gd name="T109" fmla="*/ 40 h 408"/>
                <a:gd name="T110" fmla="*/ 167 w 512"/>
                <a:gd name="T111" fmla="*/ 45 h 408"/>
                <a:gd name="T112" fmla="*/ 160 w 512"/>
                <a:gd name="T113" fmla="*/ 46 h 408"/>
                <a:gd name="T114" fmla="*/ 153 w 512"/>
                <a:gd name="T115" fmla="*/ 55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AU"/>
            </a:p>
          </p:txBody>
        </p:sp>
        <p:sp>
          <p:nvSpPr>
            <p:cNvPr id="2597" name="Freeform 21"/>
            <p:cNvSpPr>
              <a:spLocks/>
            </p:cNvSpPr>
            <p:nvPr/>
          </p:nvSpPr>
          <p:spPr bwMode="auto">
            <a:xfrm>
              <a:off x="4488" y="2420"/>
              <a:ext cx="77" cy="89"/>
            </a:xfrm>
            <a:custGeom>
              <a:avLst/>
              <a:gdLst>
                <a:gd name="T0" fmla="*/ 50 w 232"/>
                <a:gd name="T1" fmla="*/ 7 h 289"/>
                <a:gd name="T2" fmla="*/ 55 w 232"/>
                <a:gd name="T3" fmla="*/ 15 h 289"/>
                <a:gd name="T4" fmla="*/ 58 w 232"/>
                <a:gd name="T5" fmla="*/ 17 h 289"/>
                <a:gd name="T6" fmla="*/ 60 w 232"/>
                <a:gd name="T7" fmla="*/ 18 h 289"/>
                <a:gd name="T8" fmla="*/ 62 w 232"/>
                <a:gd name="T9" fmla="*/ 51 h 289"/>
                <a:gd name="T10" fmla="*/ 63 w 232"/>
                <a:gd name="T11" fmla="*/ 60 h 289"/>
                <a:gd name="T12" fmla="*/ 64 w 232"/>
                <a:gd name="T13" fmla="*/ 64 h 289"/>
                <a:gd name="T14" fmla="*/ 66 w 232"/>
                <a:gd name="T15" fmla="*/ 67 h 289"/>
                <a:gd name="T16" fmla="*/ 77 w 232"/>
                <a:gd name="T17" fmla="*/ 76 h 289"/>
                <a:gd name="T18" fmla="*/ 73 w 232"/>
                <a:gd name="T19" fmla="*/ 89 h 289"/>
                <a:gd name="T20" fmla="*/ 62 w 232"/>
                <a:gd name="T21" fmla="*/ 87 h 289"/>
                <a:gd name="T22" fmla="*/ 50 w 232"/>
                <a:gd name="T23" fmla="*/ 81 h 289"/>
                <a:gd name="T24" fmla="*/ 38 w 232"/>
                <a:gd name="T25" fmla="*/ 72 h 289"/>
                <a:gd name="T26" fmla="*/ 27 w 232"/>
                <a:gd name="T27" fmla="*/ 64 h 289"/>
                <a:gd name="T28" fmla="*/ 19 w 232"/>
                <a:gd name="T29" fmla="*/ 54 h 289"/>
                <a:gd name="T30" fmla="*/ 10 w 232"/>
                <a:gd name="T31" fmla="*/ 45 h 289"/>
                <a:gd name="T32" fmla="*/ 3 w 232"/>
                <a:gd name="T33" fmla="*/ 39 h 289"/>
                <a:gd name="T34" fmla="*/ 1 w 232"/>
                <a:gd name="T35" fmla="*/ 36 h 289"/>
                <a:gd name="T36" fmla="*/ 0 w 232"/>
                <a:gd name="T37" fmla="*/ 34 h 289"/>
                <a:gd name="T38" fmla="*/ 0 w 232"/>
                <a:gd name="T39" fmla="*/ 31 h 289"/>
                <a:gd name="T40" fmla="*/ 1 w 232"/>
                <a:gd name="T41" fmla="*/ 28 h 289"/>
                <a:gd name="T42" fmla="*/ 4 w 232"/>
                <a:gd name="T43" fmla="*/ 24 h 289"/>
                <a:gd name="T44" fmla="*/ 4 w 232"/>
                <a:gd name="T45" fmla="*/ 16 h 289"/>
                <a:gd name="T46" fmla="*/ 2 w 232"/>
                <a:gd name="T47" fmla="*/ 5 h 289"/>
                <a:gd name="T48" fmla="*/ 4 w 232"/>
                <a:gd name="T49" fmla="*/ 0 h 289"/>
                <a:gd name="T50" fmla="*/ 9 w 232"/>
                <a:gd name="T51" fmla="*/ 1 h 289"/>
                <a:gd name="T52" fmla="*/ 14 w 232"/>
                <a:gd name="T53" fmla="*/ 3 h 289"/>
                <a:gd name="T54" fmla="*/ 20 w 232"/>
                <a:gd name="T55" fmla="*/ 6 h 289"/>
                <a:gd name="T56" fmla="*/ 24 w 232"/>
                <a:gd name="T57" fmla="*/ 9 h 289"/>
                <a:gd name="T58" fmla="*/ 27 w 232"/>
                <a:gd name="T59" fmla="*/ 10 h 289"/>
                <a:gd name="T60" fmla="*/ 30 w 232"/>
                <a:gd name="T61" fmla="*/ 10 h 289"/>
                <a:gd name="T62" fmla="*/ 35 w 232"/>
                <a:gd name="T63" fmla="*/ 8 h 289"/>
                <a:gd name="T64" fmla="*/ 40 w 232"/>
                <a:gd name="T65" fmla="*/ 6 h 289"/>
                <a:gd name="T66" fmla="*/ 44 w 232"/>
                <a:gd name="T67" fmla="*/ 3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AU"/>
            </a:p>
          </p:txBody>
        </p:sp>
      </p:grpSp>
      <p:sp>
        <p:nvSpPr>
          <p:cNvPr id="2066" name="Freeform 22"/>
          <p:cNvSpPr>
            <a:spLocks/>
          </p:cNvSpPr>
          <p:nvPr>
            <p:custDataLst>
              <p:tags r:id="rId17"/>
            </p:custDataLst>
          </p:nvPr>
        </p:nvSpPr>
        <p:spPr bwMode="auto">
          <a:xfrm>
            <a:off x="4532313" y="1287463"/>
            <a:ext cx="3065462" cy="1074737"/>
          </a:xfrm>
          <a:custGeom>
            <a:avLst/>
            <a:gdLst>
              <a:gd name="T0" fmla="*/ 2147483647 w 7049"/>
              <a:gd name="T1" fmla="*/ 2147483647 h 2048"/>
              <a:gd name="T2" fmla="*/ 2147483647 w 7049"/>
              <a:gd name="T3" fmla="*/ 2147483647 h 2048"/>
              <a:gd name="T4" fmla="*/ 2147483647 w 7049"/>
              <a:gd name="T5" fmla="*/ 2147483647 h 2048"/>
              <a:gd name="T6" fmla="*/ 2147483647 w 7049"/>
              <a:gd name="T7" fmla="*/ 2147483647 h 2048"/>
              <a:gd name="T8" fmla="*/ 2147483647 w 7049"/>
              <a:gd name="T9" fmla="*/ 2147483647 h 2048"/>
              <a:gd name="T10" fmla="*/ 2147483647 w 7049"/>
              <a:gd name="T11" fmla="*/ 2147483647 h 2048"/>
              <a:gd name="T12" fmla="*/ 2147483647 w 7049"/>
              <a:gd name="T13" fmla="*/ 2147483647 h 2048"/>
              <a:gd name="T14" fmla="*/ 2147483647 w 7049"/>
              <a:gd name="T15" fmla="*/ 2147483647 h 2048"/>
              <a:gd name="T16" fmla="*/ 2147483647 w 7049"/>
              <a:gd name="T17" fmla="*/ 2147483647 h 2048"/>
              <a:gd name="T18" fmla="*/ 2147483647 w 7049"/>
              <a:gd name="T19" fmla="*/ 2147483647 h 2048"/>
              <a:gd name="T20" fmla="*/ 2147483647 w 7049"/>
              <a:gd name="T21" fmla="*/ 2147483647 h 2048"/>
              <a:gd name="T22" fmla="*/ 2147483647 w 7049"/>
              <a:gd name="T23" fmla="*/ 2147483647 h 2048"/>
              <a:gd name="T24" fmla="*/ 2147483647 w 7049"/>
              <a:gd name="T25" fmla="*/ 2147483647 h 2048"/>
              <a:gd name="T26" fmla="*/ 2147483647 w 7049"/>
              <a:gd name="T27" fmla="*/ 2147483647 h 2048"/>
              <a:gd name="T28" fmla="*/ 2147483647 w 7049"/>
              <a:gd name="T29" fmla="*/ 2147483647 h 2048"/>
              <a:gd name="T30" fmla="*/ 2147483647 w 7049"/>
              <a:gd name="T31" fmla="*/ 2147483647 h 2048"/>
              <a:gd name="T32" fmla="*/ 2147483647 w 7049"/>
              <a:gd name="T33" fmla="*/ 2147483647 h 2048"/>
              <a:gd name="T34" fmla="*/ 2147483647 w 7049"/>
              <a:gd name="T35" fmla="*/ 2147483647 h 2048"/>
              <a:gd name="T36" fmla="*/ 2147483647 w 7049"/>
              <a:gd name="T37" fmla="*/ 2147483647 h 2048"/>
              <a:gd name="T38" fmla="*/ 2147483647 w 7049"/>
              <a:gd name="T39" fmla="*/ 2147483647 h 2048"/>
              <a:gd name="T40" fmla="*/ 2147483647 w 7049"/>
              <a:gd name="T41" fmla="*/ 2147483647 h 2048"/>
              <a:gd name="T42" fmla="*/ 2147483647 w 7049"/>
              <a:gd name="T43" fmla="*/ 2147483647 h 2048"/>
              <a:gd name="T44" fmla="*/ 2147483647 w 7049"/>
              <a:gd name="T45" fmla="*/ 2147483647 h 2048"/>
              <a:gd name="T46" fmla="*/ 2147483647 w 7049"/>
              <a:gd name="T47" fmla="*/ 2147483647 h 2048"/>
              <a:gd name="T48" fmla="*/ 2147483647 w 7049"/>
              <a:gd name="T49" fmla="*/ 2147483647 h 2048"/>
              <a:gd name="T50" fmla="*/ 2147483647 w 7049"/>
              <a:gd name="T51" fmla="*/ 2147483647 h 2048"/>
              <a:gd name="T52" fmla="*/ 2147483647 w 7049"/>
              <a:gd name="T53" fmla="*/ 2147483647 h 2048"/>
              <a:gd name="T54" fmla="*/ 2147483647 w 7049"/>
              <a:gd name="T55" fmla="*/ 2147483647 h 2048"/>
              <a:gd name="T56" fmla="*/ 2147483647 w 7049"/>
              <a:gd name="T57" fmla="*/ 2147483647 h 2048"/>
              <a:gd name="T58" fmla="*/ 2147483647 w 7049"/>
              <a:gd name="T59" fmla="*/ 2147483647 h 2048"/>
              <a:gd name="T60" fmla="*/ 2147483647 w 7049"/>
              <a:gd name="T61" fmla="*/ 2147483647 h 2048"/>
              <a:gd name="T62" fmla="*/ 2147483647 w 7049"/>
              <a:gd name="T63" fmla="*/ 2147483647 h 2048"/>
              <a:gd name="T64" fmla="*/ 2147483647 w 7049"/>
              <a:gd name="T65" fmla="*/ 2147483647 h 2048"/>
              <a:gd name="T66" fmla="*/ 2147483647 w 7049"/>
              <a:gd name="T67" fmla="*/ 2147483647 h 2048"/>
              <a:gd name="T68" fmla="*/ 2147483647 w 7049"/>
              <a:gd name="T69" fmla="*/ 2147483647 h 2048"/>
              <a:gd name="T70" fmla="*/ 2147483647 w 7049"/>
              <a:gd name="T71" fmla="*/ 2147483647 h 2048"/>
              <a:gd name="T72" fmla="*/ 2147483647 w 7049"/>
              <a:gd name="T73" fmla="*/ 2147483647 h 2048"/>
              <a:gd name="T74" fmla="*/ 2147483647 w 7049"/>
              <a:gd name="T75" fmla="*/ 2147483647 h 2048"/>
              <a:gd name="T76" fmla="*/ 2147483647 w 7049"/>
              <a:gd name="T77" fmla="*/ 2147483647 h 2048"/>
              <a:gd name="T78" fmla="*/ 2147483647 w 7049"/>
              <a:gd name="T79" fmla="*/ 2147483647 h 2048"/>
              <a:gd name="T80" fmla="*/ 2147483647 w 7049"/>
              <a:gd name="T81" fmla="*/ 2147483647 h 2048"/>
              <a:gd name="T82" fmla="*/ 2147483647 w 7049"/>
              <a:gd name="T83" fmla="*/ 2147483647 h 2048"/>
              <a:gd name="T84" fmla="*/ 2147483647 w 7049"/>
              <a:gd name="T85" fmla="*/ 2147483647 h 2048"/>
              <a:gd name="T86" fmla="*/ 2147483647 w 7049"/>
              <a:gd name="T87" fmla="*/ 2147483647 h 2048"/>
              <a:gd name="T88" fmla="*/ 2147483647 w 7049"/>
              <a:gd name="T89" fmla="*/ 2147483647 h 2048"/>
              <a:gd name="T90" fmla="*/ 2147483647 w 7049"/>
              <a:gd name="T91" fmla="*/ 2147483647 h 2048"/>
              <a:gd name="T92" fmla="*/ 2147483647 w 7049"/>
              <a:gd name="T93" fmla="*/ 2147483647 h 2048"/>
              <a:gd name="T94" fmla="*/ 2147483647 w 7049"/>
              <a:gd name="T95" fmla="*/ 2147483647 h 2048"/>
              <a:gd name="T96" fmla="*/ 2147483647 w 7049"/>
              <a:gd name="T97" fmla="*/ 2147483647 h 2048"/>
              <a:gd name="T98" fmla="*/ 2147483647 w 7049"/>
              <a:gd name="T99" fmla="*/ 2147483647 h 2048"/>
              <a:gd name="T100" fmla="*/ 2147483647 w 7049"/>
              <a:gd name="T101" fmla="*/ 2147483647 h 2048"/>
              <a:gd name="T102" fmla="*/ 2147483647 w 7049"/>
              <a:gd name="T103" fmla="*/ 2147483647 h 2048"/>
              <a:gd name="T104" fmla="*/ 2147483647 w 7049"/>
              <a:gd name="T105" fmla="*/ 2147483647 h 2048"/>
              <a:gd name="T106" fmla="*/ 2147483647 w 7049"/>
              <a:gd name="T107" fmla="*/ 2147483647 h 2048"/>
              <a:gd name="T108" fmla="*/ 2147483647 w 7049"/>
              <a:gd name="T109" fmla="*/ 2147483647 h 2048"/>
              <a:gd name="T110" fmla="*/ 2147483647 w 7049"/>
              <a:gd name="T111" fmla="*/ 2147483647 h 2048"/>
              <a:gd name="T112" fmla="*/ 2147483647 w 7049"/>
              <a:gd name="T113" fmla="*/ 2147483647 h 2048"/>
              <a:gd name="T114" fmla="*/ 2147483647 w 7049"/>
              <a:gd name="T115" fmla="*/ 2147483647 h 2048"/>
              <a:gd name="T116" fmla="*/ 2147483647 w 7049"/>
              <a:gd name="T117" fmla="*/ 2147483647 h 2048"/>
              <a:gd name="T118" fmla="*/ 2147483647 w 7049"/>
              <a:gd name="T119" fmla="*/ 2147483647 h 2048"/>
              <a:gd name="T120" fmla="*/ 2147483647 w 7049"/>
              <a:gd name="T121" fmla="*/ 2147483647 h 2048"/>
              <a:gd name="T122" fmla="*/ 2147483647 w 7049"/>
              <a:gd name="T123" fmla="*/ 2147483647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FF0000"/>
          </a:solidFill>
          <a:ln w="9525" cap="flat" cmpd="sng">
            <a:solidFill>
              <a:srgbClr val="FFFFFF"/>
            </a:solidFill>
            <a:prstDash val="solid"/>
            <a:round/>
            <a:headEnd type="none" w="med" len="med"/>
            <a:tailEnd type="none" w="med" len="med"/>
          </a:ln>
        </p:spPr>
        <p:txBody>
          <a:bodyPr/>
          <a:lstStyle/>
          <a:p>
            <a:endParaRPr lang="en-AU"/>
          </a:p>
        </p:txBody>
      </p:sp>
      <p:sp>
        <p:nvSpPr>
          <p:cNvPr id="2067" name="Freeform 23"/>
          <p:cNvSpPr>
            <a:spLocks/>
          </p:cNvSpPr>
          <p:nvPr>
            <p:custDataLst>
              <p:tags r:id="rId18"/>
            </p:custDataLst>
          </p:nvPr>
        </p:nvSpPr>
        <p:spPr bwMode="auto">
          <a:xfrm>
            <a:off x="3795713" y="2274888"/>
            <a:ext cx="280987" cy="247650"/>
          </a:xfrm>
          <a:custGeom>
            <a:avLst/>
            <a:gdLst>
              <a:gd name="T0" fmla="*/ 2147483647 w 647"/>
              <a:gd name="T1" fmla="*/ 2147483647 h 470"/>
              <a:gd name="T2" fmla="*/ 2147483647 w 647"/>
              <a:gd name="T3" fmla="*/ 2147483647 h 470"/>
              <a:gd name="T4" fmla="*/ 2147483647 w 647"/>
              <a:gd name="T5" fmla="*/ 2147483647 h 470"/>
              <a:gd name="T6" fmla="*/ 2147483647 w 647"/>
              <a:gd name="T7" fmla="*/ 2147483647 h 470"/>
              <a:gd name="T8" fmla="*/ 2147483647 w 647"/>
              <a:gd name="T9" fmla="*/ 2147483647 h 470"/>
              <a:gd name="T10" fmla="*/ 2147483647 w 647"/>
              <a:gd name="T11" fmla="*/ 2147483647 h 470"/>
              <a:gd name="T12" fmla="*/ 2147483647 w 647"/>
              <a:gd name="T13" fmla="*/ 2147483647 h 470"/>
              <a:gd name="T14" fmla="*/ 2147483647 w 647"/>
              <a:gd name="T15" fmla="*/ 2147483647 h 470"/>
              <a:gd name="T16" fmla="*/ 2147483647 w 647"/>
              <a:gd name="T17" fmla="*/ 2147483647 h 470"/>
              <a:gd name="T18" fmla="*/ 2147483647 w 647"/>
              <a:gd name="T19" fmla="*/ 2147483647 h 470"/>
              <a:gd name="T20" fmla="*/ 2147483647 w 647"/>
              <a:gd name="T21" fmla="*/ 2147483647 h 470"/>
              <a:gd name="T22" fmla="*/ 2147483647 w 647"/>
              <a:gd name="T23" fmla="*/ 2147483647 h 470"/>
              <a:gd name="T24" fmla="*/ 2147483647 w 647"/>
              <a:gd name="T25" fmla="*/ 2147483647 h 470"/>
              <a:gd name="T26" fmla="*/ 2147483647 w 647"/>
              <a:gd name="T27" fmla="*/ 2147483647 h 470"/>
              <a:gd name="T28" fmla="*/ 2147483647 w 647"/>
              <a:gd name="T29" fmla="*/ 2147483647 h 470"/>
              <a:gd name="T30" fmla="*/ 2147483647 w 647"/>
              <a:gd name="T31" fmla="*/ 2147483647 h 470"/>
              <a:gd name="T32" fmla="*/ 2147483647 w 647"/>
              <a:gd name="T33" fmla="*/ 2147483647 h 470"/>
              <a:gd name="T34" fmla="*/ 2147483647 w 647"/>
              <a:gd name="T35" fmla="*/ 2147483647 h 470"/>
              <a:gd name="T36" fmla="*/ 2147483647 w 647"/>
              <a:gd name="T37" fmla="*/ 2147483647 h 470"/>
              <a:gd name="T38" fmla="*/ 2147483647 w 647"/>
              <a:gd name="T39" fmla="*/ 2147483647 h 470"/>
              <a:gd name="T40" fmla="*/ 2147483647 w 647"/>
              <a:gd name="T41" fmla="*/ 2147483647 h 470"/>
              <a:gd name="T42" fmla="*/ 2147483647 w 647"/>
              <a:gd name="T43" fmla="*/ 2147483647 h 470"/>
              <a:gd name="T44" fmla="*/ 2147483647 w 647"/>
              <a:gd name="T45" fmla="*/ 2147483647 h 470"/>
              <a:gd name="T46" fmla="*/ 2147483647 w 647"/>
              <a:gd name="T47" fmla="*/ 2147483647 h 470"/>
              <a:gd name="T48" fmla="*/ 2147483647 w 647"/>
              <a:gd name="T49" fmla="*/ 2147483647 h 470"/>
              <a:gd name="T50" fmla="*/ 2147483647 w 647"/>
              <a:gd name="T51" fmla="*/ 2147483647 h 470"/>
              <a:gd name="T52" fmla="*/ 2147483647 w 647"/>
              <a:gd name="T53" fmla="*/ 2147483647 h 470"/>
              <a:gd name="T54" fmla="*/ 2147483647 w 647"/>
              <a:gd name="T55" fmla="*/ 2147483647 h 470"/>
              <a:gd name="T56" fmla="*/ 2147483647 w 647"/>
              <a:gd name="T57" fmla="*/ 2147483647 h 470"/>
              <a:gd name="T58" fmla="*/ 2147483647 w 647"/>
              <a:gd name="T59" fmla="*/ 2147483647 h 470"/>
              <a:gd name="T60" fmla="*/ 2147483647 w 647"/>
              <a:gd name="T61" fmla="*/ 2147483647 h 470"/>
              <a:gd name="T62" fmla="*/ 2147483647 w 647"/>
              <a:gd name="T63" fmla="*/ 2147483647 h 470"/>
              <a:gd name="T64" fmla="*/ 2147483647 w 647"/>
              <a:gd name="T65" fmla="*/ 2147483647 h 470"/>
              <a:gd name="T66" fmla="*/ 2147483647 w 647"/>
              <a:gd name="T67" fmla="*/ 2147483647 h 470"/>
              <a:gd name="T68" fmla="*/ 2147483647 w 647"/>
              <a:gd name="T69" fmla="*/ 2147483647 h 470"/>
              <a:gd name="T70" fmla="*/ 2147483647 w 647"/>
              <a:gd name="T71" fmla="*/ 2147483647 h 470"/>
              <a:gd name="T72" fmla="*/ 2147483647 w 647"/>
              <a:gd name="T73" fmla="*/ 2147483647 h 470"/>
              <a:gd name="T74" fmla="*/ 2147483647 w 647"/>
              <a:gd name="T75" fmla="*/ 2147483647 h 470"/>
              <a:gd name="T76" fmla="*/ 2147483647 w 647"/>
              <a:gd name="T77" fmla="*/ 2147483647 h 470"/>
              <a:gd name="T78" fmla="*/ 2147483647 w 647"/>
              <a:gd name="T79" fmla="*/ 2147483647 h 470"/>
              <a:gd name="T80" fmla="*/ 2147483647 w 647"/>
              <a:gd name="T81" fmla="*/ 2147483647 h 470"/>
              <a:gd name="T82" fmla="*/ 2147483647 w 647"/>
              <a:gd name="T83" fmla="*/ 2147483647 h 470"/>
              <a:gd name="T84" fmla="*/ 2147483647 w 647"/>
              <a:gd name="T85" fmla="*/ 2147483647 h 470"/>
              <a:gd name="T86" fmla="*/ 2147483647 w 647"/>
              <a:gd name="T87" fmla="*/ 2147483647 h 470"/>
              <a:gd name="T88" fmla="*/ 2147483647 w 647"/>
              <a:gd name="T89" fmla="*/ 2147483647 h 470"/>
              <a:gd name="T90" fmla="*/ 2147483647 w 647"/>
              <a:gd name="T91" fmla="*/ 2147483647 h 470"/>
              <a:gd name="T92" fmla="*/ 0 w 647"/>
              <a:gd name="T93" fmla="*/ 2147483647 h 470"/>
              <a:gd name="T94" fmla="*/ 2147483647 w 647"/>
              <a:gd name="T95" fmla="*/ 2147483647 h 470"/>
              <a:gd name="T96" fmla="*/ 2147483647 w 647"/>
              <a:gd name="T97" fmla="*/ 2147483647 h 470"/>
              <a:gd name="T98" fmla="*/ 2147483647 w 647"/>
              <a:gd name="T99" fmla="*/ 2147483647 h 470"/>
              <a:gd name="T100" fmla="*/ 2147483647 w 647"/>
              <a:gd name="T101" fmla="*/ 0 h 470"/>
              <a:gd name="T102" fmla="*/ 2147483647 w 647"/>
              <a:gd name="T103" fmla="*/ 2147483647 h 470"/>
              <a:gd name="T104" fmla="*/ 2147483647 w 647"/>
              <a:gd name="T105" fmla="*/ 2147483647 h 470"/>
              <a:gd name="T106" fmla="*/ 2147483647 w 647"/>
              <a:gd name="T107" fmla="*/ 2147483647 h 470"/>
              <a:gd name="T108" fmla="*/ 2147483647 w 647"/>
              <a:gd name="T109" fmla="*/ 2147483647 h 470"/>
              <a:gd name="T110" fmla="*/ 2147483647 w 647"/>
              <a:gd name="T111" fmla="*/ 2147483647 h 470"/>
              <a:gd name="T112" fmla="*/ 2147483647 w 647"/>
              <a:gd name="T113" fmla="*/ 2147483647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068" name="Freeform 24"/>
          <p:cNvSpPr>
            <a:spLocks/>
          </p:cNvSpPr>
          <p:nvPr>
            <p:custDataLst>
              <p:tags r:id="rId19"/>
            </p:custDataLst>
          </p:nvPr>
        </p:nvSpPr>
        <p:spPr bwMode="auto">
          <a:xfrm>
            <a:off x="6427788" y="3013075"/>
            <a:ext cx="207962" cy="455613"/>
          </a:xfrm>
          <a:custGeom>
            <a:avLst/>
            <a:gdLst>
              <a:gd name="T0" fmla="*/ 2147483647 w 479"/>
              <a:gd name="T1" fmla="*/ 2147483647 h 868"/>
              <a:gd name="T2" fmla="*/ 2147483647 w 479"/>
              <a:gd name="T3" fmla="*/ 2147483647 h 868"/>
              <a:gd name="T4" fmla="*/ 2147483647 w 479"/>
              <a:gd name="T5" fmla="*/ 2147483647 h 868"/>
              <a:gd name="T6" fmla="*/ 2147483647 w 479"/>
              <a:gd name="T7" fmla="*/ 2147483647 h 868"/>
              <a:gd name="T8" fmla="*/ 2147483647 w 479"/>
              <a:gd name="T9" fmla="*/ 2147483647 h 868"/>
              <a:gd name="T10" fmla="*/ 2147483647 w 479"/>
              <a:gd name="T11" fmla="*/ 2147483647 h 868"/>
              <a:gd name="T12" fmla="*/ 2147483647 w 479"/>
              <a:gd name="T13" fmla="*/ 2147483647 h 868"/>
              <a:gd name="T14" fmla="*/ 2147483647 w 479"/>
              <a:gd name="T15" fmla="*/ 2147483647 h 868"/>
              <a:gd name="T16" fmla="*/ 2147483647 w 479"/>
              <a:gd name="T17" fmla="*/ 2147483647 h 868"/>
              <a:gd name="T18" fmla="*/ 2147483647 w 479"/>
              <a:gd name="T19" fmla="*/ 2147483647 h 868"/>
              <a:gd name="T20" fmla="*/ 2147483647 w 479"/>
              <a:gd name="T21" fmla="*/ 2147483647 h 868"/>
              <a:gd name="T22" fmla="*/ 2147483647 w 479"/>
              <a:gd name="T23" fmla="*/ 2147483647 h 868"/>
              <a:gd name="T24" fmla="*/ 2147483647 w 479"/>
              <a:gd name="T25" fmla="*/ 2147483647 h 868"/>
              <a:gd name="T26" fmla="*/ 2147483647 w 479"/>
              <a:gd name="T27" fmla="*/ 2147483647 h 868"/>
              <a:gd name="T28" fmla="*/ 2147483647 w 479"/>
              <a:gd name="T29" fmla="*/ 2147483647 h 868"/>
              <a:gd name="T30" fmla="*/ 2147483647 w 479"/>
              <a:gd name="T31" fmla="*/ 2147483647 h 868"/>
              <a:gd name="T32" fmla="*/ 2147483647 w 479"/>
              <a:gd name="T33" fmla="*/ 2147483647 h 868"/>
              <a:gd name="T34" fmla="*/ 2147483647 w 479"/>
              <a:gd name="T35" fmla="*/ 2147483647 h 868"/>
              <a:gd name="T36" fmla="*/ 2147483647 w 479"/>
              <a:gd name="T37" fmla="*/ 2147483647 h 868"/>
              <a:gd name="T38" fmla="*/ 2147483647 w 479"/>
              <a:gd name="T39" fmla="*/ 2147483647 h 868"/>
              <a:gd name="T40" fmla="*/ 2147483647 w 479"/>
              <a:gd name="T41" fmla="*/ 2147483647 h 868"/>
              <a:gd name="T42" fmla="*/ 2147483647 w 479"/>
              <a:gd name="T43" fmla="*/ 2147483647 h 868"/>
              <a:gd name="T44" fmla="*/ 2147483647 w 479"/>
              <a:gd name="T45" fmla="*/ 2147483647 h 868"/>
              <a:gd name="T46" fmla="*/ 2147483647 w 479"/>
              <a:gd name="T47" fmla="*/ 2147483647 h 868"/>
              <a:gd name="T48" fmla="*/ 2147483647 w 479"/>
              <a:gd name="T49" fmla="*/ 2147483647 h 868"/>
              <a:gd name="T50" fmla="*/ 2147483647 w 479"/>
              <a:gd name="T51" fmla="*/ 2147483647 h 868"/>
              <a:gd name="T52" fmla="*/ 2147483647 w 479"/>
              <a:gd name="T53" fmla="*/ 2147483647 h 868"/>
              <a:gd name="T54" fmla="*/ 2147483647 w 479"/>
              <a:gd name="T55" fmla="*/ 2147483647 h 868"/>
              <a:gd name="T56" fmla="*/ 2147483647 w 479"/>
              <a:gd name="T57" fmla="*/ 2147483647 h 868"/>
              <a:gd name="T58" fmla="*/ 2147483647 w 479"/>
              <a:gd name="T59" fmla="*/ 2147483647 h 868"/>
              <a:gd name="T60" fmla="*/ 2147483647 w 479"/>
              <a:gd name="T61" fmla="*/ 2147483647 h 868"/>
              <a:gd name="T62" fmla="*/ 2147483647 w 479"/>
              <a:gd name="T63" fmla="*/ 2147483647 h 868"/>
              <a:gd name="T64" fmla="*/ 2147483647 w 479"/>
              <a:gd name="T65" fmla="*/ 2147483647 h 868"/>
              <a:gd name="T66" fmla="*/ 2147483647 w 479"/>
              <a:gd name="T67" fmla="*/ 2147483647 h 868"/>
              <a:gd name="T68" fmla="*/ 2147483647 w 479"/>
              <a:gd name="T69" fmla="*/ 2147483647 h 868"/>
              <a:gd name="T70" fmla="*/ 2147483647 w 479"/>
              <a:gd name="T71" fmla="*/ 2147483647 h 868"/>
              <a:gd name="T72" fmla="*/ 2147483647 w 479"/>
              <a:gd name="T73" fmla="*/ 2147483647 h 868"/>
              <a:gd name="T74" fmla="*/ 2147483647 w 479"/>
              <a:gd name="T75" fmla="*/ 2147483647 h 868"/>
              <a:gd name="T76" fmla="*/ 2147483647 w 479"/>
              <a:gd name="T77" fmla="*/ 2147483647 h 868"/>
              <a:gd name="T78" fmla="*/ 2147483647 w 479"/>
              <a:gd name="T79" fmla="*/ 2147483647 h 868"/>
              <a:gd name="T80" fmla="*/ 2147483647 w 479"/>
              <a:gd name="T81" fmla="*/ 2147483647 h 868"/>
              <a:gd name="T82" fmla="*/ 2147483647 w 479"/>
              <a:gd name="T83" fmla="*/ 0 h 868"/>
              <a:gd name="T84" fmla="*/ 2147483647 w 479"/>
              <a:gd name="T85" fmla="*/ 2147483647 h 868"/>
              <a:gd name="T86" fmla="*/ 2147483647 w 479"/>
              <a:gd name="T87" fmla="*/ 2147483647 h 868"/>
              <a:gd name="T88" fmla="*/ 2147483647 w 479"/>
              <a:gd name="T89" fmla="*/ 2147483647 h 868"/>
              <a:gd name="T90" fmla="*/ 2147483647 w 479"/>
              <a:gd name="T91" fmla="*/ 2147483647 h 868"/>
              <a:gd name="T92" fmla="*/ 2147483647 w 479"/>
              <a:gd name="T93" fmla="*/ 2147483647 h 868"/>
              <a:gd name="T94" fmla="*/ 2147483647 w 479"/>
              <a:gd name="T95" fmla="*/ 2147483647 h 868"/>
              <a:gd name="T96" fmla="*/ 2147483647 w 479"/>
              <a:gd name="T97" fmla="*/ 2147483647 h 868"/>
              <a:gd name="T98" fmla="*/ 2147483647 w 479"/>
              <a:gd name="T99" fmla="*/ 2147483647 h 868"/>
              <a:gd name="T100" fmla="*/ 2147483647 w 479"/>
              <a:gd name="T101" fmla="*/ 2147483647 h 868"/>
              <a:gd name="T102" fmla="*/ 2147483647 w 479"/>
              <a:gd name="T103" fmla="*/ 2147483647 h 868"/>
              <a:gd name="T104" fmla="*/ 2147483647 w 479"/>
              <a:gd name="T105" fmla="*/ 2147483647 h 868"/>
              <a:gd name="T106" fmla="*/ 2147483647 w 479"/>
              <a:gd name="T107" fmla="*/ 2147483647 h 868"/>
              <a:gd name="T108" fmla="*/ 2147483647 w 479"/>
              <a:gd name="T109" fmla="*/ 2147483647 h 868"/>
              <a:gd name="T110" fmla="*/ 2147483647 w 479"/>
              <a:gd name="T111" fmla="*/ 2147483647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FF0000"/>
          </a:solidFill>
          <a:ln w="9525" cmpd="sng">
            <a:solidFill>
              <a:srgbClr val="FFFFFF"/>
            </a:solidFill>
            <a:prstDash val="solid"/>
            <a:round/>
            <a:headEnd/>
            <a:tailEnd/>
          </a:ln>
        </p:spPr>
        <p:txBody>
          <a:bodyPr/>
          <a:lstStyle/>
          <a:p>
            <a:endParaRPr lang="en-AU"/>
          </a:p>
        </p:txBody>
      </p:sp>
      <p:sp>
        <p:nvSpPr>
          <p:cNvPr id="2069" name="Freeform 25"/>
          <p:cNvSpPr>
            <a:spLocks/>
          </p:cNvSpPr>
          <p:nvPr>
            <p:custDataLst>
              <p:tags r:id="rId20"/>
            </p:custDataLst>
          </p:nvPr>
        </p:nvSpPr>
        <p:spPr bwMode="auto">
          <a:xfrm>
            <a:off x="2536825" y="5400675"/>
            <a:ext cx="23813" cy="57150"/>
          </a:xfrm>
          <a:custGeom>
            <a:avLst/>
            <a:gdLst>
              <a:gd name="T0" fmla="*/ 0 w 53"/>
              <a:gd name="T1" fmla="*/ 2147483647 h 19"/>
              <a:gd name="T2" fmla="*/ 2147483647 w 53"/>
              <a:gd name="T3" fmla="*/ 2147483647 h 19"/>
              <a:gd name="T4" fmla="*/ 2147483647 w 53"/>
              <a:gd name="T5" fmla="*/ 2147483647 h 19"/>
              <a:gd name="T6" fmla="*/ 2147483647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2147483647 w 53"/>
              <a:gd name="T27" fmla="*/ 0 h 19"/>
              <a:gd name="T28" fmla="*/ 2147483647 w 53"/>
              <a:gd name="T29" fmla="*/ 2147483647 h 19"/>
              <a:gd name="T30" fmla="*/ 2147483647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AU"/>
          </a:p>
        </p:txBody>
      </p:sp>
      <p:sp>
        <p:nvSpPr>
          <p:cNvPr id="2070" name="Line 26" descr="Horizontal dunkel"/>
          <p:cNvSpPr>
            <a:spLocks noChangeShapeType="1"/>
          </p:cNvSpPr>
          <p:nvPr>
            <p:custDataLst>
              <p:tags r:id="rId21"/>
            </p:custDataLst>
          </p:nvPr>
        </p:nvSpPr>
        <p:spPr bwMode="auto">
          <a:xfrm>
            <a:off x="998538" y="2322513"/>
            <a:ext cx="3175" cy="9525"/>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AU"/>
          </a:p>
        </p:txBody>
      </p:sp>
      <p:sp>
        <p:nvSpPr>
          <p:cNvPr id="2071" name="Freeform 27"/>
          <p:cNvSpPr>
            <a:spLocks/>
          </p:cNvSpPr>
          <p:nvPr>
            <p:custDataLst>
              <p:tags r:id="rId22"/>
            </p:custDataLst>
          </p:nvPr>
        </p:nvSpPr>
        <p:spPr bwMode="auto">
          <a:xfrm>
            <a:off x="1001713" y="2319338"/>
            <a:ext cx="3175" cy="55562"/>
          </a:xfrm>
          <a:custGeom>
            <a:avLst/>
            <a:gdLst>
              <a:gd name="T0" fmla="*/ 0 w 6"/>
              <a:gd name="T1" fmla="*/ 2147483647 h 24"/>
              <a:gd name="T2" fmla="*/ 0 w 6"/>
              <a:gd name="T3" fmla="*/ 2147483647 h 24"/>
              <a:gd name="T4" fmla="*/ 2147483647 w 6"/>
              <a:gd name="T5" fmla="*/ 2147483647 h 24"/>
              <a:gd name="T6" fmla="*/ 2147483647 w 6"/>
              <a:gd name="T7" fmla="*/ 2147483647 h 24"/>
              <a:gd name="T8" fmla="*/ 2147483647 w 6"/>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4">
                <a:moveTo>
                  <a:pt x="0" y="24"/>
                </a:moveTo>
                <a:lnTo>
                  <a:pt x="0" y="19"/>
                </a:lnTo>
                <a:lnTo>
                  <a:pt x="1" y="14"/>
                </a:lnTo>
                <a:lnTo>
                  <a:pt x="3" y="8"/>
                </a:lnTo>
                <a:lnTo>
                  <a:pt x="6" y="0"/>
                </a:lnTo>
              </a:path>
            </a:pathLst>
          </a:custGeom>
          <a:solidFill>
            <a:srgbClr val="C0C0C0"/>
          </a:solidFill>
          <a:ln w="9525" cmpd="sng">
            <a:solidFill>
              <a:srgbClr val="FFFFFF"/>
            </a:solidFill>
            <a:prstDash val="solid"/>
            <a:round/>
            <a:headEnd/>
            <a:tailEnd/>
          </a:ln>
        </p:spPr>
        <p:txBody>
          <a:bodyPr/>
          <a:lstStyle/>
          <a:p>
            <a:endParaRPr lang="en-AU"/>
          </a:p>
        </p:txBody>
      </p:sp>
      <p:sp>
        <p:nvSpPr>
          <p:cNvPr id="2072" name="Freeform 28"/>
          <p:cNvSpPr>
            <a:spLocks/>
          </p:cNvSpPr>
          <p:nvPr>
            <p:custDataLst>
              <p:tags r:id="rId23"/>
            </p:custDataLst>
          </p:nvPr>
        </p:nvSpPr>
        <p:spPr bwMode="auto">
          <a:xfrm>
            <a:off x="977900" y="2373313"/>
            <a:ext cx="23813" cy="57150"/>
          </a:xfrm>
          <a:custGeom>
            <a:avLst/>
            <a:gdLst>
              <a:gd name="T0" fmla="*/ 0 w 47"/>
              <a:gd name="T1" fmla="*/ 2147483647 h 67"/>
              <a:gd name="T2" fmla="*/ 0 w 47"/>
              <a:gd name="T3" fmla="*/ 2147483647 h 67"/>
              <a:gd name="T4" fmla="*/ 2147483647 w 47"/>
              <a:gd name="T5" fmla="*/ 2147483647 h 67"/>
              <a:gd name="T6" fmla="*/ 2147483647 w 47"/>
              <a:gd name="T7" fmla="*/ 2147483647 h 67"/>
              <a:gd name="T8" fmla="*/ 2147483647 w 47"/>
              <a:gd name="T9" fmla="*/ 2147483647 h 67"/>
              <a:gd name="T10" fmla="*/ 2147483647 w 47"/>
              <a:gd name="T11" fmla="*/ 2147483647 h 67"/>
              <a:gd name="T12" fmla="*/ 2147483647 w 47"/>
              <a:gd name="T13" fmla="*/ 2147483647 h 67"/>
              <a:gd name="T14" fmla="*/ 2147483647 w 47"/>
              <a:gd name="T15" fmla="*/ 2147483647 h 67"/>
              <a:gd name="T16" fmla="*/ 2147483647 w 47"/>
              <a:gd name="T17" fmla="*/ 0 h 67"/>
              <a:gd name="T18" fmla="*/ 2147483647 w 47"/>
              <a:gd name="T19" fmla="*/ 2147483647 h 67"/>
              <a:gd name="T20" fmla="*/ 2147483647 w 47"/>
              <a:gd name="T21" fmla="*/ 2147483647 h 67"/>
              <a:gd name="T22" fmla="*/ 2147483647 w 47"/>
              <a:gd name="T23" fmla="*/ 2147483647 h 67"/>
              <a:gd name="T24" fmla="*/ 2147483647 w 47"/>
              <a:gd name="T25" fmla="*/ 2147483647 h 67"/>
              <a:gd name="T26" fmla="*/ 2147483647 w 47"/>
              <a:gd name="T27" fmla="*/ 2147483647 h 67"/>
              <a:gd name="T28" fmla="*/ 2147483647 w 47"/>
              <a:gd name="T29" fmla="*/ 2147483647 h 67"/>
              <a:gd name="T30" fmla="*/ 0 w 47"/>
              <a:gd name="T31" fmla="*/ 2147483647 h 67"/>
              <a:gd name="T32" fmla="*/ 0 w 47"/>
              <a:gd name="T33" fmla="*/ 2147483647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mpd="sng">
            <a:solidFill>
              <a:srgbClr val="FFFFFF"/>
            </a:solidFill>
            <a:prstDash val="solid"/>
            <a:round/>
            <a:headEnd/>
            <a:tailEnd/>
          </a:ln>
        </p:spPr>
        <p:txBody>
          <a:bodyPr/>
          <a:lstStyle/>
          <a:p>
            <a:endParaRPr lang="en-AU"/>
          </a:p>
        </p:txBody>
      </p:sp>
      <p:sp>
        <p:nvSpPr>
          <p:cNvPr id="2073" name="Freeform 29"/>
          <p:cNvSpPr>
            <a:spLocks/>
          </p:cNvSpPr>
          <p:nvPr>
            <p:custDataLst>
              <p:tags r:id="rId24"/>
            </p:custDataLst>
          </p:nvPr>
        </p:nvSpPr>
        <p:spPr bwMode="auto">
          <a:xfrm>
            <a:off x="2303463" y="2368550"/>
            <a:ext cx="49212" cy="57150"/>
          </a:xfrm>
          <a:custGeom>
            <a:avLst/>
            <a:gdLst>
              <a:gd name="T0" fmla="*/ 0 w 112"/>
              <a:gd name="T1" fmla="*/ 2147483647 h 36"/>
              <a:gd name="T2" fmla="*/ 2147483647 w 112"/>
              <a:gd name="T3" fmla="*/ 2147483647 h 36"/>
              <a:gd name="T4" fmla="*/ 2147483647 w 112"/>
              <a:gd name="T5" fmla="*/ 2147483647 h 36"/>
              <a:gd name="T6" fmla="*/ 2147483647 w 112"/>
              <a:gd name="T7" fmla="*/ 2147483647 h 36"/>
              <a:gd name="T8" fmla="*/ 2147483647 w 112"/>
              <a:gd name="T9" fmla="*/ 2147483647 h 36"/>
              <a:gd name="T10" fmla="*/ 2147483647 w 112"/>
              <a:gd name="T11" fmla="*/ 2147483647 h 36"/>
              <a:gd name="T12" fmla="*/ 2147483647 w 112"/>
              <a:gd name="T13" fmla="*/ 2147483647 h 36"/>
              <a:gd name="T14" fmla="*/ 2147483647 w 112"/>
              <a:gd name="T15" fmla="*/ 2147483647 h 36"/>
              <a:gd name="T16" fmla="*/ 2147483647 w 112"/>
              <a:gd name="T17" fmla="*/ 2147483647 h 36"/>
              <a:gd name="T18" fmla="*/ 2147483647 w 112"/>
              <a:gd name="T19" fmla="*/ 2147483647 h 36"/>
              <a:gd name="T20" fmla="*/ 2147483647 w 112"/>
              <a:gd name="T21" fmla="*/ 2147483647 h 36"/>
              <a:gd name="T22" fmla="*/ 2147483647 w 112"/>
              <a:gd name="T23" fmla="*/ 0 h 36"/>
              <a:gd name="T24" fmla="*/ 2147483647 w 112"/>
              <a:gd name="T25" fmla="*/ 0 h 36"/>
              <a:gd name="T26" fmla="*/ 2147483647 w 112"/>
              <a:gd name="T27" fmla="*/ 2147483647 h 36"/>
              <a:gd name="T28" fmla="*/ 2147483647 w 112"/>
              <a:gd name="T29" fmla="*/ 2147483647 h 36"/>
              <a:gd name="T30" fmla="*/ 2147483647 w 112"/>
              <a:gd name="T31" fmla="*/ 2147483647 h 36"/>
              <a:gd name="T32" fmla="*/ 2147483647 w 112"/>
              <a:gd name="T33" fmla="*/ 2147483647 h 36"/>
              <a:gd name="T34" fmla="*/ 2147483647 w 112"/>
              <a:gd name="T35" fmla="*/ 2147483647 h 36"/>
              <a:gd name="T36" fmla="*/ 2147483647 w 112"/>
              <a:gd name="T37" fmla="*/ 2147483647 h 36"/>
              <a:gd name="T38" fmla="*/ 2147483647 w 112"/>
              <a:gd name="T39" fmla="*/ 2147483647 h 36"/>
              <a:gd name="T40" fmla="*/ 2147483647 w 112"/>
              <a:gd name="T41" fmla="*/ 2147483647 h 36"/>
              <a:gd name="T42" fmla="*/ 2147483647 w 112"/>
              <a:gd name="T43" fmla="*/ 2147483647 h 36"/>
              <a:gd name="T44" fmla="*/ 2147483647 w 112"/>
              <a:gd name="T45" fmla="*/ 2147483647 h 36"/>
              <a:gd name="T46" fmla="*/ 0 w 112"/>
              <a:gd name="T47" fmla="*/ 2147483647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mpd="sng">
            <a:solidFill>
              <a:srgbClr val="FFFFFF"/>
            </a:solidFill>
            <a:prstDash val="solid"/>
            <a:round/>
            <a:headEnd/>
            <a:tailEnd/>
          </a:ln>
        </p:spPr>
        <p:txBody>
          <a:bodyPr/>
          <a:lstStyle/>
          <a:p>
            <a:endParaRPr lang="en-AU"/>
          </a:p>
        </p:txBody>
      </p:sp>
      <p:sp>
        <p:nvSpPr>
          <p:cNvPr id="2074" name="Freeform 30"/>
          <p:cNvSpPr>
            <a:spLocks/>
          </p:cNvSpPr>
          <p:nvPr>
            <p:custDataLst>
              <p:tags r:id="rId25"/>
            </p:custDataLst>
          </p:nvPr>
        </p:nvSpPr>
        <p:spPr bwMode="auto">
          <a:xfrm>
            <a:off x="5041900" y="1925638"/>
            <a:ext cx="874713" cy="452437"/>
          </a:xfrm>
          <a:custGeom>
            <a:avLst/>
            <a:gdLst>
              <a:gd name="T0" fmla="*/ 2147483647 w 2006"/>
              <a:gd name="T1" fmla="*/ 2147483647 h 863"/>
              <a:gd name="T2" fmla="*/ 2147483647 w 2006"/>
              <a:gd name="T3" fmla="*/ 2147483647 h 863"/>
              <a:gd name="T4" fmla="*/ 2147483647 w 2006"/>
              <a:gd name="T5" fmla="*/ 2147483647 h 863"/>
              <a:gd name="T6" fmla="*/ 2147483647 w 2006"/>
              <a:gd name="T7" fmla="*/ 2147483647 h 863"/>
              <a:gd name="T8" fmla="*/ 2147483647 w 2006"/>
              <a:gd name="T9" fmla="*/ 2147483647 h 863"/>
              <a:gd name="T10" fmla="*/ 2147483647 w 2006"/>
              <a:gd name="T11" fmla="*/ 2147483647 h 863"/>
              <a:gd name="T12" fmla="*/ 2147483647 w 2006"/>
              <a:gd name="T13" fmla="*/ 2147483647 h 863"/>
              <a:gd name="T14" fmla="*/ 2147483647 w 2006"/>
              <a:gd name="T15" fmla="*/ 2147483647 h 863"/>
              <a:gd name="T16" fmla="*/ 2147483647 w 2006"/>
              <a:gd name="T17" fmla="*/ 2147483647 h 863"/>
              <a:gd name="T18" fmla="*/ 2147483647 w 2006"/>
              <a:gd name="T19" fmla="*/ 2147483647 h 863"/>
              <a:gd name="T20" fmla="*/ 2147483647 w 2006"/>
              <a:gd name="T21" fmla="*/ 2147483647 h 863"/>
              <a:gd name="T22" fmla="*/ 2147483647 w 2006"/>
              <a:gd name="T23" fmla="*/ 2147483647 h 863"/>
              <a:gd name="T24" fmla="*/ 2147483647 w 2006"/>
              <a:gd name="T25" fmla="*/ 2147483647 h 863"/>
              <a:gd name="T26" fmla="*/ 2147483647 w 2006"/>
              <a:gd name="T27" fmla="*/ 2147483647 h 863"/>
              <a:gd name="T28" fmla="*/ 2147483647 w 2006"/>
              <a:gd name="T29" fmla="*/ 2147483647 h 863"/>
              <a:gd name="T30" fmla="*/ 2147483647 w 2006"/>
              <a:gd name="T31" fmla="*/ 2147483647 h 863"/>
              <a:gd name="T32" fmla="*/ 2147483647 w 2006"/>
              <a:gd name="T33" fmla="*/ 2147483647 h 863"/>
              <a:gd name="T34" fmla="*/ 2147483647 w 2006"/>
              <a:gd name="T35" fmla="*/ 2147483647 h 863"/>
              <a:gd name="T36" fmla="*/ 2147483647 w 2006"/>
              <a:gd name="T37" fmla="*/ 2147483647 h 863"/>
              <a:gd name="T38" fmla="*/ 2147483647 w 2006"/>
              <a:gd name="T39" fmla="*/ 2147483647 h 863"/>
              <a:gd name="T40" fmla="*/ 2147483647 w 2006"/>
              <a:gd name="T41" fmla="*/ 2147483647 h 863"/>
              <a:gd name="T42" fmla="*/ 2147483647 w 2006"/>
              <a:gd name="T43" fmla="*/ 2147483647 h 863"/>
              <a:gd name="T44" fmla="*/ 2147483647 w 2006"/>
              <a:gd name="T45" fmla="*/ 2147483647 h 863"/>
              <a:gd name="T46" fmla="*/ 2147483647 w 2006"/>
              <a:gd name="T47" fmla="*/ 2147483647 h 863"/>
              <a:gd name="T48" fmla="*/ 2147483647 w 2006"/>
              <a:gd name="T49" fmla="*/ 2147483647 h 863"/>
              <a:gd name="T50" fmla="*/ 2147483647 w 2006"/>
              <a:gd name="T51" fmla="*/ 2147483647 h 863"/>
              <a:gd name="T52" fmla="*/ 2147483647 w 2006"/>
              <a:gd name="T53" fmla="*/ 2147483647 h 863"/>
              <a:gd name="T54" fmla="*/ 2147483647 w 2006"/>
              <a:gd name="T55" fmla="*/ 2147483647 h 863"/>
              <a:gd name="T56" fmla="*/ 2147483647 w 2006"/>
              <a:gd name="T57" fmla="*/ 2147483647 h 863"/>
              <a:gd name="T58" fmla="*/ 2147483647 w 2006"/>
              <a:gd name="T59" fmla="*/ 2147483647 h 863"/>
              <a:gd name="T60" fmla="*/ 2147483647 w 2006"/>
              <a:gd name="T61" fmla="*/ 2147483647 h 863"/>
              <a:gd name="T62" fmla="*/ 2147483647 w 2006"/>
              <a:gd name="T63" fmla="*/ 2147483647 h 863"/>
              <a:gd name="T64" fmla="*/ 2147483647 w 2006"/>
              <a:gd name="T65" fmla="*/ 2147483647 h 863"/>
              <a:gd name="T66" fmla="*/ 2147483647 w 2006"/>
              <a:gd name="T67" fmla="*/ 2147483647 h 863"/>
              <a:gd name="T68" fmla="*/ 2147483647 w 2006"/>
              <a:gd name="T69" fmla="*/ 2147483647 h 863"/>
              <a:gd name="T70" fmla="*/ 2147483647 w 2006"/>
              <a:gd name="T71" fmla="*/ 2147483647 h 863"/>
              <a:gd name="T72" fmla="*/ 2147483647 w 2006"/>
              <a:gd name="T73" fmla="*/ 2147483647 h 863"/>
              <a:gd name="T74" fmla="*/ 2147483647 w 2006"/>
              <a:gd name="T75" fmla="*/ 2147483647 h 863"/>
              <a:gd name="T76" fmla="*/ 2147483647 w 2006"/>
              <a:gd name="T77" fmla="*/ 2147483647 h 863"/>
              <a:gd name="T78" fmla="*/ 2147483647 w 2006"/>
              <a:gd name="T79" fmla="*/ 2147483647 h 863"/>
              <a:gd name="T80" fmla="*/ 2147483647 w 2006"/>
              <a:gd name="T81" fmla="*/ 2147483647 h 863"/>
              <a:gd name="T82" fmla="*/ 2147483647 w 2006"/>
              <a:gd name="T83" fmla="*/ 2147483647 h 863"/>
              <a:gd name="T84" fmla="*/ 2147483647 w 2006"/>
              <a:gd name="T85" fmla="*/ 2147483647 h 863"/>
              <a:gd name="T86" fmla="*/ 2147483647 w 2006"/>
              <a:gd name="T87" fmla="*/ 2147483647 h 863"/>
              <a:gd name="T88" fmla="*/ 2147483647 w 2006"/>
              <a:gd name="T89" fmla="*/ 2147483647 h 863"/>
              <a:gd name="T90" fmla="*/ 2147483647 w 2006"/>
              <a:gd name="T91" fmla="*/ 2147483647 h 863"/>
              <a:gd name="T92" fmla="*/ 2147483647 w 2006"/>
              <a:gd name="T93" fmla="*/ 2147483647 h 863"/>
              <a:gd name="T94" fmla="*/ 2147483647 w 2006"/>
              <a:gd name="T95" fmla="*/ 2147483647 h 863"/>
              <a:gd name="T96" fmla="*/ 2147483647 w 2006"/>
              <a:gd name="T97" fmla="*/ 2147483647 h 863"/>
              <a:gd name="T98" fmla="*/ 2147483647 w 2006"/>
              <a:gd name="T99" fmla="*/ 2147483647 h 863"/>
              <a:gd name="T100" fmla="*/ 2147483647 w 2006"/>
              <a:gd name="T101" fmla="*/ 2147483647 h 863"/>
              <a:gd name="T102" fmla="*/ 2147483647 w 2006"/>
              <a:gd name="T103" fmla="*/ 2147483647 h 863"/>
              <a:gd name="T104" fmla="*/ 2147483647 w 2006"/>
              <a:gd name="T105" fmla="*/ 2147483647 h 863"/>
              <a:gd name="T106" fmla="*/ 2147483647 w 2006"/>
              <a:gd name="T107" fmla="*/ 2147483647 h 863"/>
              <a:gd name="T108" fmla="*/ 2147483647 w 2006"/>
              <a:gd name="T109" fmla="*/ 2147483647 h 863"/>
              <a:gd name="T110" fmla="*/ 2147483647 w 2006"/>
              <a:gd name="T111" fmla="*/ 2147483647 h 863"/>
              <a:gd name="T112" fmla="*/ 2147483647 w 2006"/>
              <a:gd name="T113" fmla="*/ 2147483647 h 863"/>
              <a:gd name="T114" fmla="*/ 2147483647 w 2006"/>
              <a:gd name="T115" fmla="*/ 2147483647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FF0000"/>
          </a:solidFill>
          <a:ln w="9525" cmpd="sng">
            <a:solidFill>
              <a:srgbClr val="FFFFFF"/>
            </a:solidFill>
            <a:prstDash val="solid"/>
            <a:round/>
            <a:headEnd/>
            <a:tailEnd/>
          </a:ln>
        </p:spPr>
        <p:txBody>
          <a:bodyPr/>
          <a:lstStyle/>
          <a:p>
            <a:endParaRPr lang="en-AU"/>
          </a:p>
        </p:txBody>
      </p:sp>
      <p:sp>
        <p:nvSpPr>
          <p:cNvPr id="2075" name="Freeform 31"/>
          <p:cNvSpPr>
            <a:spLocks/>
          </p:cNvSpPr>
          <p:nvPr>
            <p:custDataLst>
              <p:tags r:id="rId26"/>
            </p:custDataLst>
          </p:nvPr>
        </p:nvSpPr>
        <p:spPr bwMode="auto">
          <a:xfrm>
            <a:off x="5272088" y="2228850"/>
            <a:ext cx="409575" cy="249238"/>
          </a:xfrm>
          <a:custGeom>
            <a:avLst/>
            <a:gdLst>
              <a:gd name="T0" fmla="*/ 2147483647 w 950"/>
              <a:gd name="T1" fmla="*/ 2147483647 h 468"/>
              <a:gd name="T2" fmla="*/ 2147483647 w 950"/>
              <a:gd name="T3" fmla="*/ 2147483647 h 468"/>
              <a:gd name="T4" fmla="*/ 2147483647 w 950"/>
              <a:gd name="T5" fmla="*/ 2147483647 h 468"/>
              <a:gd name="T6" fmla="*/ 2147483647 w 950"/>
              <a:gd name="T7" fmla="*/ 2147483647 h 468"/>
              <a:gd name="T8" fmla="*/ 2147483647 w 950"/>
              <a:gd name="T9" fmla="*/ 2147483647 h 468"/>
              <a:gd name="T10" fmla="*/ 2147483647 w 950"/>
              <a:gd name="T11" fmla="*/ 2147483647 h 468"/>
              <a:gd name="T12" fmla="*/ 2147483647 w 950"/>
              <a:gd name="T13" fmla="*/ 2147483647 h 468"/>
              <a:gd name="T14" fmla="*/ 2147483647 w 950"/>
              <a:gd name="T15" fmla="*/ 2147483647 h 468"/>
              <a:gd name="T16" fmla="*/ 2147483647 w 950"/>
              <a:gd name="T17" fmla="*/ 2147483647 h 468"/>
              <a:gd name="T18" fmla="*/ 2147483647 w 950"/>
              <a:gd name="T19" fmla="*/ 2147483647 h 468"/>
              <a:gd name="T20" fmla="*/ 0 w 950"/>
              <a:gd name="T21" fmla="*/ 2147483647 h 468"/>
              <a:gd name="T22" fmla="*/ 2147483647 w 950"/>
              <a:gd name="T23" fmla="*/ 2147483647 h 468"/>
              <a:gd name="T24" fmla="*/ 2147483647 w 950"/>
              <a:gd name="T25" fmla="*/ 2147483647 h 468"/>
              <a:gd name="T26" fmla="*/ 2147483647 w 950"/>
              <a:gd name="T27" fmla="*/ 2147483647 h 468"/>
              <a:gd name="T28" fmla="*/ 2147483647 w 950"/>
              <a:gd name="T29" fmla="*/ 2147483647 h 468"/>
              <a:gd name="T30" fmla="*/ 2147483647 w 950"/>
              <a:gd name="T31" fmla="*/ 2147483647 h 468"/>
              <a:gd name="T32" fmla="*/ 2147483647 w 950"/>
              <a:gd name="T33" fmla="*/ 2147483647 h 468"/>
              <a:gd name="T34" fmla="*/ 2147483647 w 950"/>
              <a:gd name="T35" fmla="*/ 2147483647 h 468"/>
              <a:gd name="T36" fmla="*/ 2147483647 w 950"/>
              <a:gd name="T37" fmla="*/ 2147483647 h 468"/>
              <a:gd name="T38" fmla="*/ 2147483647 w 950"/>
              <a:gd name="T39" fmla="*/ 2147483647 h 468"/>
              <a:gd name="T40" fmla="*/ 2147483647 w 950"/>
              <a:gd name="T41" fmla="*/ 2147483647 h 468"/>
              <a:gd name="T42" fmla="*/ 2147483647 w 950"/>
              <a:gd name="T43" fmla="*/ 2147483647 h 468"/>
              <a:gd name="T44" fmla="*/ 2147483647 w 950"/>
              <a:gd name="T45" fmla="*/ 2147483647 h 468"/>
              <a:gd name="T46" fmla="*/ 2147483647 w 950"/>
              <a:gd name="T47" fmla="*/ 2147483647 h 468"/>
              <a:gd name="T48" fmla="*/ 2147483647 w 950"/>
              <a:gd name="T49" fmla="*/ 2147483647 h 468"/>
              <a:gd name="T50" fmla="*/ 2147483647 w 950"/>
              <a:gd name="T51" fmla="*/ 2147483647 h 468"/>
              <a:gd name="T52" fmla="*/ 2147483647 w 950"/>
              <a:gd name="T53" fmla="*/ 2147483647 h 468"/>
              <a:gd name="T54" fmla="*/ 2147483647 w 950"/>
              <a:gd name="T55" fmla="*/ 2147483647 h 468"/>
              <a:gd name="T56" fmla="*/ 2147483647 w 950"/>
              <a:gd name="T57" fmla="*/ 2147483647 h 468"/>
              <a:gd name="T58" fmla="*/ 2147483647 w 950"/>
              <a:gd name="T59" fmla="*/ 2147483647 h 468"/>
              <a:gd name="T60" fmla="*/ 2147483647 w 950"/>
              <a:gd name="T61" fmla="*/ 2147483647 h 468"/>
              <a:gd name="T62" fmla="*/ 2147483647 w 950"/>
              <a:gd name="T63" fmla="*/ 2147483647 h 468"/>
              <a:gd name="T64" fmla="*/ 2147483647 w 950"/>
              <a:gd name="T65" fmla="*/ 2147483647 h 468"/>
              <a:gd name="T66" fmla="*/ 2147483647 w 950"/>
              <a:gd name="T67" fmla="*/ 2147483647 h 468"/>
              <a:gd name="T68" fmla="*/ 2147483647 w 950"/>
              <a:gd name="T69" fmla="*/ 2147483647 h 468"/>
              <a:gd name="T70" fmla="*/ 2147483647 w 950"/>
              <a:gd name="T71" fmla="*/ 2147483647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0000FF"/>
          </a:solidFill>
          <a:ln w="9525" cmpd="sng">
            <a:solidFill>
              <a:srgbClr val="FFFFFF"/>
            </a:solidFill>
            <a:prstDash val="solid"/>
            <a:round/>
            <a:headEnd/>
            <a:tailEnd/>
          </a:ln>
        </p:spPr>
        <p:txBody>
          <a:bodyPr/>
          <a:lstStyle/>
          <a:p>
            <a:endParaRPr lang="en-AU"/>
          </a:p>
        </p:txBody>
      </p:sp>
      <p:sp>
        <p:nvSpPr>
          <p:cNvPr id="2076" name="Freeform 32"/>
          <p:cNvSpPr>
            <a:spLocks/>
          </p:cNvSpPr>
          <p:nvPr>
            <p:custDataLst>
              <p:tags r:id="rId27"/>
            </p:custDataLst>
          </p:nvPr>
        </p:nvSpPr>
        <p:spPr bwMode="auto">
          <a:xfrm>
            <a:off x="4079875" y="3232150"/>
            <a:ext cx="296863" cy="288925"/>
          </a:xfrm>
          <a:custGeom>
            <a:avLst/>
            <a:gdLst>
              <a:gd name="T0" fmla="*/ 2147483647 w 671"/>
              <a:gd name="T1" fmla="*/ 2147483647 h 549"/>
              <a:gd name="T2" fmla="*/ 2147483647 w 671"/>
              <a:gd name="T3" fmla="*/ 2147483647 h 549"/>
              <a:gd name="T4" fmla="*/ 2147483647 w 671"/>
              <a:gd name="T5" fmla="*/ 2147483647 h 549"/>
              <a:gd name="T6" fmla="*/ 2147483647 w 671"/>
              <a:gd name="T7" fmla="*/ 2147483647 h 549"/>
              <a:gd name="T8" fmla="*/ 2147483647 w 671"/>
              <a:gd name="T9" fmla="*/ 2147483647 h 549"/>
              <a:gd name="T10" fmla="*/ 2147483647 w 671"/>
              <a:gd name="T11" fmla="*/ 2147483647 h 549"/>
              <a:gd name="T12" fmla="*/ 2147483647 w 671"/>
              <a:gd name="T13" fmla="*/ 2147483647 h 549"/>
              <a:gd name="T14" fmla="*/ 2147483647 w 671"/>
              <a:gd name="T15" fmla="*/ 2147483647 h 549"/>
              <a:gd name="T16" fmla="*/ 2147483647 w 671"/>
              <a:gd name="T17" fmla="*/ 2147483647 h 549"/>
              <a:gd name="T18" fmla="*/ 2147483647 w 671"/>
              <a:gd name="T19" fmla="*/ 2147483647 h 549"/>
              <a:gd name="T20" fmla="*/ 2147483647 w 671"/>
              <a:gd name="T21" fmla="*/ 2147483647 h 549"/>
              <a:gd name="T22" fmla="*/ 2147483647 w 671"/>
              <a:gd name="T23" fmla="*/ 2147483647 h 549"/>
              <a:gd name="T24" fmla="*/ 2147483647 w 671"/>
              <a:gd name="T25" fmla="*/ 0 h 549"/>
              <a:gd name="T26" fmla="*/ 2147483647 w 671"/>
              <a:gd name="T27" fmla="*/ 2147483647 h 549"/>
              <a:gd name="T28" fmla="*/ 2147483647 w 671"/>
              <a:gd name="T29" fmla="*/ 2147483647 h 549"/>
              <a:gd name="T30" fmla="*/ 2147483647 w 671"/>
              <a:gd name="T31" fmla="*/ 2147483647 h 549"/>
              <a:gd name="T32" fmla="*/ 2147483647 w 671"/>
              <a:gd name="T33" fmla="*/ 2147483647 h 549"/>
              <a:gd name="T34" fmla="*/ 2147483647 w 671"/>
              <a:gd name="T35" fmla="*/ 2147483647 h 549"/>
              <a:gd name="T36" fmla="*/ 2147483647 w 671"/>
              <a:gd name="T37" fmla="*/ 2147483647 h 549"/>
              <a:gd name="T38" fmla="*/ 2147483647 w 671"/>
              <a:gd name="T39" fmla="*/ 2147483647 h 549"/>
              <a:gd name="T40" fmla="*/ 2147483647 w 671"/>
              <a:gd name="T41" fmla="*/ 2147483647 h 549"/>
              <a:gd name="T42" fmla="*/ 2147483647 w 671"/>
              <a:gd name="T43" fmla="*/ 2147483647 h 549"/>
              <a:gd name="T44" fmla="*/ 2147483647 w 671"/>
              <a:gd name="T45" fmla="*/ 2147483647 h 549"/>
              <a:gd name="T46" fmla="*/ 2147483647 w 671"/>
              <a:gd name="T47" fmla="*/ 2147483647 h 549"/>
              <a:gd name="T48" fmla="*/ 2147483647 w 671"/>
              <a:gd name="T49" fmla="*/ 2147483647 h 549"/>
              <a:gd name="T50" fmla="*/ 2147483647 w 671"/>
              <a:gd name="T51" fmla="*/ 2147483647 h 549"/>
              <a:gd name="T52" fmla="*/ 2147483647 w 671"/>
              <a:gd name="T53" fmla="*/ 2147483647 h 549"/>
              <a:gd name="T54" fmla="*/ 2147483647 w 671"/>
              <a:gd name="T55" fmla="*/ 2147483647 h 549"/>
              <a:gd name="T56" fmla="*/ 2147483647 w 671"/>
              <a:gd name="T57" fmla="*/ 2147483647 h 549"/>
              <a:gd name="T58" fmla="*/ 2147483647 w 671"/>
              <a:gd name="T59" fmla="*/ 2147483647 h 549"/>
              <a:gd name="T60" fmla="*/ 2147483647 w 671"/>
              <a:gd name="T61" fmla="*/ 2147483647 h 549"/>
              <a:gd name="T62" fmla="*/ 2147483647 w 671"/>
              <a:gd name="T63" fmla="*/ 2147483647 h 549"/>
              <a:gd name="T64" fmla="*/ 2147483647 w 671"/>
              <a:gd name="T65" fmla="*/ 2147483647 h 549"/>
              <a:gd name="T66" fmla="*/ 2147483647 w 671"/>
              <a:gd name="T67" fmla="*/ 2147483647 h 549"/>
              <a:gd name="T68" fmla="*/ 2147483647 w 671"/>
              <a:gd name="T69" fmla="*/ 2147483647 h 549"/>
              <a:gd name="T70" fmla="*/ 2147483647 w 671"/>
              <a:gd name="T71" fmla="*/ 2147483647 h 549"/>
              <a:gd name="T72" fmla="*/ 2147483647 w 671"/>
              <a:gd name="T73" fmla="*/ 2147483647 h 549"/>
              <a:gd name="T74" fmla="*/ 2147483647 w 671"/>
              <a:gd name="T75" fmla="*/ 2147483647 h 549"/>
              <a:gd name="T76" fmla="*/ 2147483647 w 671"/>
              <a:gd name="T77" fmla="*/ 2147483647 h 549"/>
              <a:gd name="T78" fmla="*/ 2147483647 w 671"/>
              <a:gd name="T79" fmla="*/ 2147483647 h 549"/>
              <a:gd name="T80" fmla="*/ 2147483647 w 671"/>
              <a:gd name="T81" fmla="*/ 2147483647 h 549"/>
              <a:gd name="T82" fmla="*/ 2147483647 w 671"/>
              <a:gd name="T83" fmla="*/ 2147483647 h 549"/>
              <a:gd name="T84" fmla="*/ 2147483647 w 671"/>
              <a:gd name="T85" fmla="*/ 2147483647 h 549"/>
              <a:gd name="T86" fmla="*/ 2147483647 w 671"/>
              <a:gd name="T87" fmla="*/ 2147483647 h 549"/>
              <a:gd name="T88" fmla="*/ 2147483647 w 671"/>
              <a:gd name="T89" fmla="*/ 2147483647 h 549"/>
              <a:gd name="T90" fmla="*/ 2147483647 w 671"/>
              <a:gd name="T91" fmla="*/ 2147483647 h 549"/>
              <a:gd name="T92" fmla="*/ 2147483647 w 671"/>
              <a:gd name="T93" fmla="*/ 2147483647 h 549"/>
              <a:gd name="T94" fmla="*/ 2147483647 w 671"/>
              <a:gd name="T95" fmla="*/ 2147483647 h 549"/>
              <a:gd name="T96" fmla="*/ 2147483647 w 671"/>
              <a:gd name="T97" fmla="*/ 2147483647 h 549"/>
              <a:gd name="T98" fmla="*/ 2147483647 w 671"/>
              <a:gd name="T99" fmla="*/ 2147483647 h 549"/>
              <a:gd name="T100" fmla="*/ 2147483647 w 671"/>
              <a:gd name="T101" fmla="*/ 2147483647 h 549"/>
              <a:gd name="T102" fmla="*/ 2147483647 w 671"/>
              <a:gd name="T103" fmla="*/ 2147483647 h 549"/>
              <a:gd name="T104" fmla="*/ 2147483647 w 671"/>
              <a:gd name="T105" fmla="*/ 2147483647 h 549"/>
              <a:gd name="T106" fmla="*/ 2147483647 w 671"/>
              <a:gd name="T107" fmla="*/ 2147483647 h 549"/>
              <a:gd name="T108" fmla="*/ 2147483647 w 671"/>
              <a:gd name="T109" fmla="*/ 2147483647 h 549"/>
              <a:gd name="T110" fmla="*/ 2147483647 w 671"/>
              <a:gd name="T111" fmla="*/ 2147483647 h 549"/>
              <a:gd name="T112" fmla="*/ 2147483647 w 671"/>
              <a:gd name="T113" fmla="*/ 2147483647 h 549"/>
              <a:gd name="T114" fmla="*/ 2147483647 w 671"/>
              <a:gd name="T115" fmla="*/ 2147483647 h 549"/>
              <a:gd name="T116" fmla="*/ 2147483647 w 671"/>
              <a:gd name="T117" fmla="*/ 2147483647 h 549"/>
              <a:gd name="T118" fmla="*/ 2147483647 w 671"/>
              <a:gd name="T119" fmla="*/ 2147483647 h 549"/>
              <a:gd name="T120" fmla="*/ 2147483647 w 671"/>
              <a:gd name="T121" fmla="*/ 2147483647 h 549"/>
              <a:gd name="T122" fmla="*/ 0 w 671"/>
              <a:gd name="T123" fmla="*/ 2147483647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cmpd="sng">
            <a:solidFill>
              <a:srgbClr val="FFFFFF"/>
            </a:solidFill>
            <a:prstDash val="solid"/>
            <a:round/>
            <a:headEnd/>
            <a:tailEnd/>
          </a:ln>
        </p:spPr>
        <p:txBody>
          <a:bodyPr/>
          <a:lstStyle/>
          <a:p>
            <a:endParaRPr lang="en-AU"/>
          </a:p>
        </p:txBody>
      </p:sp>
      <p:sp>
        <p:nvSpPr>
          <p:cNvPr id="2077" name="Freeform 33"/>
          <p:cNvSpPr>
            <a:spLocks/>
          </p:cNvSpPr>
          <p:nvPr>
            <p:custDataLst>
              <p:tags r:id="rId28"/>
            </p:custDataLst>
          </p:nvPr>
        </p:nvSpPr>
        <p:spPr bwMode="auto">
          <a:xfrm>
            <a:off x="4922838" y="3097213"/>
            <a:ext cx="152400" cy="169862"/>
          </a:xfrm>
          <a:custGeom>
            <a:avLst/>
            <a:gdLst>
              <a:gd name="T0" fmla="*/ 2147483647 w 358"/>
              <a:gd name="T1" fmla="*/ 2147483647 h 327"/>
              <a:gd name="T2" fmla="*/ 2147483647 w 358"/>
              <a:gd name="T3" fmla="*/ 2147483647 h 327"/>
              <a:gd name="T4" fmla="*/ 2147483647 w 358"/>
              <a:gd name="T5" fmla="*/ 2147483647 h 327"/>
              <a:gd name="T6" fmla="*/ 2147483647 w 358"/>
              <a:gd name="T7" fmla="*/ 2147483647 h 327"/>
              <a:gd name="T8" fmla="*/ 2147483647 w 358"/>
              <a:gd name="T9" fmla="*/ 2147483647 h 327"/>
              <a:gd name="T10" fmla="*/ 2147483647 w 358"/>
              <a:gd name="T11" fmla="*/ 2147483647 h 327"/>
              <a:gd name="T12" fmla="*/ 2147483647 w 358"/>
              <a:gd name="T13" fmla="*/ 2147483647 h 327"/>
              <a:gd name="T14" fmla="*/ 2147483647 w 358"/>
              <a:gd name="T15" fmla="*/ 2147483647 h 327"/>
              <a:gd name="T16" fmla="*/ 2147483647 w 358"/>
              <a:gd name="T17" fmla="*/ 2147483647 h 327"/>
              <a:gd name="T18" fmla="*/ 2147483647 w 358"/>
              <a:gd name="T19" fmla="*/ 2147483647 h 327"/>
              <a:gd name="T20" fmla="*/ 2147483647 w 358"/>
              <a:gd name="T21" fmla="*/ 2147483647 h 327"/>
              <a:gd name="T22" fmla="*/ 2147483647 w 358"/>
              <a:gd name="T23" fmla="*/ 2147483647 h 327"/>
              <a:gd name="T24" fmla="*/ 2147483647 w 358"/>
              <a:gd name="T25" fmla="*/ 2147483647 h 327"/>
              <a:gd name="T26" fmla="*/ 2147483647 w 358"/>
              <a:gd name="T27" fmla="*/ 2147483647 h 327"/>
              <a:gd name="T28" fmla="*/ 2147483647 w 358"/>
              <a:gd name="T29" fmla="*/ 2147483647 h 327"/>
              <a:gd name="T30" fmla="*/ 2147483647 w 358"/>
              <a:gd name="T31" fmla="*/ 2147483647 h 327"/>
              <a:gd name="T32" fmla="*/ 2147483647 w 358"/>
              <a:gd name="T33" fmla="*/ 2147483647 h 327"/>
              <a:gd name="T34" fmla="*/ 2147483647 w 358"/>
              <a:gd name="T35" fmla="*/ 2147483647 h 327"/>
              <a:gd name="T36" fmla="*/ 2147483647 w 358"/>
              <a:gd name="T37" fmla="*/ 2147483647 h 327"/>
              <a:gd name="T38" fmla="*/ 2147483647 w 358"/>
              <a:gd name="T39" fmla="*/ 2147483647 h 327"/>
              <a:gd name="T40" fmla="*/ 2147483647 w 358"/>
              <a:gd name="T41" fmla="*/ 2147483647 h 327"/>
              <a:gd name="T42" fmla="*/ 2147483647 w 358"/>
              <a:gd name="T43" fmla="*/ 2147483647 h 327"/>
              <a:gd name="T44" fmla="*/ 2147483647 w 358"/>
              <a:gd name="T45" fmla="*/ 2147483647 h 327"/>
              <a:gd name="T46" fmla="*/ 2147483647 w 358"/>
              <a:gd name="T47" fmla="*/ 2147483647 h 327"/>
              <a:gd name="T48" fmla="*/ 2147483647 w 358"/>
              <a:gd name="T49" fmla="*/ 2147483647 h 327"/>
              <a:gd name="T50" fmla="*/ 2147483647 w 358"/>
              <a:gd name="T51" fmla="*/ 2147483647 h 327"/>
              <a:gd name="T52" fmla="*/ 2147483647 w 358"/>
              <a:gd name="T53" fmla="*/ 0 h 327"/>
              <a:gd name="T54" fmla="*/ 2147483647 w 358"/>
              <a:gd name="T55" fmla="*/ 2147483647 h 327"/>
              <a:gd name="T56" fmla="*/ 2147483647 w 358"/>
              <a:gd name="T57" fmla="*/ 2147483647 h 327"/>
              <a:gd name="T58" fmla="*/ 2147483647 w 358"/>
              <a:gd name="T59" fmla="*/ 2147483647 h 327"/>
              <a:gd name="T60" fmla="*/ 2147483647 w 358"/>
              <a:gd name="T61" fmla="*/ 2147483647 h 327"/>
              <a:gd name="T62" fmla="*/ 2147483647 w 358"/>
              <a:gd name="T63" fmla="*/ 2147483647 h 327"/>
              <a:gd name="T64" fmla="*/ 2147483647 w 358"/>
              <a:gd name="T65" fmla="*/ 2147483647 h 327"/>
              <a:gd name="T66" fmla="*/ 2147483647 w 358"/>
              <a:gd name="T67" fmla="*/ 2147483647 h 327"/>
              <a:gd name="T68" fmla="*/ 2147483647 w 358"/>
              <a:gd name="T69" fmla="*/ 2147483647 h 327"/>
              <a:gd name="T70" fmla="*/ 2147483647 w 358"/>
              <a:gd name="T71" fmla="*/ 2147483647 h 327"/>
              <a:gd name="T72" fmla="*/ 2147483647 w 358"/>
              <a:gd name="T73" fmla="*/ 2147483647 h 327"/>
              <a:gd name="T74" fmla="*/ 2147483647 w 358"/>
              <a:gd name="T75" fmla="*/ 2147483647 h 327"/>
              <a:gd name="T76" fmla="*/ 0 w 358"/>
              <a:gd name="T77" fmla="*/ 2147483647 h 327"/>
              <a:gd name="T78" fmla="*/ 0 w 358"/>
              <a:gd name="T79" fmla="*/ 2147483647 h 327"/>
              <a:gd name="T80" fmla="*/ 2147483647 w 358"/>
              <a:gd name="T81" fmla="*/ 2147483647 h 327"/>
              <a:gd name="T82" fmla="*/ 2147483647 w 358"/>
              <a:gd name="T83" fmla="*/ 2147483647 h 327"/>
              <a:gd name="T84" fmla="*/ 2147483647 w 358"/>
              <a:gd name="T85" fmla="*/ 2147483647 h 327"/>
              <a:gd name="T86" fmla="*/ 2147483647 w 358"/>
              <a:gd name="T87" fmla="*/ 2147483647 h 327"/>
              <a:gd name="T88" fmla="*/ 2147483647 w 358"/>
              <a:gd name="T89" fmla="*/ 2147483647 h 327"/>
              <a:gd name="T90" fmla="*/ 2147483647 w 358"/>
              <a:gd name="T91" fmla="*/ 2147483647 h 327"/>
              <a:gd name="T92" fmla="*/ 2147483647 w 358"/>
              <a:gd name="T93" fmla="*/ 2147483647 h 327"/>
              <a:gd name="T94" fmla="*/ 2147483647 w 358"/>
              <a:gd name="T95" fmla="*/ 2147483647 h 327"/>
              <a:gd name="T96" fmla="*/ 2147483647 w 358"/>
              <a:gd name="T97" fmla="*/ 2147483647 h 327"/>
              <a:gd name="T98" fmla="*/ 2147483647 w 358"/>
              <a:gd name="T99" fmla="*/ 2147483647 h 327"/>
              <a:gd name="T100" fmla="*/ 2147483647 w 358"/>
              <a:gd name="T101" fmla="*/ 2147483647 h 327"/>
              <a:gd name="T102" fmla="*/ 2147483647 w 358"/>
              <a:gd name="T103" fmla="*/ 2147483647 h 327"/>
              <a:gd name="T104" fmla="*/ 2147483647 w 358"/>
              <a:gd name="T105" fmla="*/ 2147483647 h 327"/>
              <a:gd name="T106" fmla="*/ 2147483647 w 358"/>
              <a:gd name="T107" fmla="*/ 2147483647 h 327"/>
              <a:gd name="T108" fmla="*/ 2147483647 w 358"/>
              <a:gd name="T109" fmla="*/ 2147483647 h 327"/>
              <a:gd name="T110" fmla="*/ 2147483647 w 358"/>
              <a:gd name="T111" fmla="*/ 2147483647 h 327"/>
              <a:gd name="T112" fmla="*/ 2147483647 w 358"/>
              <a:gd name="T113" fmla="*/ 2147483647 h 327"/>
              <a:gd name="T114" fmla="*/ 2147483647 w 358"/>
              <a:gd name="T115" fmla="*/ 2147483647 h 327"/>
              <a:gd name="T116" fmla="*/ 2147483647 w 358"/>
              <a:gd name="T117" fmla="*/ 2147483647 h 327"/>
              <a:gd name="T118" fmla="*/ 2147483647 w 358"/>
              <a:gd name="T119" fmla="*/ 2147483647 h 327"/>
              <a:gd name="T120" fmla="*/ 2147483647 w 358"/>
              <a:gd name="T121" fmla="*/ 2147483647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mpd="sng">
            <a:solidFill>
              <a:srgbClr val="FFFFFF"/>
            </a:solidFill>
            <a:prstDash val="solid"/>
            <a:round/>
            <a:headEnd/>
            <a:tailEnd/>
          </a:ln>
        </p:spPr>
        <p:txBody>
          <a:bodyPr/>
          <a:lstStyle/>
          <a:p>
            <a:endParaRPr lang="en-AU"/>
          </a:p>
        </p:txBody>
      </p:sp>
      <p:sp>
        <p:nvSpPr>
          <p:cNvPr id="2078" name="Freeform 34"/>
          <p:cNvSpPr>
            <a:spLocks/>
          </p:cNvSpPr>
          <p:nvPr>
            <p:custDataLst>
              <p:tags r:id="rId29"/>
            </p:custDataLst>
          </p:nvPr>
        </p:nvSpPr>
        <p:spPr bwMode="auto">
          <a:xfrm>
            <a:off x="4384675" y="2101850"/>
            <a:ext cx="125413" cy="57150"/>
          </a:xfrm>
          <a:custGeom>
            <a:avLst/>
            <a:gdLst>
              <a:gd name="T0" fmla="*/ 2147483647 w 292"/>
              <a:gd name="T1" fmla="*/ 0 h 99"/>
              <a:gd name="T2" fmla="*/ 2147483647 w 292"/>
              <a:gd name="T3" fmla="*/ 0 h 99"/>
              <a:gd name="T4" fmla="*/ 2147483647 w 292"/>
              <a:gd name="T5" fmla="*/ 2147483647 h 99"/>
              <a:gd name="T6" fmla="*/ 2147483647 w 292"/>
              <a:gd name="T7" fmla="*/ 2147483647 h 99"/>
              <a:gd name="T8" fmla="*/ 2147483647 w 292"/>
              <a:gd name="T9" fmla="*/ 2147483647 h 99"/>
              <a:gd name="T10" fmla="*/ 2147483647 w 292"/>
              <a:gd name="T11" fmla="*/ 2147483647 h 99"/>
              <a:gd name="T12" fmla="*/ 2147483647 w 292"/>
              <a:gd name="T13" fmla="*/ 2147483647 h 99"/>
              <a:gd name="T14" fmla="*/ 2147483647 w 292"/>
              <a:gd name="T15" fmla="*/ 2147483647 h 99"/>
              <a:gd name="T16" fmla="*/ 2147483647 w 292"/>
              <a:gd name="T17" fmla="*/ 2147483647 h 99"/>
              <a:gd name="T18" fmla="*/ 2147483647 w 292"/>
              <a:gd name="T19" fmla="*/ 2147483647 h 99"/>
              <a:gd name="T20" fmla="*/ 2147483647 w 292"/>
              <a:gd name="T21" fmla="*/ 2147483647 h 99"/>
              <a:gd name="T22" fmla="*/ 2147483647 w 292"/>
              <a:gd name="T23" fmla="*/ 2147483647 h 99"/>
              <a:gd name="T24" fmla="*/ 2147483647 w 292"/>
              <a:gd name="T25" fmla="*/ 2147483647 h 99"/>
              <a:gd name="T26" fmla="*/ 2147483647 w 292"/>
              <a:gd name="T27" fmla="*/ 2147483647 h 99"/>
              <a:gd name="T28" fmla="*/ 2147483647 w 292"/>
              <a:gd name="T29" fmla="*/ 2147483647 h 99"/>
              <a:gd name="T30" fmla="*/ 2147483647 w 292"/>
              <a:gd name="T31" fmla="*/ 2147483647 h 99"/>
              <a:gd name="T32" fmla="*/ 2147483647 w 292"/>
              <a:gd name="T33" fmla="*/ 2147483647 h 99"/>
              <a:gd name="T34" fmla="*/ 2147483647 w 292"/>
              <a:gd name="T35" fmla="*/ 2147483647 h 99"/>
              <a:gd name="T36" fmla="*/ 0 w 292"/>
              <a:gd name="T37" fmla="*/ 2147483647 h 99"/>
              <a:gd name="T38" fmla="*/ 2147483647 w 292"/>
              <a:gd name="T39" fmla="*/ 2147483647 h 99"/>
              <a:gd name="T40" fmla="*/ 2147483647 w 292"/>
              <a:gd name="T41" fmla="*/ 2147483647 h 99"/>
              <a:gd name="T42" fmla="*/ 2147483647 w 292"/>
              <a:gd name="T43" fmla="*/ 2147483647 h 99"/>
              <a:gd name="T44" fmla="*/ 2147483647 w 292"/>
              <a:gd name="T45" fmla="*/ 2147483647 h 99"/>
              <a:gd name="T46" fmla="*/ 2147483647 w 292"/>
              <a:gd name="T47" fmla="*/ 2147483647 h 99"/>
              <a:gd name="T48" fmla="*/ 2147483647 w 292"/>
              <a:gd name="T49" fmla="*/ 2147483647 h 99"/>
              <a:gd name="T50" fmla="*/ 2147483647 w 292"/>
              <a:gd name="T51" fmla="*/ 2147483647 h 99"/>
              <a:gd name="T52" fmla="*/ 2147483647 w 292"/>
              <a:gd name="T53" fmla="*/ 2147483647 h 99"/>
              <a:gd name="T54" fmla="*/ 2147483647 w 292"/>
              <a:gd name="T55" fmla="*/ 2147483647 h 99"/>
              <a:gd name="T56" fmla="*/ 2147483647 w 292"/>
              <a:gd name="T57" fmla="*/ 2147483647 h 99"/>
              <a:gd name="T58" fmla="*/ 2147483647 w 292"/>
              <a:gd name="T59" fmla="*/ 2147483647 h 99"/>
              <a:gd name="T60" fmla="*/ 2147483647 w 292"/>
              <a:gd name="T61" fmla="*/ 2147483647 h 99"/>
              <a:gd name="T62" fmla="*/ 2147483647 w 292"/>
              <a:gd name="T63" fmla="*/ 214748364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079" name="Freeform 35"/>
          <p:cNvSpPr>
            <a:spLocks/>
          </p:cNvSpPr>
          <p:nvPr>
            <p:custDataLst>
              <p:tags r:id="rId30"/>
            </p:custDataLst>
          </p:nvPr>
        </p:nvSpPr>
        <p:spPr bwMode="auto">
          <a:xfrm>
            <a:off x="5248275" y="2822575"/>
            <a:ext cx="19050" cy="57150"/>
          </a:xfrm>
          <a:custGeom>
            <a:avLst/>
            <a:gdLst>
              <a:gd name="T0" fmla="*/ 2147483647 w 43"/>
              <a:gd name="T1" fmla="*/ 2147483647 h 93"/>
              <a:gd name="T2" fmla="*/ 2147483647 w 43"/>
              <a:gd name="T3" fmla="*/ 2147483647 h 93"/>
              <a:gd name="T4" fmla="*/ 2147483647 w 43"/>
              <a:gd name="T5" fmla="*/ 2147483647 h 93"/>
              <a:gd name="T6" fmla="*/ 2147483647 w 43"/>
              <a:gd name="T7" fmla="*/ 2147483647 h 93"/>
              <a:gd name="T8" fmla="*/ 2147483647 w 43"/>
              <a:gd name="T9" fmla="*/ 2147483647 h 93"/>
              <a:gd name="T10" fmla="*/ 2147483647 w 43"/>
              <a:gd name="T11" fmla="*/ 2147483647 h 93"/>
              <a:gd name="T12" fmla="*/ 2147483647 w 43"/>
              <a:gd name="T13" fmla="*/ 2147483647 h 93"/>
              <a:gd name="T14" fmla="*/ 2147483647 w 43"/>
              <a:gd name="T15" fmla="*/ 2147483647 h 93"/>
              <a:gd name="T16" fmla="*/ 2147483647 w 43"/>
              <a:gd name="T17" fmla="*/ 2147483647 h 93"/>
              <a:gd name="T18" fmla="*/ 2147483647 w 43"/>
              <a:gd name="T19" fmla="*/ 2147483647 h 93"/>
              <a:gd name="T20" fmla="*/ 2147483647 w 43"/>
              <a:gd name="T21" fmla="*/ 2147483647 h 93"/>
              <a:gd name="T22" fmla="*/ 2147483647 w 43"/>
              <a:gd name="T23" fmla="*/ 2147483647 h 93"/>
              <a:gd name="T24" fmla="*/ 2147483647 w 43"/>
              <a:gd name="T25" fmla="*/ 2147483647 h 93"/>
              <a:gd name="T26" fmla="*/ 2147483647 w 43"/>
              <a:gd name="T27" fmla="*/ 2147483647 h 93"/>
              <a:gd name="T28" fmla="*/ 0 w 43"/>
              <a:gd name="T29" fmla="*/ 2147483647 h 93"/>
              <a:gd name="T30" fmla="*/ 2147483647 w 43"/>
              <a:gd name="T31" fmla="*/ 2147483647 h 93"/>
              <a:gd name="T32" fmla="*/ 2147483647 w 43"/>
              <a:gd name="T33" fmla="*/ 2147483647 h 93"/>
              <a:gd name="T34" fmla="*/ 2147483647 w 43"/>
              <a:gd name="T35" fmla="*/ 2147483647 h 93"/>
              <a:gd name="T36" fmla="*/ 2147483647 w 43"/>
              <a:gd name="T37" fmla="*/ 2147483647 h 93"/>
              <a:gd name="T38" fmla="*/ 2147483647 w 43"/>
              <a:gd name="T39" fmla="*/ 2147483647 h 93"/>
              <a:gd name="T40" fmla="*/ 2147483647 w 43"/>
              <a:gd name="T41" fmla="*/ 2147483647 h 93"/>
              <a:gd name="T42" fmla="*/ 2147483647 w 43"/>
              <a:gd name="T43" fmla="*/ 2147483647 h 93"/>
              <a:gd name="T44" fmla="*/ 2147483647 w 43"/>
              <a:gd name="T45" fmla="*/ 2147483647 h 93"/>
              <a:gd name="T46" fmla="*/ 2147483647 w 43"/>
              <a:gd name="T47" fmla="*/ 2147483647 h 93"/>
              <a:gd name="T48" fmla="*/ 2147483647 w 43"/>
              <a:gd name="T49" fmla="*/ 2147483647 h 93"/>
              <a:gd name="T50" fmla="*/ 2147483647 w 43"/>
              <a:gd name="T51" fmla="*/ 2147483647 h 93"/>
              <a:gd name="T52" fmla="*/ 2147483647 w 43"/>
              <a:gd name="T53" fmla="*/ 2147483647 h 93"/>
              <a:gd name="T54" fmla="*/ 2147483647 w 43"/>
              <a:gd name="T55" fmla="*/ 0 h 93"/>
              <a:gd name="T56" fmla="*/ 2147483647 w 43"/>
              <a:gd name="T57" fmla="*/ 0 h 93"/>
              <a:gd name="T58" fmla="*/ 2147483647 w 43"/>
              <a:gd name="T59" fmla="*/ 2147483647 h 93"/>
              <a:gd name="T60" fmla="*/ 2147483647 w 43"/>
              <a:gd name="T61" fmla="*/ 2147483647 h 93"/>
              <a:gd name="T62" fmla="*/ 2147483647 w 43"/>
              <a:gd name="T63" fmla="*/ 2147483647 h 93"/>
              <a:gd name="T64" fmla="*/ 2147483647 w 43"/>
              <a:gd name="T65" fmla="*/ 2147483647 h 93"/>
              <a:gd name="T66" fmla="*/ 2147483647 w 43"/>
              <a:gd name="T67" fmla="*/ 2147483647 h 93"/>
              <a:gd name="T68" fmla="*/ 2147483647 w 43"/>
              <a:gd name="T69" fmla="*/ 2147483647 h 93"/>
              <a:gd name="T70" fmla="*/ 2147483647 w 43"/>
              <a:gd name="T71" fmla="*/ 2147483647 h 93"/>
              <a:gd name="T72" fmla="*/ 2147483647 w 43"/>
              <a:gd name="T73" fmla="*/ 2147483647 h 93"/>
              <a:gd name="T74" fmla="*/ 2147483647 w 43"/>
              <a:gd name="T75" fmla="*/ 2147483647 h 93"/>
              <a:gd name="T76" fmla="*/ 2147483647 w 43"/>
              <a:gd name="T77" fmla="*/ 2147483647 h 93"/>
              <a:gd name="T78" fmla="*/ 2147483647 w 43"/>
              <a:gd name="T79" fmla="*/ 2147483647 h 93"/>
              <a:gd name="T80" fmla="*/ 2147483647 w 43"/>
              <a:gd name="T81" fmla="*/ 2147483647 h 93"/>
              <a:gd name="T82" fmla="*/ 2147483647 w 43"/>
              <a:gd name="T83" fmla="*/ 2147483647 h 93"/>
              <a:gd name="T84" fmla="*/ 2147483647 w 43"/>
              <a:gd name="T85" fmla="*/ 2147483647 h 93"/>
              <a:gd name="T86" fmla="*/ 2147483647 w 43"/>
              <a:gd name="T87" fmla="*/ 2147483647 h 93"/>
              <a:gd name="T88" fmla="*/ 2147483647 w 43"/>
              <a:gd name="T89" fmla="*/ 2147483647 h 93"/>
              <a:gd name="T90" fmla="*/ 2147483647 w 43"/>
              <a:gd name="T91" fmla="*/ 2147483647 h 93"/>
              <a:gd name="T92" fmla="*/ 2147483647 w 43"/>
              <a:gd name="T93" fmla="*/ 2147483647 h 93"/>
              <a:gd name="T94" fmla="*/ 2147483647 w 43"/>
              <a:gd name="T95" fmla="*/ 2147483647 h 93"/>
              <a:gd name="T96" fmla="*/ 2147483647 w 43"/>
              <a:gd name="T97" fmla="*/ 2147483647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9525" cmpd="sng">
            <a:solidFill>
              <a:srgbClr val="FFFFFF"/>
            </a:solidFill>
            <a:prstDash val="solid"/>
            <a:round/>
            <a:headEnd/>
            <a:tailEnd/>
          </a:ln>
        </p:spPr>
        <p:txBody>
          <a:bodyPr/>
          <a:lstStyle/>
          <a:p>
            <a:endParaRPr lang="en-AU"/>
          </a:p>
        </p:txBody>
      </p:sp>
      <p:sp>
        <p:nvSpPr>
          <p:cNvPr id="2080" name="Freeform 36"/>
          <p:cNvSpPr>
            <a:spLocks/>
          </p:cNvSpPr>
          <p:nvPr>
            <p:custDataLst>
              <p:tags r:id="rId31"/>
            </p:custDataLst>
          </p:nvPr>
        </p:nvSpPr>
        <p:spPr bwMode="auto">
          <a:xfrm>
            <a:off x="5367338" y="2827338"/>
            <a:ext cx="14287" cy="57150"/>
          </a:xfrm>
          <a:custGeom>
            <a:avLst/>
            <a:gdLst>
              <a:gd name="T0" fmla="*/ 2147483647 w 40"/>
              <a:gd name="T1" fmla="*/ 2147483647 h 56"/>
              <a:gd name="T2" fmla="*/ 2147483647 w 40"/>
              <a:gd name="T3" fmla="*/ 2147483647 h 56"/>
              <a:gd name="T4" fmla="*/ 2147483647 w 40"/>
              <a:gd name="T5" fmla="*/ 2147483647 h 56"/>
              <a:gd name="T6" fmla="*/ 2147483647 w 40"/>
              <a:gd name="T7" fmla="*/ 2147483647 h 56"/>
              <a:gd name="T8" fmla="*/ 2147483647 w 40"/>
              <a:gd name="T9" fmla="*/ 2147483647 h 56"/>
              <a:gd name="T10" fmla="*/ 2147483647 w 40"/>
              <a:gd name="T11" fmla="*/ 2147483647 h 56"/>
              <a:gd name="T12" fmla="*/ 0 w 40"/>
              <a:gd name="T13" fmla="*/ 2147483647 h 56"/>
              <a:gd name="T14" fmla="*/ 2147483647 w 40"/>
              <a:gd name="T15" fmla="*/ 2147483647 h 56"/>
              <a:gd name="T16" fmla="*/ 2147483647 w 40"/>
              <a:gd name="T17" fmla="*/ 0 h 56"/>
              <a:gd name="T18" fmla="*/ 2147483647 w 40"/>
              <a:gd name="T19" fmla="*/ 2147483647 h 56"/>
              <a:gd name="T20" fmla="*/ 2147483647 w 40"/>
              <a:gd name="T21" fmla="*/ 2147483647 h 56"/>
              <a:gd name="T22" fmla="*/ 2147483647 w 40"/>
              <a:gd name="T23" fmla="*/ 2147483647 h 56"/>
              <a:gd name="T24" fmla="*/ 2147483647 w 40"/>
              <a:gd name="T25" fmla="*/ 2147483647 h 56"/>
              <a:gd name="T26" fmla="*/ 2147483647 w 40"/>
              <a:gd name="T27" fmla="*/ 2147483647 h 56"/>
              <a:gd name="T28" fmla="*/ 2147483647 w 40"/>
              <a:gd name="T29" fmla="*/ 2147483647 h 56"/>
              <a:gd name="T30" fmla="*/ 2147483647 w 40"/>
              <a:gd name="T31" fmla="*/ 2147483647 h 56"/>
              <a:gd name="T32" fmla="*/ 2147483647 w 40"/>
              <a:gd name="T33" fmla="*/ 2147483647 h 56"/>
              <a:gd name="T34" fmla="*/ 2147483647 w 40"/>
              <a:gd name="T35" fmla="*/ 2147483647 h 56"/>
              <a:gd name="T36" fmla="*/ 2147483647 w 40"/>
              <a:gd name="T37" fmla="*/ 2147483647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mpd="sng">
            <a:solidFill>
              <a:srgbClr val="FFFFFF"/>
            </a:solidFill>
            <a:prstDash val="solid"/>
            <a:round/>
            <a:headEnd/>
            <a:tailEnd/>
          </a:ln>
        </p:spPr>
        <p:txBody>
          <a:bodyPr/>
          <a:lstStyle/>
          <a:p>
            <a:endParaRPr lang="en-AU"/>
          </a:p>
        </p:txBody>
      </p:sp>
      <p:sp>
        <p:nvSpPr>
          <p:cNvPr id="2081" name="Freeform 37"/>
          <p:cNvSpPr>
            <a:spLocks/>
          </p:cNvSpPr>
          <p:nvPr>
            <p:custDataLst>
              <p:tags r:id="rId32"/>
            </p:custDataLst>
          </p:nvPr>
        </p:nvSpPr>
        <p:spPr bwMode="auto">
          <a:xfrm>
            <a:off x="6854825" y="3487738"/>
            <a:ext cx="44450" cy="57150"/>
          </a:xfrm>
          <a:custGeom>
            <a:avLst/>
            <a:gdLst>
              <a:gd name="T0" fmla="*/ 0 w 106"/>
              <a:gd name="T1" fmla="*/ 2147483647 h 71"/>
              <a:gd name="T2" fmla="*/ 2147483647 w 106"/>
              <a:gd name="T3" fmla="*/ 2147483647 h 71"/>
              <a:gd name="T4" fmla="*/ 2147483647 w 106"/>
              <a:gd name="T5" fmla="*/ 2147483647 h 71"/>
              <a:gd name="T6" fmla="*/ 2147483647 w 106"/>
              <a:gd name="T7" fmla="*/ 2147483647 h 71"/>
              <a:gd name="T8" fmla="*/ 2147483647 w 106"/>
              <a:gd name="T9" fmla="*/ 2147483647 h 71"/>
              <a:gd name="T10" fmla="*/ 2147483647 w 106"/>
              <a:gd name="T11" fmla="*/ 2147483647 h 71"/>
              <a:gd name="T12" fmla="*/ 2147483647 w 106"/>
              <a:gd name="T13" fmla="*/ 2147483647 h 71"/>
              <a:gd name="T14" fmla="*/ 2147483647 w 106"/>
              <a:gd name="T15" fmla="*/ 2147483647 h 71"/>
              <a:gd name="T16" fmla="*/ 2147483647 w 106"/>
              <a:gd name="T17" fmla="*/ 0 h 71"/>
              <a:gd name="T18" fmla="*/ 2147483647 w 106"/>
              <a:gd name="T19" fmla="*/ 2147483647 h 71"/>
              <a:gd name="T20" fmla="*/ 2147483647 w 106"/>
              <a:gd name="T21" fmla="*/ 2147483647 h 71"/>
              <a:gd name="T22" fmla="*/ 2147483647 w 106"/>
              <a:gd name="T23" fmla="*/ 2147483647 h 71"/>
              <a:gd name="T24" fmla="*/ 2147483647 w 106"/>
              <a:gd name="T25" fmla="*/ 2147483647 h 71"/>
              <a:gd name="T26" fmla="*/ 2147483647 w 106"/>
              <a:gd name="T27" fmla="*/ 2147483647 h 71"/>
              <a:gd name="T28" fmla="*/ 2147483647 w 106"/>
              <a:gd name="T29" fmla="*/ 2147483647 h 71"/>
              <a:gd name="T30" fmla="*/ 2147483647 w 106"/>
              <a:gd name="T31" fmla="*/ 2147483647 h 71"/>
              <a:gd name="T32" fmla="*/ 2147483647 w 106"/>
              <a:gd name="T33" fmla="*/ 2147483647 h 71"/>
              <a:gd name="T34" fmla="*/ 2147483647 w 106"/>
              <a:gd name="T35" fmla="*/ 2147483647 h 71"/>
              <a:gd name="T36" fmla="*/ 2147483647 w 106"/>
              <a:gd name="T37" fmla="*/ 2147483647 h 71"/>
              <a:gd name="T38" fmla="*/ 2147483647 w 106"/>
              <a:gd name="T39" fmla="*/ 2147483647 h 71"/>
              <a:gd name="T40" fmla="*/ 2147483647 w 106"/>
              <a:gd name="T41" fmla="*/ 2147483647 h 71"/>
              <a:gd name="T42" fmla="*/ 2147483647 w 106"/>
              <a:gd name="T43" fmla="*/ 2147483647 h 71"/>
              <a:gd name="T44" fmla="*/ 2147483647 w 106"/>
              <a:gd name="T45" fmla="*/ 2147483647 h 71"/>
              <a:gd name="T46" fmla="*/ 2147483647 w 106"/>
              <a:gd name="T47" fmla="*/ 2147483647 h 71"/>
              <a:gd name="T48" fmla="*/ 2147483647 w 106"/>
              <a:gd name="T49" fmla="*/ 2147483647 h 71"/>
              <a:gd name="T50" fmla="*/ 2147483647 w 106"/>
              <a:gd name="T51" fmla="*/ 2147483647 h 71"/>
              <a:gd name="T52" fmla="*/ 2147483647 w 106"/>
              <a:gd name="T53" fmla="*/ 2147483647 h 71"/>
              <a:gd name="T54" fmla="*/ 2147483647 w 106"/>
              <a:gd name="T55" fmla="*/ 2147483647 h 71"/>
              <a:gd name="T56" fmla="*/ 2147483647 w 106"/>
              <a:gd name="T57" fmla="*/ 2147483647 h 71"/>
              <a:gd name="T58" fmla="*/ 2147483647 w 106"/>
              <a:gd name="T59" fmla="*/ 2147483647 h 71"/>
              <a:gd name="T60" fmla="*/ 2147483647 w 106"/>
              <a:gd name="T61" fmla="*/ 2147483647 h 71"/>
              <a:gd name="T62" fmla="*/ 2147483647 w 106"/>
              <a:gd name="T63" fmla="*/ 2147483647 h 71"/>
              <a:gd name="T64" fmla="*/ 2147483647 w 106"/>
              <a:gd name="T65" fmla="*/ 2147483647 h 71"/>
              <a:gd name="T66" fmla="*/ 2147483647 w 106"/>
              <a:gd name="T67" fmla="*/ 2147483647 h 71"/>
              <a:gd name="T68" fmla="*/ 2147483647 w 106"/>
              <a:gd name="T69" fmla="*/ 2147483647 h 71"/>
              <a:gd name="T70" fmla="*/ 2147483647 w 106"/>
              <a:gd name="T71" fmla="*/ 2147483647 h 71"/>
              <a:gd name="T72" fmla="*/ 2147483647 w 106"/>
              <a:gd name="T73" fmla="*/ 2147483647 h 71"/>
              <a:gd name="T74" fmla="*/ 2147483647 w 106"/>
              <a:gd name="T75" fmla="*/ 2147483647 h 71"/>
              <a:gd name="T76" fmla="*/ 2147483647 w 106"/>
              <a:gd name="T77" fmla="*/ 2147483647 h 71"/>
              <a:gd name="T78" fmla="*/ 2147483647 w 106"/>
              <a:gd name="T79" fmla="*/ 2147483647 h 71"/>
              <a:gd name="T80" fmla="*/ 2147483647 w 106"/>
              <a:gd name="T81" fmla="*/ 2147483647 h 71"/>
              <a:gd name="T82" fmla="*/ 2147483647 w 106"/>
              <a:gd name="T83" fmla="*/ 2147483647 h 71"/>
              <a:gd name="T84" fmla="*/ 2147483647 w 106"/>
              <a:gd name="T85" fmla="*/ 2147483647 h 71"/>
              <a:gd name="T86" fmla="*/ 2147483647 w 106"/>
              <a:gd name="T87" fmla="*/ 2147483647 h 71"/>
              <a:gd name="T88" fmla="*/ 2147483647 w 106"/>
              <a:gd name="T89" fmla="*/ 2147483647 h 71"/>
              <a:gd name="T90" fmla="*/ 0 w 106"/>
              <a:gd name="T91" fmla="*/ 2147483647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rgbClr val="FF0000"/>
          </a:solidFill>
          <a:ln w="9525" cmpd="sng">
            <a:solidFill>
              <a:srgbClr val="FFFFFF"/>
            </a:solidFill>
            <a:prstDash val="solid"/>
            <a:round/>
            <a:headEnd/>
            <a:tailEnd/>
          </a:ln>
        </p:spPr>
        <p:txBody>
          <a:bodyPr/>
          <a:lstStyle/>
          <a:p>
            <a:endParaRPr lang="en-AU"/>
          </a:p>
        </p:txBody>
      </p:sp>
      <p:grpSp>
        <p:nvGrpSpPr>
          <p:cNvPr id="2082" name="Group 38"/>
          <p:cNvGrpSpPr>
            <a:grpSpLocks/>
          </p:cNvGrpSpPr>
          <p:nvPr>
            <p:custDataLst>
              <p:tags r:id="rId33"/>
            </p:custDataLst>
          </p:nvPr>
        </p:nvGrpSpPr>
        <p:grpSpPr bwMode="auto">
          <a:xfrm>
            <a:off x="2706688" y="5295900"/>
            <a:ext cx="65087" cy="55563"/>
            <a:chOff x="1654" y="3671"/>
            <a:chExt cx="49" cy="17"/>
          </a:xfrm>
        </p:grpSpPr>
        <p:sp>
          <p:nvSpPr>
            <p:cNvPr id="3" name="Freeform 39"/>
            <p:cNvSpPr>
              <a:spLocks/>
            </p:cNvSpPr>
            <p:nvPr/>
          </p:nvSpPr>
          <p:spPr bwMode="auto">
            <a:xfrm>
              <a:off x="1654" y="3672"/>
              <a:ext cx="20" cy="14"/>
            </a:xfrm>
            <a:custGeom>
              <a:avLst/>
              <a:gdLst>
                <a:gd name="T0" fmla="*/ 0 w 59"/>
                <a:gd name="T1" fmla="*/ 1 h 43"/>
                <a:gd name="T2" fmla="*/ 1 w 59"/>
                <a:gd name="T3" fmla="*/ 0 h 43"/>
                <a:gd name="T4" fmla="*/ 1 w 59"/>
                <a:gd name="T5" fmla="*/ 0 h 43"/>
                <a:gd name="T6" fmla="*/ 1 w 59"/>
                <a:gd name="T7" fmla="*/ 0 h 43"/>
                <a:gd name="T8" fmla="*/ 1 w 59"/>
                <a:gd name="T9" fmla="*/ 0 h 43"/>
                <a:gd name="T10" fmla="*/ 1 w 59"/>
                <a:gd name="T11" fmla="*/ 0 h 43"/>
                <a:gd name="T12" fmla="*/ 1 w 59"/>
                <a:gd name="T13" fmla="*/ 0 h 43"/>
                <a:gd name="T14" fmla="*/ 0 w 59"/>
                <a:gd name="T15" fmla="*/ 0 h 43"/>
                <a:gd name="T16" fmla="*/ 0 w 59"/>
                <a:gd name="T17" fmla="*/ 0 h 43"/>
                <a:gd name="T18" fmla="*/ 0 w 59"/>
                <a:gd name="T19" fmla="*/ 0 h 43"/>
                <a:gd name="T20" fmla="*/ 0 w 59"/>
                <a:gd name="T21" fmla="*/ 0 h 43"/>
                <a:gd name="T22" fmla="*/ 0 w 59"/>
                <a:gd name="T23" fmla="*/ 0 h 43"/>
                <a:gd name="T24" fmla="*/ 0 w 59"/>
                <a:gd name="T25" fmla="*/ 0 h 43"/>
                <a:gd name="T26" fmla="*/ 0 w 59"/>
                <a:gd name="T27" fmla="*/ 0 h 43"/>
                <a:gd name="T28" fmla="*/ 0 w 59"/>
                <a:gd name="T29" fmla="*/ 0 h 43"/>
                <a:gd name="T30" fmla="*/ 0 w 59"/>
                <a:gd name="T31" fmla="*/ 0 h 43"/>
                <a:gd name="T32" fmla="*/ 0 w 59"/>
                <a:gd name="T33" fmla="*/ 0 h 43"/>
                <a:gd name="T34" fmla="*/ 0 w 59"/>
                <a:gd name="T35" fmla="*/ 0 h 43"/>
                <a:gd name="T36" fmla="*/ 0 w 59"/>
                <a:gd name="T37" fmla="*/ 0 h 43"/>
                <a:gd name="T38" fmla="*/ 0 w 59"/>
                <a:gd name="T39" fmla="*/ 1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mpd="sng">
              <a:solidFill>
                <a:srgbClr val="FFFFFF"/>
              </a:solidFill>
              <a:prstDash val="solid"/>
              <a:round/>
              <a:headEnd/>
              <a:tailEnd/>
            </a:ln>
          </p:spPr>
          <p:txBody>
            <a:bodyPr/>
            <a:lstStyle/>
            <a:p>
              <a:endParaRPr lang="en-AU"/>
            </a:p>
          </p:txBody>
        </p:sp>
        <p:sp>
          <p:nvSpPr>
            <p:cNvPr id="4" name="Freeform 40"/>
            <p:cNvSpPr>
              <a:spLocks/>
            </p:cNvSpPr>
            <p:nvPr/>
          </p:nvSpPr>
          <p:spPr bwMode="auto">
            <a:xfrm>
              <a:off x="1681" y="3671"/>
              <a:ext cx="22" cy="17"/>
            </a:xfrm>
            <a:custGeom>
              <a:avLst/>
              <a:gdLst>
                <a:gd name="T0" fmla="*/ 0 w 67"/>
                <a:gd name="T1" fmla="*/ 0 h 51"/>
                <a:gd name="T2" fmla="*/ 0 w 67"/>
                <a:gd name="T3" fmla="*/ 0 h 51"/>
                <a:gd name="T4" fmla="*/ 0 w 67"/>
                <a:gd name="T5" fmla="*/ 0 h 51"/>
                <a:gd name="T6" fmla="*/ 1 w 67"/>
                <a:gd name="T7" fmla="*/ 0 h 51"/>
                <a:gd name="T8" fmla="*/ 1 w 67"/>
                <a:gd name="T9" fmla="*/ 0 h 51"/>
                <a:gd name="T10" fmla="*/ 1 w 67"/>
                <a:gd name="T11" fmla="*/ 0 h 51"/>
                <a:gd name="T12" fmla="*/ 1 w 67"/>
                <a:gd name="T13" fmla="*/ 0 h 51"/>
                <a:gd name="T14" fmla="*/ 1 w 67"/>
                <a:gd name="T15" fmla="*/ 0 h 51"/>
                <a:gd name="T16" fmla="*/ 1 w 67"/>
                <a:gd name="T17" fmla="*/ 0 h 51"/>
                <a:gd name="T18" fmla="*/ 1 w 67"/>
                <a:gd name="T19" fmla="*/ 0 h 51"/>
                <a:gd name="T20" fmla="*/ 0 w 67"/>
                <a:gd name="T21" fmla="*/ 0 h 51"/>
                <a:gd name="T22" fmla="*/ 0 w 67"/>
                <a:gd name="T23" fmla="*/ 0 h 51"/>
                <a:gd name="T24" fmla="*/ 0 w 67"/>
                <a:gd name="T25" fmla="*/ 0 h 51"/>
                <a:gd name="T26" fmla="*/ 0 w 67"/>
                <a:gd name="T27" fmla="*/ 0 h 51"/>
                <a:gd name="T28" fmla="*/ 0 w 67"/>
                <a:gd name="T29" fmla="*/ 0 h 51"/>
                <a:gd name="T30" fmla="*/ 0 w 67"/>
                <a:gd name="T31" fmla="*/ 0 h 51"/>
                <a:gd name="T32" fmla="*/ 0 w 67"/>
                <a:gd name="T33" fmla="*/ 0 h 51"/>
                <a:gd name="T34" fmla="*/ 0 w 67"/>
                <a:gd name="T35" fmla="*/ 1 h 51"/>
                <a:gd name="T36" fmla="*/ 0 w 67"/>
                <a:gd name="T37" fmla="*/ 1 h 51"/>
                <a:gd name="T38" fmla="*/ 0 w 67"/>
                <a:gd name="T39" fmla="*/ 1 h 51"/>
                <a:gd name="T40" fmla="*/ 0 w 67"/>
                <a:gd name="T41" fmla="*/ 1 h 51"/>
                <a:gd name="T42" fmla="*/ 0 w 67"/>
                <a:gd name="T43" fmla="*/ 0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mpd="sng">
              <a:solidFill>
                <a:srgbClr val="FFFFFF"/>
              </a:solidFill>
              <a:prstDash val="solid"/>
              <a:round/>
              <a:headEnd/>
              <a:tailEnd/>
            </a:ln>
          </p:spPr>
          <p:txBody>
            <a:bodyPr/>
            <a:lstStyle/>
            <a:p>
              <a:endParaRPr lang="en-AU"/>
            </a:p>
          </p:txBody>
        </p:sp>
      </p:grpSp>
      <p:sp>
        <p:nvSpPr>
          <p:cNvPr id="2083" name="Freeform 41"/>
          <p:cNvSpPr>
            <a:spLocks/>
          </p:cNvSpPr>
          <p:nvPr>
            <p:custDataLst>
              <p:tags r:id="rId34"/>
            </p:custDataLst>
          </p:nvPr>
        </p:nvSpPr>
        <p:spPr bwMode="auto">
          <a:xfrm>
            <a:off x="2354263" y="3090863"/>
            <a:ext cx="31750" cy="58737"/>
          </a:xfrm>
          <a:custGeom>
            <a:avLst/>
            <a:gdLst>
              <a:gd name="T0" fmla="*/ 0 w 80"/>
              <a:gd name="T1" fmla="*/ 2147483647 h 34"/>
              <a:gd name="T2" fmla="*/ 2147483647 w 80"/>
              <a:gd name="T3" fmla="*/ 2147483647 h 34"/>
              <a:gd name="T4" fmla="*/ 2147483647 w 80"/>
              <a:gd name="T5" fmla="*/ 2147483647 h 34"/>
              <a:gd name="T6" fmla="*/ 2147483647 w 80"/>
              <a:gd name="T7" fmla="*/ 2147483647 h 34"/>
              <a:gd name="T8" fmla="*/ 2147483647 w 80"/>
              <a:gd name="T9" fmla="*/ 2147483647 h 34"/>
              <a:gd name="T10" fmla="*/ 2147483647 w 80"/>
              <a:gd name="T11" fmla="*/ 2147483647 h 34"/>
              <a:gd name="T12" fmla="*/ 2147483647 w 80"/>
              <a:gd name="T13" fmla="*/ 2147483647 h 34"/>
              <a:gd name="T14" fmla="*/ 2147483647 w 80"/>
              <a:gd name="T15" fmla="*/ 2147483647 h 34"/>
              <a:gd name="T16" fmla="*/ 2147483647 w 80"/>
              <a:gd name="T17" fmla="*/ 2147483647 h 34"/>
              <a:gd name="T18" fmla="*/ 2147483647 w 80"/>
              <a:gd name="T19" fmla="*/ 2147483647 h 34"/>
              <a:gd name="T20" fmla="*/ 2147483647 w 80"/>
              <a:gd name="T21" fmla="*/ 2147483647 h 34"/>
              <a:gd name="T22" fmla="*/ 2147483647 w 80"/>
              <a:gd name="T23" fmla="*/ 2147483647 h 34"/>
              <a:gd name="T24" fmla="*/ 2147483647 w 80"/>
              <a:gd name="T25" fmla="*/ 2147483647 h 34"/>
              <a:gd name="T26" fmla="*/ 2147483647 w 80"/>
              <a:gd name="T27" fmla="*/ 2147483647 h 34"/>
              <a:gd name="T28" fmla="*/ 2147483647 w 80"/>
              <a:gd name="T29" fmla="*/ 2147483647 h 34"/>
              <a:gd name="T30" fmla="*/ 2147483647 w 80"/>
              <a:gd name="T31" fmla="*/ 2147483647 h 34"/>
              <a:gd name="T32" fmla="*/ 2147483647 w 80"/>
              <a:gd name="T33" fmla="*/ 2147483647 h 34"/>
              <a:gd name="T34" fmla="*/ 2147483647 w 80"/>
              <a:gd name="T35" fmla="*/ 2147483647 h 34"/>
              <a:gd name="T36" fmla="*/ 2147483647 w 80"/>
              <a:gd name="T37" fmla="*/ 2147483647 h 34"/>
              <a:gd name="T38" fmla="*/ 2147483647 w 80"/>
              <a:gd name="T39" fmla="*/ 0 h 34"/>
              <a:gd name="T40" fmla="*/ 2147483647 w 80"/>
              <a:gd name="T41" fmla="*/ 0 h 34"/>
              <a:gd name="T42" fmla="*/ 2147483647 w 80"/>
              <a:gd name="T43" fmla="*/ 2147483647 h 34"/>
              <a:gd name="T44" fmla="*/ 2147483647 w 80"/>
              <a:gd name="T45" fmla="*/ 2147483647 h 34"/>
              <a:gd name="T46" fmla="*/ 2147483647 w 80"/>
              <a:gd name="T47" fmla="*/ 2147483647 h 34"/>
              <a:gd name="T48" fmla="*/ 2147483647 w 80"/>
              <a:gd name="T49" fmla="*/ 2147483647 h 34"/>
              <a:gd name="T50" fmla="*/ 2147483647 w 80"/>
              <a:gd name="T51" fmla="*/ 2147483647 h 34"/>
              <a:gd name="T52" fmla="*/ 2147483647 w 80"/>
              <a:gd name="T53" fmla="*/ 2147483647 h 34"/>
              <a:gd name="T54" fmla="*/ 2147483647 w 80"/>
              <a:gd name="T55" fmla="*/ 2147483647 h 34"/>
              <a:gd name="T56" fmla="*/ 2147483647 w 80"/>
              <a:gd name="T57" fmla="*/ 2147483647 h 34"/>
              <a:gd name="T58" fmla="*/ 2147483647 w 80"/>
              <a:gd name="T59" fmla="*/ 2147483647 h 34"/>
              <a:gd name="T60" fmla="*/ 0 w 80"/>
              <a:gd name="T61" fmla="*/ 2147483647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mpd="sng">
            <a:solidFill>
              <a:srgbClr val="FFFFFF"/>
            </a:solidFill>
            <a:prstDash val="solid"/>
            <a:round/>
            <a:headEnd/>
            <a:tailEnd/>
          </a:ln>
        </p:spPr>
        <p:txBody>
          <a:bodyPr/>
          <a:lstStyle/>
          <a:p>
            <a:endParaRPr lang="en-AU"/>
          </a:p>
        </p:txBody>
      </p:sp>
      <p:sp>
        <p:nvSpPr>
          <p:cNvPr id="2084" name="Freeform 42"/>
          <p:cNvSpPr>
            <a:spLocks/>
          </p:cNvSpPr>
          <p:nvPr>
            <p:custDataLst>
              <p:tags r:id="rId35"/>
            </p:custDataLst>
          </p:nvPr>
        </p:nvSpPr>
        <p:spPr bwMode="auto">
          <a:xfrm>
            <a:off x="2409825" y="3097213"/>
            <a:ext cx="1588" cy="58737"/>
          </a:xfrm>
          <a:custGeom>
            <a:avLst/>
            <a:gdLst>
              <a:gd name="T0" fmla="*/ 0 w 7"/>
              <a:gd name="T1" fmla="*/ 0 h 13"/>
              <a:gd name="T2" fmla="*/ 2147483647 w 7"/>
              <a:gd name="T3" fmla="*/ 2147483647 h 13"/>
              <a:gd name="T4" fmla="*/ 2147483647 w 7"/>
              <a:gd name="T5" fmla="*/ 2147483647 h 13"/>
              <a:gd name="T6" fmla="*/ 0 60000 65536"/>
              <a:gd name="T7" fmla="*/ 0 60000 65536"/>
              <a:gd name="T8" fmla="*/ 0 60000 65536"/>
            </a:gdLst>
            <a:ahLst/>
            <a:cxnLst>
              <a:cxn ang="T6">
                <a:pos x="T0" y="T1"/>
              </a:cxn>
              <a:cxn ang="T7">
                <a:pos x="T2" y="T3"/>
              </a:cxn>
              <a:cxn ang="T8">
                <a:pos x="T4" y="T5"/>
              </a:cxn>
            </a:cxnLst>
            <a:rect l="0" t="0" r="r" b="b"/>
            <a:pathLst>
              <a:path w="7" h="13">
                <a:moveTo>
                  <a:pt x="0" y="0"/>
                </a:moveTo>
                <a:lnTo>
                  <a:pt x="7" y="13"/>
                </a:lnTo>
                <a:lnTo>
                  <a:pt x="7" y="7"/>
                </a:lnTo>
              </a:path>
            </a:pathLst>
          </a:custGeom>
          <a:solidFill>
            <a:srgbClr val="C0C0C0"/>
          </a:solidFill>
          <a:ln w="9525" cmpd="sng">
            <a:solidFill>
              <a:srgbClr val="FFFFFF"/>
            </a:solidFill>
            <a:prstDash val="solid"/>
            <a:round/>
            <a:headEnd/>
            <a:tailEnd/>
          </a:ln>
        </p:spPr>
        <p:txBody>
          <a:bodyPr/>
          <a:lstStyle/>
          <a:p>
            <a:endParaRPr lang="en-AU"/>
          </a:p>
        </p:txBody>
      </p:sp>
      <p:sp>
        <p:nvSpPr>
          <p:cNvPr id="2085" name="Freeform 43"/>
          <p:cNvSpPr>
            <a:spLocks/>
          </p:cNvSpPr>
          <p:nvPr>
            <p:custDataLst>
              <p:tags r:id="rId36"/>
            </p:custDataLst>
          </p:nvPr>
        </p:nvSpPr>
        <p:spPr bwMode="auto">
          <a:xfrm>
            <a:off x="2422525" y="3098800"/>
            <a:ext cx="6350" cy="58738"/>
          </a:xfrm>
          <a:custGeom>
            <a:avLst/>
            <a:gdLst>
              <a:gd name="T0" fmla="*/ 0 w 20"/>
              <a:gd name="T1" fmla="*/ 0 h 6"/>
              <a:gd name="T2" fmla="*/ 2147483647 w 20"/>
              <a:gd name="T3" fmla="*/ 2147483647 h 6"/>
              <a:gd name="T4" fmla="*/ 2147483647 w 20"/>
              <a:gd name="T5" fmla="*/ 2147483647 h 6"/>
              <a:gd name="T6" fmla="*/ 0 w 2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6">
                <a:moveTo>
                  <a:pt x="0" y="0"/>
                </a:moveTo>
                <a:lnTo>
                  <a:pt x="7" y="3"/>
                </a:lnTo>
                <a:lnTo>
                  <a:pt x="20" y="6"/>
                </a:lnTo>
                <a:lnTo>
                  <a:pt x="0" y="0"/>
                </a:lnTo>
              </a:path>
            </a:pathLst>
          </a:custGeom>
          <a:solidFill>
            <a:srgbClr val="C0C0C0"/>
          </a:solidFill>
          <a:ln w="9525" cmpd="sng">
            <a:solidFill>
              <a:srgbClr val="FFFFFF"/>
            </a:solidFill>
            <a:prstDash val="solid"/>
            <a:round/>
            <a:headEnd/>
            <a:tailEnd/>
          </a:ln>
        </p:spPr>
        <p:txBody>
          <a:bodyPr/>
          <a:lstStyle/>
          <a:p>
            <a:endParaRPr lang="en-AU"/>
          </a:p>
        </p:txBody>
      </p:sp>
      <p:sp>
        <p:nvSpPr>
          <p:cNvPr id="2086" name="Freeform 44"/>
          <p:cNvSpPr>
            <a:spLocks/>
          </p:cNvSpPr>
          <p:nvPr>
            <p:custDataLst>
              <p:tags r:id="rId37"/>
            </p:custDataLst>
          </p:nvPr>
        </p:nvSpPr>
        <p:spPr bwMode="auto">
          <a:xfrm>
            <a:off x="2436813" y="3089275"/>
            <a:ext cx="7937" cy="57150"/>
          </a:xfrm>
          <a:custGeom>
            <a:avLst/>
            <a:gdLst>
              <a:gd name="T0" fmla="*/ 0 w 14"/>
              <a:gd name="T1" fmla="*/ 2147483647 h 12"/>
              <a:gd name="T2" fmla="*/ 2147483647 w 14"/>
              <a:gd name="T3" fmla="*/ 0 h 12"/>
              <a:gd name="T4" fmla="*/ 0 w 14"/>
              <a:gd name="T5" fmla="*/ 2147483647 h 12"/>
              <a:gd name="T6" fmla="*/ 0 60000 65536"/>
              <a:gd name="T7" fmla="*/ 0 60000 65536"/>
              <a:gd name="T8" fmla="*/ 0 60000 65536"/>
            </a:gdLst>
            <a:ahLst/>
            <a:cxnLst>
              <a:cxn ang="T6">
                <a:pos x="T0" y="T1"/>
              </a:cxn>
              <a:cxn ang="T7">
                <a:pos x="T2" y="T3"/>
              </a:cxn>
              <a:cxn ang="T8">
                <a:pos x="T4" y="T5"/>
              </a:cxn>
            </a:cxnLst>
            <a:rect l="0" t="0" r="r" b="b"/>
            <a:pathLst>
              <a:path w="14" h="12">
                <a:moveTo>
                  <a:pt x="0" y="12"/>
                </a:moveTo>
                <a:lnTo>
                  <a:pt x="14" y="0"/>
                </a:lnTo>
                <a:lnTo>
                  <a:pt x="0" y="12"/>
                </a:lnTo>
              </a:path>
            </a:pathLst>
          </a:custGeom>
          <a:solidFill>
            <a:srgbClr val="C0C0C0"/>
          </a:solidFill>
          <a:ln w="9525" cmpd="sng">
            <a:solidFill>
              <a:srgbClr val="FFFFFF"/>
            </a:solidFill>
            <a:prstDash val="solid"/>
            <a:round/>
            <a:headEnd/>
            <a:tailEnd/>
          </a:ln>
        </p:spPr>
        <p:txBody>
          <a:bodyPr/>
          <a:lstStyle/>
          <a:p>
            <a:endParaRPr lang="en-AU"/>
          </a:p>
        </p:txBody>
      </p:sp>
      <p:sp>
        <p:nvSpPr>
          <p:cNvPr id="2087" name="Freeform 45"/>
          <p:cNvSpPr>
            <a:spLocks/>
          </p:cNvSpPr>
          <p:nvPr>
            <p:custDataLst>
              <p:tags r:id="rId38"/>
            </p:custDataLst>
          </p:nvPr>
        </p:nvSpPr>
        <p:spPr bwMode="auto">
          <a:xfrm>
            <a:off x="2416175" y="3081338"/>
            <a:ext cx="11113" cy="58737"/>
          </a:xfrm>
          <a:custGeom>
            <a:avLst/>
            <a:gdLst>
              <a:gd name="T0" fmla="*/ 0 w 27"/>
              <a:gd name="T1" fmla="*/ 0 h 7"/>
              <a:gd name="T2" fmla="*/ 0 w 27"/>
              <a:gd name="T3" fmla="*/ 2147483647 h 7"/>
              <a:gd name="T4" fmla="*/ 2147483647 w 27"/>
              <a:gd name="T5" fmla="*/ 2147483647 h 7"/>
              <a:gd name="T6" fmla="*/ 2147483647 w 27"/>
              <a:gd name="T7" fmla="*/ 2147483647 h 7"/>
              <a:gd name="T8" fmla="*/ 2147483647 w 27"/>
              <a:gd name="T9" fmla="*/ 2147483647 h 7"/>
              <a:gd name="T10" fmla="*/ 2147483647 w 27"/>
              <a:gd name="T11" fmla="*/ 2147483647 h 7"/>
              <a:gd name="T12" fmla="*/ 2147483647 w 27"/>
              <a:gd name="T13" fmla="*/ 2147483647 h 7"/>
              <a:gd name="T14" fmla="*/ 2147483647 w 27"/>
              <a:gd name="T15" fmla="*/ 2147483647 h 7"/>
              <a:gd name="T16" fmla="*/ 2147483647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mpd="sng">
            <a:solidFill>
              <a:srgbClr val="FFFFFF"/>
            </a:solidFill>
            <a:prstDash val="solid"/>
            <a:round/>
            <a:headEnd/>
            <a:tailEnd/>
          </a:ln>
        </p:spPr>
        <p:txBody>
          <a:bodyPr/>
          <a:lstStyle/>
          <a:p>
            <a:endParaRPr lang="en-AU"/>
          </a:p>
        </p:txBody>
      </p:sp>
      <p:sp>
        <p:nvSpPr>
          <p:cNvPr id="2088" name="Freeform 46"/>
          <p:cNvSpPr>
            <a:spLocks/>
          </p:cNvSpPr>
          <p:nvPr>
            <p:custDataLst>
              <p:tags r:id="rId39"/>
            </p:custDataLst>
          </p:nvPr>
        </p:nvSpPr>
        <p:spPr bwMode="auto">
          <a:xfrm>
            <a:off x="2465388" y="3109913"/>
            <a:ext cx="14287" cy="60325"/>
          </a:xfrm>
          <a:custGeom>
            <a:avLst/>
            <a:gdLst>
              <a:gd name="T0" fmla="*/ 0 w 27"/>
              <a:gd name="T1" fmla="*/ 0 h 6"/>
              <a:gd name="T2" fmla="*/ 2147483647 w 27"/>
              <a:gd name="T3" fmla="*/ 2147483647 h 6"/>
              <a:gd name="T4" fmla="*/ 2147483647 w 27"/>
              <a:gd name="T5" fmla="*/ 2147483647 h 6"/>
              <a:gd name="T6" fmla="*/ 0 60000 65536"/>
              <a:gd name="T7" fmla="*/ 0 60000 65536"/>
              <a:gd name="T8" fmla="*/ 0 60000 65536"/>
            </a:gdLst>
            <a:ahLst/>
            <a:cxnLst>
              <a:cxn ang="T6">
                <a:pos x="T0" y="T1"/>
              </a:cxn>
              <a:cxn ang="T7">
                <a:pos x="T2" y="T3"/>
              </a:cxn>
              <a:cxn ang="T8">
                <a:pos x="T4" y="T5"/>
              </a:cxn>
            </a:cxnLst>
            <a:rect l="0" t="0" r="r" b="b"/>
            <a:pathLst>
              <a:path w="27" h="6">
                <a:moveTo>
                  <a:pt x="0" y="0"/>
                </a:moveTo>
                <a:lnTo>
                  <a:pt x="11" y="3"/>
                </a:lnTo>
                <a:lnTo>
                  <a:pt x="27" y="6"/>
                </a:lnTo>
              </a:path>
            </a:pathLst>
          </a:custGeom>
          <a:solidFill>
            <a:srgbClr val="C0C0C0"/>
          </a:solidFill>
          <a:ln w="9525" cmpd="sng">
            <a:solidFill>
              <a:srgbClr val="FFFFFF"/>
            </a:solidFill>
            <a:prstDash val="solid"/>
            <a:round/>
            <a:headEnd/>
            <a:tailEnd/>
          </a:ln>
        </p:spPr>
        <p:txBody>
          <a:bodyPr/>
          <a:lstStyle/>
          <a:p>
            <a:endParaRPr lang="en-AU"/>
          </a:p>
        </p:txBody>
      </p:sp>
      <p:sp>
        <p:nvSpPr>
          <p:cNvPr id="2089" name="Line 47"/>
          <p:cNvSpPr>
            <a:spLocks noChangeShapeType="1"/>
          </p:cNvSpPr>
          <p:nvPr>
            <p:custDataLst>
              <p:tags r:id="rId40"/>
            </p:custDataLst>
          </p:nvPr>
        </p:nvSpPr>
        <p:spPr bwMode="auto">
          <a:xfrm flipH="1" flipV="1">
            <a:off x="2473325" y="3106738"/>
            <a:ext cx="6350" cy="9525"/>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AU"/>
          </a:p>
        </p:txBody>
      </p:sp>
      <p:sp>
        <p:nvSpPr>
          <p:cNvPr id="2090" name="Line 48"/>
          <p:cNvSpPr>
            <a:spLocks noChangeShapeType="1"/>
          </p:cNvSpPr>
          <p:nvPr>
            <p:custDataLst>
              <p:tags r:id="rId41"/>
            </p:custDataLst>
          </p:nvPr>
        </p:nvSpPr>
        <p:spPr bwMode="auto">
          <a:xfrm flipH="1">
            <a:off x="2473325" y="3132138"/>
            <a:ext cx="6350" cy="11112"/>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AU"/>
          </a:p>
        </p:txBody>
      </p:sp>
      <p:sp>
        <p:nvSpPr>
          <p:cNvPr id="2091" name="Freeform 49"/>
          <p:cNvSpPr>
            <a:spLocks/>
          </p:cNvSpPr>
          <p:nvPr>
            <p:custDataLst>
              <p:tags r:id="rId42"/>
            </p:custDataLst>
          </p:nvPr>
        </p:nvSpPr>
        <p:spPr bwMode="auto">
          <a:xfrm>
            <a:off x="2473325" y="3127375"/>
            <a:ext cx="11113" cy="58738"/>
          </a:xfrm>
          <a:custGeom>
            <a:avLst/>
            <a:gdLst>
              <a:gd name="T0" fmla="*/ 0 w 20"/>
              <a:gd name="T1" fmla="*/ 2147483647 h 24"/>
              <a:gd name="T2" fmla="*/ 2147483647 w 20"/>
              <a:gd name="T3" fmla="*/ 2147483647 h 24"/>
              <a:gd name="T4" fmla="*/ 2147483647 w 20"/>
              <a:gd name="T5" fmla="*/ 2147483647 h 24"/>
              <a:gd name="T6" fmla="*/ 2147483647 w 20"/>
              <a:gd name="T7" fmla="*/ 2147483647 h 24"/>
              <a:gd name="T8" fmla="*/ 2147483647 w 20"/>
              <a:gd name="T9" fmla="*/ 2147483647 h 24"/>
              <a:gd name="T10" fmla="*/ 2147483647 w 20"/>
              <a:gd name="T11" fmla="*/ 2147483647 h 24"/>
              <a:gd name="T12" fmla="*/ 2147483647 w 20"/>
              <a:gd name="T13" fmla="*/ 2147483647 h 24"/>
              <a:gd name="T14" fmla="*/ 2147483647 w 20"/>
              <a:gd name="T15" fmla="*/ 2147483647 h 24"/>
              <a:gd name="T16" fmla="*/ 2147483647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mpd="sng">
            <a:solidFill>
              <a:srgbClr val="FFFFFF"/>
            </a:solidFill>
            <a:prstDash val="solid"/>
            <a:round/>
            <a:headEnd/>
            <a:tailEnd/>
          </a:ln>
        </p:spPr>
        <p:txBody>
          <a:bodyPr/>
          <a:lstStyle/>
          <a:p>
            <a:endParaRPr lang="en-AU"/>
          </a:p>
        </p:txBody>
      </p:sp>
      <p:sp>
        <p:nvSpPr>
          <p:cNvPr id="2092" name="Freeform 50"/>
          <p:cNvSpPr>
            <a:spLocks/>
          </p:cNvSpPr>
          <p:nvPr>
            <p:custDataLst>
              <p:tags r:id="rId43"/>
            </p:custDataLst>
          </p:nvPr>
        </p:nvSpPr>
        <p:spPr bwMode="auto">
          <a:xfrm>
            <a:off x="2479675" y="3155950"/>
            <a:ext cx="17463" cy="55563"/>
          </a:xfrm>
          <a:custGeom>
            <a:avLst/>
            <a:gdLst>
              <a:gd name="T0" fmla="*/ 2147483647 w 33"/>
              <a:gd name="T1" fmla="*/ 2147483647 h 25"/>
              <a:gd name="T2" fmla="*/ 0 w 33"/>
              <a:gd name="T3" fmla="*/ 2147483647 h 25"/>
              <a:gd name="T4" fmla="*/ 2147483647 w 33"/>
              <a:gd name="T5" fmla="*/ 2147483647 h 25"/>
              <a:gd name="T6" fmla="*/ 2147483647 w 33"/>
              <a:gd name="T7" fmla="*/ 2147483647 h 25"/>
              <a:gd name="T8" fmla="*/ 2147483647 w 33"/>
              <a:gd name="T9" fmla="*/ 2147483647 h 25"/>
              <a:gd name="T10" fmla="*/ 2147483647 w 33"/>
              <a:gd name="T11" fmla="*/ 2147483647 h 25"/>
              <a:gd name="T12" fmla="*/ 2147483647 w 33"/>
              <a:gd name="T13" fmla="*/ 0 h 25"/>
              <a:gd name="T14" fmla="*/ 2147483647 w 33"/>
              <a:gd name="T15" fmla="*/ 0 h 25"/>
              <a:gd name="T16" fmla="*/ 2147483647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mpd="sng">
            <a:solidFill>
              <a:srgbClr val="FFFFFF"/>
            </a:solidFill>
            <a:prstDash val="solid"/>
            <a:round/>
            <a:headEnd/>
            <a:tailEnd/>
          </a:ln>
        </p:spPr>
        <p:txBody>
          <a:bodyPr/>
          <a:lstStyle/>
          <a:p>
            <a:endParaRPr lang="en-AU"/>
          </a:p>
        </p:txBody>
      </p:sp>
      <p:sp>
        <p:nvSpPr>
          <p:cNvPr id="2093" name="Freeform 51"/>
          <p:cNvSpPr>
            <a:spLocks/>
          </p:cNvSpPr>
          <p:nvPr>
            <p:custDataLst>
              <p:tags r:id="rId44"/>
            </p:custDataLst>
          </p:nvPr>
        </p:nvSpPr>
        <p:spPr bwMode="auto">
          <a:xfrm>
            <a:off x="2486025" y="3203575"/>
            <a:ext cx="15875" cy="57150"/>
          </a:xfrm>
          <a:custGeom>
            <a:avLst/>
            <a:gdLst>
              <a:gd name="T0" fmla="*/ 0 w 40"/>
              <a:gd name="T1" fmla="*/ 0 h 18"/>
              <a:gd name="T2" fmla="*/ 2147483647 w 40"/>
              <a:gd name="T3" fmla="*/ 2147483647 h 18"/>
              <a:gd name="T4" fmla="*/ 2147483647 w 40"/>
              <a:gd name="T5" fmla="*/ 2147483647 h 18"/>
              <a:gd name="T6" fmla="*/ 2147483647 w 40"/>
              <a:gd name="T7" fmla="*/ 2147483647 h 18"/>
              <a:gd name="T8" fmla="*/ 2147483647 w 40"/>
              <a:gd name="T9" fmla="*/ 2147483647 h 18"/>
              <a:gd name="T10" fmla="*/ 2147483647 w 40"/>
              <a:gd name="T11" fmla="*/ 2147483647 h 18"/>
              <a:gd name="T12" fmla="*/ 2147483647 w 40"/>
              <a:gd name="T13" fmla="*/ 2147483647 h 18"/>
              <a:gd name="T14" fmla="*/ 2147483647 w 40"/>
              <a:gd name="T15" fmla="*/ 0 h 18"/>
              <a:gd name="T16" fmla="*/ 2147483647 w 40"/>
              <a:gd name="T17" fmla="*/ 0 h 18"/>
              <a:gd name="T18" fmla="*/ 2147483647 w 40"/>
              <a:gd name="T19" fmla="*/ 0 h 18"/>
              <a:gd name="T20" fmla="*/ 2147483647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AU"/>
          </a:p>
        </p:txBody>
      </p:sp>
      <p:sp>
        <p:nvSpPr>
          <p:cNvPr id="2094" name="Freeform 52"/>
          <p:cNvSpPr>
            <a:spLocks/>
          </p:cNvSpPr>
          <p:nvPr>
            <p:custDataLst>
              <p:tags r:id="rId45"/>
            </p:custDataLst>
          </p:nvPr>
        </p:nvSpPr>
        <p:spPr bwMode="auto">
          <a:xfrm>
            <a:off x="2495550" y="3228975"/>
            <a:ext cx="3175" cy="57150"/>
          </a:xfrm>
          <a:custGeom>
            <a:avLst/>
            <a:gdLst>
              <a:gd name="T0" fmla="*/ 2147483647 w 11"/>
              <a:gd name="T1" fmla="*/ 2147483647 h 32"/>
              <a:gd name="T2" fmla="*/ 2147483647 w 11"/>
              <a:gd name="T3" fmla="*/ 2147483647 h 32"/>
              <a:gd name="T4" fmla="*/ 2147483647 w 11"/>
              <a:gd name="T5" fmla="*/ 2147483647 h 32"/>
              <a:gd name="T6" fmla="*/ 2147483647 w 11"/>
              <a:gd name="T7" fmla="*/ 2147483647 h 32"/>
              <a:gd name="T8" fmla="*/ 2147483647 w 11"/>
              <a:gd name="T9" fmla="*/ 2147483647 h 32"/>
              <a:gd name="T10" fmla="*/ 2147483647 w 11"/>
              <a:gd name="T11" fmla="*/ 2147483647 h 32"/>
              <a:gd name="T12" fmla="*/ 2147483647 w 11"/>
              <a:gd name="T13" fmla="*/ 0 h 32"/>
              <a:gd name="T14" fmla="*/ 2147483647 w 11"/>
              <a:gd name="T15" fmla="*/ 2147483647 h 32"/>
              <a:gd name="T16" fmla="*/ 2147483647 w 11"/>
              <a:gd name="T17" fmla="*/ 2147483647 h 32"/>
              <a:gd name="T18" fmla="*/ 2147483647 w 11"/>
              <a:gd name="T19" fmla="*/ 2147483647 h 32"/>
              <a:gd name="T20" fmla="*/ 0 w 11"/>
              <a:gd name="T21" fmla="*/ 2147483647 h 32"/>
              <a:gd name="T22" fmla="*/ 0 w 11"/>
              <a:gd name="T23" fmla="*/ 2147483647 h 32"/>
              <a:gd name="T24" fmla="*/ 2147483647 w 11"/>
              <a:gd name="T25" fmla="*/ 2147483647 h 32"/>
              <a:gd name="T26" fmla="*/ 2147483647 w 11"/>
              <a:gd name="T27" fmla="*/ 2147483647 h 32"/>
              <a:gd name="T28" fmla="*/ 2147483647 w 11"/>
              <a:gd name="T29" fmla="*/ 2147483647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mpd="sng">
            <a:solidFill>
              <a:srgbClr val="FFFFFF"/>
            </a:solidFill>
            <a:prstDash val="solid"/>
            <a:round/>
            <a:headEnd/>
            <a:tailEnd/>
          </a:ln>
        </p:spPr>
        <p:txBody>
          <a:bodyPr/>
          <a:lstStyle/>
          <a:p>
            <a:endParaRPr lang="en-AU"/>
          </a:p>
        </p:txBody>
      </p:sp>
      <p:sp>
        <p:nvSpPr>
          <p:cNvPr id="2095" name="Freeform 53"/>
          <p:cNvSpPr>
            <a:spLocks/>
          </p:cNvSpPr>
          <p:nvPr>
            <p:custDataLst>
              <p:tags r:id="rId46"/>
            </p:custDataLst>
          </p:nvPr>
        </p:nvSpPr>
        <p:spPr bwMode="auto">
          <a:xfrm>
            <a:off x="2517775" y="3259138"/>
            <a:ext cx="1588" cy="55562"/>
          </a:xfrm>
          <a:custGeom>
            <a:avLst/>
            <a:gdLst>
              <a:gd name="T0" fmla="*/ 0 w 14"/>
              <a:gd name="T1" fmla="*/ 0 h 24"/>
              <a:gd name="T2" fmla="*/ 0 w 14"/>
              <a:gd name="T3" fmla="*/ 2147483647 h 24"/>
              <a:gd name="T4" fmla="*/ 2147483647 w 14"/>
              <a:gd name="T5" fmla="*/ 2147483647 h 24"/>
              <a:gd name="T6" fmla="*/ 0 w 14"/>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4">
                <a:moveTo>
                  <a:pt x="0" y="0"/>
                </a:moveTo>
                <a:lnTo>
                  <a:pt x="0" y="24"/>
                </a:lnTo>
                <a:lnTo>
                  <a:pt x="14" y="12"/>
                </a:lnTo>
                <a:lnTo>
                  <a:pt x="0" y="0"/>
                </a:lnTo>
              </a:path>
            </a:pathLst>
          </a:custGeom>
          <a:solidFill>
            <a:srgbClr val="C0C0C0"/>
          </a:solidFill>
          <a:ln w="9525" cmpd="sng">
            <a:solidFill>
              <a:srgbClr val="FFFFFF"/>
            </a:solidFill>
            <a:prstDash val="solid"/>
            <a:round/>
            <a:headEnd/>
            <a:tailEnd/>
          </a:ln>
        </p:spPr>
        <p:txBody>
          <a:bodyPr/>
          <a:lstStyle/>
          <a:p>
            <a:endParaRPr lang="en-AU"/>
          </a:p>
        </p:txBody>
      </p:sp>
      <p:sp>
        <p:nvSpPr>
          <p:cNvPr id="2096" name="Freeform 54"/>
          <p:cNvSpPr>
            <a:spLocks/>
          </p:cNvSpPr>
          <p:nvPr>
            <p:custDataLst>
              <p:tags r:id="rId47"/>
            </p:custDataLst>
          </p:nvPr>
        </p:nvSpPr>
        <p:spPr bwMode="auto">
          <a:xfrm>
            <a:off x="2479675" y="3271838"/>
            <a:ext cx="15875" cy="58737"/>
          </a:xfrm>
          <a:custGeom>
            <a:avLst/>
            <a:gdLst>
              <a:gd name="T0" fmla="*/ 0 w 27"/>
              <a:gd name="T1" fmla="*/ 2147483647 h 18"/>
              <a:gd name="T2" fmla="*/ 2147483647 w 27"/>
              <a:gd name="T3" fmla="*/ 2147483647 h 18"/>
              <a:gd name="T4" fmla="*/ 2147483647 w 27"/>
              <a:gd name="T5" fmla="*/ 2147483647 h 18"/>
              <a:gd name="T6" fmla="*/ 2147483647 w 27"/>
              <a:gd name="T7" fmla="*/ 2147483647 h 18"/>
              <a:gd name="T8" fmla="*/ 2147483647 w 27"/>
              <a:gd name="T9" fmla="*/ 0 h 18"/>
              <a:gd name="T10" fmla="*/ 2147483647 w 27"/>
              <a:gd name="T11" fmla="*/ 0 h 18"/>
              <a:gd name="T12" fmla="*/ 2147483647 w 27"/>
              <a:gd name="T13" fmla="*/ 2147483647 h 18"/>
              <a:gd name="T14" fmla="*/ 2147483647 w 27"/>
              <a:gd name="T15" fmla="*/ 2147483647 h 18"/>
              <a:gd name="T16" fmla="*/ 2147483647 w 27"/>
              <a:gd name="T17" fmla="*/ 2147483647 h 18"/>
              <a:gd name="T18" fmla="*/ 2147483647 w 27"/>
              <a:gd name="T19" fmla="*/ 2147483647 h 18"/>
              <a:gd name="T20" fmla="*/ 0 w 27"/>
              <a:gd name="T21" fmla="*/ 2147483647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mpd="sng">
            <a:solidFill>
              <a:srgbClr val="FFFFFF"/>
            </a:solidFill>
            <a:prstDash val="solid"/>
            <a:round/>
            <a:headEnd/>
            <a:tailEnd/>
          </a:ln>
        </p:spPr>
        <p:txBody>
          <a:bodyPr/>
          <a:lstStyle/>
          <a:p>
            <a:endParaRPr lang="en-AU"/>
          </a:p>
        </p:txBody>
      </p:sp>
      <p:sp>
        <p:nvSpPr>
          <p:cNvPr id="2097" name="Freeform 55"/>
          <p:cNvSpPr>
            <a:spLocks/>
          </p:cNvSpPr>
          <p:nvPr>
            <p:custDataLst>
              <p:tags r:id="rId48"/>
            </p:custDataLst>
          </p:nvPr>
        </p:nvSpPr>
        <p:spPr bwMode="auto">
          <a:xfrm>
            <a:off x="2465388" y="3336925"/>
            <a:ext cx="23812" cy="57150"/>
          </a:xfrm>
          <a:custGeom>
            <a:avLst/>
            <a:gdLst>
              <a:gd name="T0" fmla="*/ 0 w 47"/>
              <a:gd name="T1" fmla="*/ 2147483647 h 49"/>
              <a:gd name="T2" fmla="*/ 2147483647 w 47"/>
              <a:gd name="T3" fmla="*/ 2147483647 h 49"/>
              <a:gd name="T4" fmla="*/ 2147483647 w 47"/>
              <a:gd name="T5" fmla="*/ 2147483647 h 49"/>
              <a:gd name="T6" fmla="*/ 2147483647 w 47"/>
              <a:gd name="T7" fmla="*/ 2147483647 h 49"/>
              <a:gd name="T8" fmla="*/ 2147483647 w 47"/>
              <a:gd name="T9" fmla="*/ 2147483647 h 49"/>
              <a:gd name="T10" fmla="*/ 2147483647 w 47"/>
              <a:gd name="T11" fmla="*/ 2147483647 h 49"/>
              <a:gd name="T12" fmla="*/ 2147483647 w 47"/>
              <a:gd name="T13" fmla="*/ 2147483647 h 49"/>
              <a:gd name="T14" fmla="*/ 2147483647 w 47"/>
              <a:gd name="T15" fmla="*/ 2147483647 h 49"/>
              <a:gd name="T16" fmla="*/ 2147483647 w 47"/>
              <a:gd name="T17" fmla="*/ 2147483647 h 49"/>
              <a:gd name="T18" fmla="*/ 2147483647 w 47"/>
              <a:gd name="T19" fmla="*/ 2147483647 h 49"/>
              <a:gd name="T20" fmla="*/ 2147483647 w 47"/>
              <a:gd name="T21" fmla="*/ 2147483647 h 49"/>
              <a:gd name="T22" fmla="*/ 2147483647 w 47"/>
              <a:gd name="T23" fmla="*/ 2147483647 h 49"/>
              <a:gd name="T24" fmla="*/ 2147483647 w 47"/>
              <a:gd name="T25" fmla="*/ 2147483647 h 49"/>
              <a:gd name="T26" fmla="*/ 2147483647 w 47"/>
              <a:gd name="T27" fmla="*/ 2147483647 h 49"/>
              <a:gd name="T28" fmla="*/ 2147483647 w 47"/>
              <a:gd name="T29" fmla="*/ 2147483647 h 49"/>
              <a:gd name="T30" fmla="*/ 2147483647 w 47"/>
              <a:gd name="T31" fmla="*/ 2147483647 h 49"/>
              <a:gd name="T32" fmla="*/ 2147483647 w 47"/>
              <a:gd name="T33" fmla="*/ 0 h 49"/>
              <a:gd name="T34" fmla="*/ 2147483647 w 47"/>
              <a:gd name="T35" fmla="*/ 0 h 49"/>
              <a:gd name="T36" fmla="*/ 2147483647 w 47"/>
              <a:gd name="T37" fmla="*/ 2147483647 h 49"/>
              <a:gd name="T38" fmla="*/ 2147483647 w 47"/>
              <a:gd name="T39" fmla="*/ 2147483647 h 49"/>
              <a:gd name="T40" fmla="*/ 2147483647 w 47"/>
              <a:gd name="T41" fmla="*/ 2147483647 h 49"/>
              <a:gd name="T42" fmla="*/ 2147483647 w 47"/>
              <a:gd name="T43" fmla="*/ 2147483647 h 49"/>
              <a:gd name="T44" fmla="*/ 2147483647 w 47"/>
              <a:gd name="T45" fmla="*/ 2147483647 h 49"/>
              <a:gd name="T46" fmla="*/ 0 w 47"/>
              <a:gd name="T47" fmla="*/ 2147483647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mpd="sng">
            <a:solidFill>
              <a:srgbClr val="FFFFFF"/>
            </a:solidFill>
            <a:prstDash val="solid"/>
            <a:round/>
            <a:headEnd/>
            <a:tailEnd/>
          </a:ln>
        </p:spPr>
        <p:txBody>
          <a:bodyPr/>
          <a:lstStyle/>
          <a:p>
            <a:endParaRPr lang="en-AU"/>
          </a:p>
        </p:txBody>
      </p:sp>
      <p:sp>
        <p:nvSpPr>
          <p:cNvPr id="2098" name="Freeform 56"/>
          <p:cNvSpPr>
            <a:spLocks/>
          </p:cNvSpPr>
          <p:nvPr>
            <p:custDataLst>
              <p:tags r:id="rId49"/>
            </p:custDataLst>
          </p:nvPr>
        </p:nvSpPr>
        <p:spPr bwMode="auto">
          <a:xfrm>
            <a:off x="2484438" y="3313113"/>
            <a:ext cx="12700" cy="57150"/>
          </a:xfrm>
          <a:custGeom>
            <a:avLst/>
            <a:gdLst>
              <a:gd name="T0" fmla="*/ 0 w 26"/>
              <a:gd name="T1" fmla="*/ 0 h 9"/>
              <a:gd name="T2" fmla="*/ 0 w 26"/>
              <a:gd name="T3" fmla="*/ 2147483647 h 9"/>
              <a:gd name="T4" fmla="*/ 2147483647 w 26"/>
              <a:gd name="T5" fmla="*/ 2147483647 h 9"/>
              <a:gd name="T6" fmla="*/ 2147483647 w 26"/>
              <a:gd name="T7" fmla="*/ 2147483647 h 9"/>
              <a:gd name="T8" fmla="*/ 2147483647 w 26"/>
              <a:gd name="T9" fmla="*/ 2147483647 h 9"/>
              <a:gd name="T10" fmla="*/ 2147483647 w 26"/>
              <a:gd name="T11" fmla="*/ 2147483647 h 9"/>
              <a:gd name="T12" fmla="*/ 2147483647 w 26"/>
              <a:gd name="T13" fmla="*/ 2147483647 h 9"/>
              <a:gd name="T14" fmla="*/ 2147483647 w 26"/>
              <a:gd name="T15" fmla="*/ 2147483647 h 9"/>
              <a:gd name="T16" fmla="*/ 2147483647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mpd="sng">
            <a:solidFill>
              <a:srgbClr val="FFFFFF"/>
            </a:solidFill>
            <a:prstDash val="solid"/>
            <a:round/>
            <a:headEnd/>
            <a:tailEnd/>
          </a:ln>
        </p:spPr>
        <p:txBody>
          <a:bodyPr/>
          <a:lstStyle/>
          <a:p>
            <a:endParaRPr lang="en-AU"/>
          </a:p>
        </p:txBody>
      </p:sp>
      <p:sp>
        <p:nvSpPr>
          <p:cNvPr id="2099" name="Freeform 57"/>
          <p:cNvSpPr>
            <a:spLocks/>
          </p:cNvSpPr>
          <p:nvPr>
            <p:custDataLst>
              <p:tags r:id="rId50"/>
            </p:custDataLst>
          </p:nvPr>
        </p:nvSpPr>
        <p:spPr bwMode="auto">
          <a:xfrm>
            <a:off x="1966913" y="2984500"/>
            <a:ext cx="15875" cy="57150"/>
          </a:xfrm>
          <a:custGeom>
            <a:avLst/>
            <a:gdLst>
              <a:gd name="T0" fmla="*/ 0 w 39"/>
              <a:gd name="T1" fmla="*/ 0 h 18"/>
              <a:gd name="T2" fmla="*/ 0 w 39"/>
              <a:gd name="T3" fmla="*/ 2147483647 h 18"/>
              <a:gd name="T4" fmla="*/ 2147483647 w 39"/>
              <a:gd name="T5" fmla="*/ 2147483647 h 18"/>
              <a:gd name="T6" fmla="*/ 2147483647 w 39"/>
              <a:gd name="T7" fmla="*/ 2147483647 h 18"/>
              <a:gd name="T8" fmla="*/ 2147483647 w 39"/>
              <a:gd name="T9" fmla="*/ 2147483647 h 18"/>
              <a:gd name="T10" fmla="*/ 2147483647 w 39"/>
              <a:gd name="T11" fmla="*/ 2147483647 h 18"/>
              <a:gd name="T12" fmla="*/ 2147483647 w 39"/>
              <a:gd name="T13" fmla="*/ 2147483647 h 18"/>
              <a:gd name="T14" fmla="*/ 2147483647 w 39"/>
              <a:gd name="T15" fmla="*/ 2147483647 h 18"/>
              <a:gd name="T16" fmla="*/ 2147483647 w 39"/>
              <a:gd name="T17" fmla="*/ 2147483647 h 18"/>
              <a:gd name="T18" fmla="*/ 2147483647 w 39"/>
              <a:gd name="T19" fmla="*/ 2147483647 h 18"/>
              <a:gd name="T20" fmla="*/ 2147483647 w 39"/>
              <a:gd name="T21" fmla="*/ 2147483647 h 18"/>
              <a:gd name="T22" fmla="*/ 2147483647 w 39"/>
              <a:gd name="T23" fmla="*/ 2147483647 h 18"/>
              <a:gd name="T24" fmla="*/ 2147483647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mpd="sng">
            <a:solidFill>
              <a:srgbClr val="FFFFFF"/>
            </a:solidFill>
            <a:prstDash val="solid"/>
            <a:round/>
            <a:headEnd/>
            <a:tailEnd/>
          </a:ln>
        </p:spPr>
        <p:txBody>
          <a:bodyPr/>
          <a:lstStyle/>
          <a:p>
            <a:endParaRPr lang="en-AU"/>
          </a:p>
        </p:txBody>
      </p:sp>
      <p:grpSp>
        <p:nvGrpSpPr>
          <p:cNvPr id="2100" name="Group 58"/>
          <p:cNvGrpSpPr>
            <a:grpSpLocks/>
          </p:cNvGrpSpPr>
          <p:nvPr>
            <p:custDataLst>
              <p:tags r:id="rId51"/>
            </p:custDataLst>
          </p:nvPr>
        </p:nvGrpSpPr>
        <p:grpSpPr bwMode="auto">
          <a:xfrm>
            <a:off x="2092325" y="2817813"/>
            <a:ext cx="131763" cy="195262"/>
            <a:chOff x="1199" y="2121"/>
            <a:chExt cx="97" cy="123"/>
          </a:xfrm>
        </p:grpSpPr>
        <p:sp>
          <p:nvSpPr>
            <p:cNvPr id="5" name="Freeform 59"/>
            <p:cNvSpPr>
              <a:spLocks/>
            </p:cNvSpPr>
            <p:nvPr/>
          </p:nvSpPr>
          <p:spPr bwMode="auto">
            <a:xfrm>
              <a:off x="1274" y="2236"/>
              <a:ext cx="16" cy="8"/>
            </a:xfrm>
            <a:custGeom>
              <a:avLst/>
              <a:gdLst>
                <a:gd name="T0" fmla="*/ 0 w 52"/>
                <a:gd name="T1" fmla="*/ 0 h 25"/>
                <a:gd name="T2" fmla="*/ 0 w 52"/>
                <a:gd name="T3" fmla="*/ 0 h 25"/>
                <a:gd name="T4" fmla="*/ 0 w 52"/>
                <a:gd name="T5" fmla="*/ 0 h 25"/>
                <a:gd name="T6" fmla="*/ 0 w 52"/>
                <a:gd name="T7" fmla="*/ 0 h 25"/>
                <a:gd name="T8" fmla="*/ 0 w 52"/>
                <a:gd name="T9" fmla="*/ 0 h 25"/>
                <a:gd name="T10" fmla="*/ 0 w 52"/>
                <a:gd name="T11" fmla="*/ 0 h 25"/>
                <a:gd name="T12" fmla="*/ 0 w 52"/>
                <a:gd name="T13" fmla="*/ 0 h 25"/>
                <a:gd name="T14" fmla="*/ 1 w 52"/>
                <a:gd name="T15" fmla="*/ 0 h 25"/>
                <a:gd name="T16" fmla="*/ 1 w 52"/>
                <a:gd name="T17" fmla="*/ 0 h 25"/>
                <a:gd name="T18" fmla="*/ 0 w 52"/>
                <a:gd name="T19" fmla="*/ 0 h 25"/>
                <a:gd name="T20" fmla="*/ 0 w 52"/>
                <a:gd name="T21" fmla="*/ 0 h 25"/>
                <a:gd name="T22" fmla="*/ 0 w 52"/>
                <a:gd name="T23" fmla="*/ 0 h 25"/>
                <a:gd name="T24" fmla="*/ 0 w 52"/>
                <a:gd name="T25" fmla="*/ 0 h 25"/>
                <a:gd name="T26" fmla="*/ 0 w 52"/>
                <a:gd name="T27" fmla="*/ 0 h 25"/>
                <a:gd name="T28" fmla="*/ 0 w 52"/>
                <a:gd name="T29" fmla="*/ 0 h 25"/>
                <a:gd name="T30" fmla="*/ 0 w 52"/>
                <a:gd name="T31" fmla="*/ 0 h 25"/>
                <a:gd name="T32" fmla="*/ 0 w 52"/>
                <a:gd name="T33" fmla="*/ 0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cmpd="sng">
              <a:solidFill>
                <a:srgbClr val="FFFFFF"/>
              </a:solidFill>
              <a:prstDash val="solid"/>
              <a:round/>
              <a:headEnd/>
              <a:tailEnd/>
            </a:ln>
          </p:spPr>
          <p:txBody>
            <a:bodyPr/>
            <a:lstStyle/>
            <a:p>
              <a:endParaRPr lang="en-AU"/>
            </a:p>
          </p:txBody>
        </p:sp>
        <p:sp>
          <p:nvSpPr>
            <p:cNvPr id="6" name="Freeform 60"/>
            <p:cNvSpPr>
              <a:spLocks/>
            </p:cNvSpPr>
            <p:nvPr/>
          </p:nvSpPr>
          <p:spPr bwMode="auto">
            <a:xfrm>
              <a:off x="1199" y="2131"/>
              <a:ext cx="11" cy="4"/>
            </a:xfrm>
            <a:custGeom>
              <a:avLst/>
              <a:gdLst>
                <a:gd name="T0" fmla="*/ 0 w 33"/>
                <a:gd name="T1" fmla="*/ 0 h 13"/>
                <a:gd name="T2" fmla="*/ 0 w 33"/>
                <a:gd name="T3" fmla="*/ 0 h 13"/>
                <a:gd name="T4" fmla="*/ 0 w 33"/>
                <a:gd name="T5" fmla="*/ 0 h 13"/>
                <a:gd name="T6" fmla="*/ 0 w 33"/>
                <a:gd name="T7" fmla="*/ 0 h 13"/>
                <a:gd name="T8" fmla="*/ 0 w 33"/>
                <a:gd name="T9" fmla="*/ 0 h 13"/>
                <a:gd name="T10" fmla="*/ 0 w 33"/>
                <a:gd name="T11" fmla="*/ 0 h 13"/>
                <a:gd name="T12" fmla="*/ 0 w 33"/>
                <a:gd name="T13" fmla="*/ 0 h 13"/>
                <a:gd name="T14" fmla="*/ 0 w 33"/>
                <a:gd name="T15" fmla="*/ 0 h 13"/>
                <a:gd name="T16" fmla="*/ 0 w 33"/>
                <a:gd name="T17" fmla="*/ 0 h 13"/>
                <a:gd name="T18" fmla="*/ 0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cmpd="sng">
              <a:solidFill>
                <a:srgbClr val="FFFFFF"/>
              </a:solidFill>
              <a:prstDash val="solid"/>
              <a:round/>
              <a:headEnd/>
              <a:tailEnd/>
            </a:ln>
          </p:spPr>
          <p:txBody>
            <a:bodyPr/>
            <a:lstStyle/>
            <a:p>
              <a:endParaRPr lang="en-AU"/>
            </a:p>
          </p:txBody>
        </p:sp>
        <p:sp>
          <p:nvSpPr>
            <p:cNvPr id="7" name="Freeform 61"/>
            <p:cNvSpPr>
              <a:spLocks/>
            </p:cNvSpPr>
            <p:nvPr/>
          </p:nvSpPr>
          <p:spPr bwMode="auto">
            <a:xfrm>
              <a:off x="1210" y="2121"/>
              <a:ext cx="20" cy="28"/>
            </a:xfrm>
            <a:custGeom>
              <a:avLst/>
              <a:gdLst>
                <a:gd name="T0" fmla="*/ 0 w 67"/>
                <a:gd name="T1" fmla="*/ 0 h 86"/>
                <a:gd name="T2" fmla="*/ 0 w 67"/>
                <a:gd name="T3" fmla="*/ 0 h 86"/>
                <a:gd name="T4" fmla="*/ 0 w 67"/>
                <a:gd name="T5" fmla="*/ 0 h 86"/>
                <a:gd name="T6" fmla="*/ 0 w 67"/>
                <a:gd name="T7" fmla="*/ 0 h 86"/>
                <a:gd name="T8" fmla="*/ 0 w 67"/>
                <a:gd name="T9" fmla="*/ 0 h 86"/>
                <a:gd name="T10" fmla="*/ 0 w 67"/>
                <a:gd name="T11" fmla="*/ 0 h 86"/>
                <a:gd name="T12" fmla="*/ 0 w 67"/>
                <a:gd name="T13" fmla="*/ 0 h 86"/>
                <a:gd name="T14" fmla="*/ 0 w 67"/>
                <a:gd name="T15" fmla="*/ 0 h 86"/>
                <a:gd name="T16" fmla="*/ 0 w 67"/>
                <a:gd name="T17" fmla="*/ 0 h 86"/>
                <a:gd name="T18" fmla="*/ 0 w 67"/>
                <a:gd name="T19" fmla="*/ 0 h 86"/>
                <a:gd name="T20" fmla="*/ 1 w 67"/>
                <a:gd name="T21" fmla="*/ 0 h 86"/>
                <a:gd name="T22" fmla="*/ 1 w 67"/>
                <a:gd name="T23" fmla="*/ 1 h 86"/>
                <a:gd name="T24" fmla="*/ 1 w 67"/>
                <a:gd name="T25" fmla="*/ 1 h 86"/>
                <a:gd name="T26" fmla="*/ 1 w 67"/>
                <a:gd name="T27" fmla="*/ 1 h 86"/>
                <a:gd name="T28" fmla="*/ 1 w 67"/>
                <a:gd name="T29" fmla="*/ 1 h 86"/>
                <a:gd name="T30" fmla="*/ 1 w 67"/>
                <a:gd name="T31" fmla="*/ 1 h 86"/>
                <a:gd name="T32" fmla="*/ 0 w 67"/>
                <a:gd name="T33" fmla="*/ 1 h 86"/>
                <a:gd name="T34" fmla="*/ 0 w 67"/>
                <a:gd name="T35" fmla="*/ 1 h 86"/>
                <a:gd name="T36" fmla="*/ 0 w 67"/>
                <a:gd name="T37" fmla="*/ 1 h 86"/>
                <a:gd name="T38" fmla="*/ 0 w 67"/>
                <a:gd name="T39" fmla="*/ 1 h 86"/>
                <a:gd name="T40" fmla="*/ 0 w 67"/>
                <a:gd name="T41" fmla="*/ 0 h 86"/>
                <a:gd name="T42" fmla="*/ 0 w 67"/>
                <a:gd name="T43" fmla="*/ 0 h 86"/>
                <a:gd name="T44" fmla="*/ 0 w 67"/>
                <a:gd name="T45" fmla="*/ 0 h 86"/>
                <a:gd name="T46" fmla="*/ 0 w 67"/>
                <a:gd name="T47" fmla="*/ 0 h 86"/>
                <a:gd name="T48" fmla="*/ 0 w 67"/>
                <a:gd name="T49" fmla="*/ 0 h 86"/>
                <a:gd name="T50" fmla="*/ 0 w 67"/>
                <a:gd name="T51" fmla="*/ 0 h 86"/>
                <a:gd name="T52" fmla="*/ 0 w 67"/>
                <a:gd name="T53" fmla="*/ 0 h 86"/>
                <a:gd name="T54" fmla="*/ 0 w 67"/>
                <a:gd name="T55" fmla="*/ 0 h 86"/>
                <a:gd name="T56" fmla="*/ 0 w 67"/>
                <a:gd name="T57" fmla="*/ 0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cmpd="sng">
              <a:solidFill>
                <a:srgbClr val="FFFFFF"/>
              </a:solidFill>
              <a:prstDash val="solid"/>
              <a:round/>
              <a:headEnd/>
              <a:tailEnd/>
            </a:ln>
          </p:spPr>
          <p:txBody>
            <a:bodyPr/>
            <a:lstStyle/>
            <a:p>
              <a:endParaRPr lang="en-AU"/>
            </a:p>
          </p:txBody>
        </p:sp>
        <p:sp>
          <p:nvSpPr>
            <p:cNvPr id="8" name="Freeform 62"/>
            <p:cNvSpPr>
              <a:spLocks/>
            </p:cNvSpPr>
            <p:nvPr/>
          </p:nvSpPr>
          <p:spPr bwMode="auto">
            <a:xfrm>
              <a:off x="1201" y="2159"/>
              <a:ext cx="16" cy="28"/>
            </a:xfrm>
            <a:custGeom>
              <a:avLst/>
              <a:gdLst>
                <a:gd name="T0" fmla="*/ 0 w 49"/>
                <a:gd name="T1" fmla="*/ 0 h 86"/>
                <a:gd name="T2" fmla="*/ 0 w 49"/>
                <a:gd name="T3" fmla="*/ 0 h 86"/>
                <a:gd name="T4" fmla="*/ 0 w 49"/>
                <a:gd name="T5" fmla="*/ 0 h 86"/>
                <a:gd name="T6" fmla="*/ 0 w 49"/>
                <a:gd name="T7" fmla="*/ 0 h 86"/>
                <a:gd name="T8" fmla="*/ 0 w 49"/>
                <a:gd name="T9" fmla="*/ 0 h 86"/>
                <a:gd name="T10" fmla="*/ 0 w 49"/>
                <a:gd name="T11" fmla="*/ 0 h 86"/>
                <a:gd name="T12" fmla="*/ 0 w 49"/>
                <a:gd name="T13" fmla="*/ 0 h 86"/>
                <a:gd name="T14" fmla="*/ 0 w 49"/>
                <a:gd name="T15" fmla="*/ 0 h 86"/>
                <a:gd name="T16" fmla="*/ 0 w 49"/>
                <a:gd name="T17" fmla="*/ 1 h 86"/>
                <a:gd name="T18" fmla="*/ 0 w 49"/>
                <a:gd name="T19" fmla="*/ 1 h 86"/>
                <a:gd name="T20" fmla="*/ 0 w 49"/>
                <a:gd name="T21" fmla="*/ 1 h 86"/>
                <a:gd name="T22" fmla="*/ 0 w 49"/>
                <a:gd name="T23" fmla="*/ 1 h 86"/>
                <a:gd name="T24" fmla="*/ 0 w 49"/>
                <a:gd name="T25" fmla="*/ 1 h 86"/>
                <a:gd name="T26" fmla="*/ 0 w 49"/>
                <a:gd name="T27" fmla="*/ 1 h 86"/>
                <a:gd name="T28" fmla="*/ 0 w 49"/>
                <a:gd name="T29" fmla="*/ 1 h 86"/>
                <a:gd name="T30" fmla="*/ 0 w 49"/>
                <a:gd name="T31" fmla="*/ 1 h 86"/>
                <a:gd name="T32" fmla="*/ 0 w 49"/>
                <a:gd name="T33" fmla="*/ 1 h 86"/>
                <a:gd name="T34" fmla="*/ 1 w 49"/>
                <a:gd name="T35" fmla="*/ 1 h 86"/>
                <a:gd name="T36" fmla="*/ 1 w 49"/>
                <a:gd name="T37" fmla="*/ 1 h 86"/>
                <a:gd name="T38" fmla="*/ 1 w 49"/>
                <a:gd name="T39" fmla="*/ 0 h 86"/>
                <a:gd name="T40" fmla="*/ 1 w 49"/>
                <a:gd name="T41" fmla="*/ 0 h 86"/>
                <a:gd name="T42" fmla="*/ 1 w 49"/>
                <a:gd name="T43" fmla="*/ 0 h 86"/>
                <a:gd name="T44" fmla="*/ 1 w 49"/>
                <a:gd name="T45" fmla="*/ 0 h 86"/>
                <a:gd name="T46" fmla="*/ 1 w 49"/>
                <a:gd name="T47" fmla="*/ 0 h 86"/>
                <a:gd name="T48" fmla="*/ 0 w 49"/>
                <a:gd name="T49" fmla="*/ 0 h 86"/>
                <a:gd name="T50" fmla="*/ 0 w 49"/>
                <a:gd name="T51" fmla="*/ 0 h 86"/>
                <a:gd name="T52" fmla="*/ 0 w 49"/>
                <a:gd name="T53" fmla="*/ 0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cmpd="sng">
              <a:solidFill>
                <a:srgbClr val="FFFFFF"/>
              </a:solidFill>
              <a:prstDash val="solid"/>
              <a:round/>
              <a:headEnd/>
              <a:tailEnd/>
            </a:ln>
          </p:spPr>
          <p:txBody>
            <a:bodyPr/>
            <a:lstStyle/>
            <a:p>
              <a:endParaRPr lang="en-AU"/>
            </a:p>
          </p:txBody>
        </p:sp>
        <p:sp>
          <p:nvSpPr>
            <p:cNvPr id="9" name="Freeform 63"/>
            <p:cNvSpPr>
              <a:spLocks/>
            </p:cNvSpPr>
            <p:nvPr/>
          </p:nvSpPr>
          <p:spPr bwMode="auto">
            <a:xfrm>
              <a:off x="1226" y="2161"/>
              <a:ext cx="2" cy="4"/>
            </a:xfrm>
            <a:custGeom>
              <a:avLst/>
              <a:gdLst>
                <a:gd name="T0" fmla="*/ 0 w 6"/>
                <a:gd name="T1" fmla="*/ 0 h 12"/>
                <a:gd name="T2" fmla="*/ 0 w 6"/>
                <a:gd name="T3" fmla="*/ 0 h 12"/>
                <a:gd name="T4" fmla="*/ 0 w 6"/>
                <a:gd name="T5" fmla="*/ 0 h 12"/>
                <a:gd name="T6" fmla="*/ 0 w 6"/>
                <a:gd name="T7" fmla="*/ 0 h 12"/>
                <a:gd name="T8" fmla="*/ 0 w 6"/>
                <a:gd name="T9" fmla="*/ 0 h 12"/>
                <a:gd name="T10" fmla="*/ 0 w 6"/>
                <a:gd name="T11" fmla="*/ 0 h 12"/>
                <a:gd name="T12" fmla="*/ 0 w 6"/>
                <a:gd name="T13" fmla="*/ 0 h 12"/>
                <a:gd name="T14" fmla="*/ 0 w 6"/>
                <a:gd name="T15" fmla="*/ 0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cmpd="sng">
              <a:solidFill>
                <a:srgbClr val="FFFFFF"/>
              </a:solidFill>
              <a:prstDash val="solid"/>
              <a:round/>
              <a:headEnd/>
              <a:tailEnd/>
            </a:ln>
          </p:spPr>
          <p:txBody>
            <a:bodyPr/>
            <a:lstStyle/>
            <a:p>
              <a:endParaRPr lang="en-AU"/>
            </a:p>
          </p:txBody>
        </p:sp>
        <p:sp>
          <p:nvSpPr>
            <p:cNvPr id="10" name="Freeform 64"/>
            <p:cNvSpPr>
              <a:spLocks/>
            </p:cNvSpPr>
            <p:nvPr/>
          </p:nvSpPr>
          <p:spPr bwMode="auto">
            <a:xfrm>
              <a:off x="1230" y="2154"/>
              <a:ext cx="13" cy="15"/>
            </a:xfrm>
            <a:custGeom>
              <a:avLst/>
              <a:gdLst>
                <a:gd name="T0" fmla="*/ 0 w 39"/>
                <a:gd name="T1" fmla="*/ 0 h 48"/>
                <a:gd name="T2" fmla="*/ 0 w 39"/>
                <a:gd name="T3" fmla="*/ 0 h 48"/>
                <a:gd name="T4" fmla="*/ 0 w 39"/>
                <a:gd name="T5" fmla="*/ 0 h 48"/>
                <a:gd name="T6" fmla="*/ 0 w 39"/>
                <a:gd name="T7" fmla="*/ 0 h 48"/>
                <a:gd name="T8" fmla="*/ 0 w 39"/>
                <a:gd name="T9" fmla="*/ 0 h 48"/>
                <a:gd name="T10" fmla="*/ 0 w 39"/>
                <a:gd name="T11" fmla="*/ 0 h 48"/>
                <a:gd name="T12" fmla="*/ 0 w 39"/>
                <a:gd name="T13" fmla="*/ 1 h 48"/>
                <a:gd name="T14" fmla="*/ 0 w 39"/>
                <a:gd name="T15" fmla="*/ 0 h 48"/>
                <a:gd name="T16" fmla="*/ 0 w 39"/>
                <a:gd name="T17" fmla="*/ 0 h 48"/>
                <a:gd name="T18" fmla="*/ 0 w 39"/>
                <a:gd name="T19" fmla="*/ 0 h 48"/>
                <a:gd name="T20" fmla="*/ 0 w 39"/>
                <a:gd name="T21" fmla="*/ 0 h 48"/>
                <a:gd name="T22" fmla="*/ 0 w 39"/>
                <a:gd name="T23" fmla="*/ 0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AU"/>
            </a:p>
          </p:txBody>
        </p:sp>
        <p:sp>
          <p:nvSpPr>
            <p:cNvPr id="11" name="Freeform 65"/>
            <p:cNvSpPr>
              <a:spLocks/>
            </p:cNvSpPr>
            <p:nvPr/>
          </p:nvSpPr>
          <p:spPr bwMode="auto">
            <a:xfrm>
              <a:off x="1247" y="2167"/>
              <a:ext cx="6" cy="14"/>
            </a:xfrm>
            <a:custGeom>
              <a:avLst/>
              <a:gdLst>
                <a:gd name="T0" fmla="*/ 0 w 16"/>
                <a:gd name="T1" fmla="*/ 0 h 43"/>
                <a:gd name="T2" fmla="*/ 0 w 16"/>
                <a:gd name="T3" fmla="*/ 0 h 43"/>
                <a:gd name="T4" fmla="*/ 0 w 16"/>
                <a:gd name="T5" fmla="*/ 0 h 43"/>
                <a:gd name="T6" fmla="*/ 0 w 16"/>
                <a:gd name="T7" fmla="*/ 0 h 43"/>
                <a:gd name="T8" fmla="*/ 0 w 16"/>
                <a:gd name="T9" fmla="*/ 0 h 43"/>
                <a:gd name="T10" fmla="*/ 0 w 16"/>
                <a:gd name="T11" fmla="*/ 0 h 43"/>
                <a:gd name="T12" fmla="*/ 0 w 16"/>
                <a:gd name="T13" fmla="*/ 0 h 43"/>
                <a:gd name="T14" fmla="*/ 0 w 16"/>
                <a:gd name="T15" fmla="*/ 0 h 43"/>
                <a:gd name="T16" fmla="*/ 0 w 16"/>
                <a:gd name="T17" fmla="*/ 1 h 43"/>
                <a:gd name="T18" fmla="*/ 0 w 16"/>
                <a:gd name="T19" fmla="*/ 0 h 43"/>
                <a:gd name="T20" fmla="*/ 0 w 16"/>
                <a:gd name="T21" fmla="*/ 0 h 43"/>
                <a:gd name="T22" fmla="*/ 0 w 16"/>
                <a:gd name="T23" fmla="*/ 0 h 43"/>
                <a:gd name="T24" fmla="*/ 0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cmpd="sng">
              <a:solidFill>
                <a:srgbClr val="FFFFFF"/>
              </a:solidFill>
              <a:prstDash val="solid"/>
              <a:round/>
              <a:headEnd/>
              <a:tailEnd/>
            </a:ln>
          </p:spPr>
          <p:txBody>
            <a:bodyPr/>
            <a:lstStyle/>
            <a:p>
              <a:endParaRPr lang="en-AU"/>
            </a:p>
          </p:txBody>
        </p:sp>
        <p:sp>
          <p:nvSpPr>
            <p:cNvPr id="12" name="Freeform 66"/>
            <p:cNvSpPr>
              <a:spLocks/>
            </p:cNvSpPr>
            <p:nvPr/>
          </p:nvSpPr>
          <p:spPr bwMode="auto">
            <a:xfrm>
              <a:off x="1248" y="2190"/>
              <a:ext cx="8" cy="12"/>
            </a:xfrm>
            <a:custGeom>
              <a:avLst/>
              <a:gdLst>
                <a:gd name="T0" fmla="*/ 0 w 24"/>
                <a:gd name="T1" fmla="*/ 0 h 37"/>
                <a:gd name="T2" fmla="*/ 0 w 24"/>
                <a:gd name="T3" fmla="*/ 0 h 37"/>
                <a:gd name="T4" fmla="*/ 0 w 24"/>
                <a:gd name="T5" fmla="*/ 0 h 37"/>
                <a:gd name="T6" fmla="*/ 0 w 24"/>
                <a:gd name="T7" fmla="*/ 0 h 37"/>
                <a:gd name="T8" fmla="*/ 0 w 24"/>
                <a:gd name="T9" fmla="*/ 0 h 37"/>
                <a:gd name="T10" fmla="*/ 0 w 24"/>
                <a:gd name="T11" fmla="*/ 0 h 37"/>
                <a:gd name="T12" fmla="*/ 0 w 24"/>
                <a:gd name="T13" fmla="*/ 0 h 37"/>
                <a:gd name="T14" fmla="*/ 0 w 24"/>
                <a:gd name="T15" fmla="*/ 0 h 37"/>
                <a:gd name="T16" fmla="*/ 0 w 24"/>
                <a:gd name="T17" fmla="*/ 0 h 37"/>
                <a:gd name="T18" fmla="*/ 0 w 24"/>
                <a:gd name="T19" fmla="*/ 0 h 37"/>
                <a:gd name="T20" fmla="*/ 0 w 24"/>
                <a:gd name="T21" fmla="*/ 0 h 37"/>
                <a:gd name="T22" fmla="*/ 0 w 24"/>
                <a:gd name="T23" fmla="*/ 0 h 37"/>
                <a:gd name="T24" fmla="*/ 0 w 24"/>
                <a:gd name="T25" fmla="*/ 0 h 37"/>
                <a:gd name="T26" fmla="*/ 0 w 24"/>
                <a:gd name="T27" fmla="*/ 0 h 37"/>
                <a:gd name="T28" fmla="*/ 0 w 24"/>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cmpd="sng">
              <a:solidFill>
                <a:srgbClr val="FFFFFF"/>
              </a:solidFill>
              <a:prstDash val="solid"/>
              <a:round/>
              <a:headEnd/>
              <a:tailEnd/>
            </a:ln>
          </p:spPr>
          <p:txBody>
            <a:bodyPr/>
            <a:lstStyle/>
            <a:p>
              <a:endParaRPr lang="en-AU"/>
            </a:p>
          </p:txBody>
        </p:sp>
        <p:sp>
          <p:nvSpPr>
            <p:cNvPr id="13" name="Freeform 67"/>
            <p:cNvSpPr>
              <a:spLocks/>
            </p:cNvSpPr>
            <p:nvPr/>
          </p:nvSpPr>
          <p:spPr bwMode="auto">
            <a:xfrm>
              <a:off x="1265" y="2204"/>
              <a:ext cx="11" cy="17"/>
            </a:xfrm>
            <a:custGeom>
              <a:avLst/>
              <a:gdLst>
                <a:gd name="T0" fmla="*/ 0 w 34"/>
                <a:gd name="T1" fmla="*/ 0 h 55"/>
                <a:gd name="T2" fmla="*/ 0 w 34"/>
                <a:gd name="T3" fmla="*/ 0 h 55"/>
                <a:gd name="T4" fmla="*/ 0 w 34"/>
                <a:gd name="T5" fmla="*/ 0 h 55"/>
                <a:gd name="T6" fmla="*/ 0 w 34"/>
                <a:gd name="T7" fmla="*/ 0 h 55"/>
                <a:gd name="T8" fmla="*/ 0 w 34"/>
                <a:gd name="T9" fmla="*/ 0 h 55"/>
                <a:gd name="T10" fmla="*/ 0 w 34"/>
                <a:gd name="T11" fmla="*/ 0 h 55"/>
                <a:gd name="T12" fmla="*/ 0 w 34"/>
                <a:gd name="T13" fmla="*/ 1 h 55"/>
                <a:gd name="T14" fmla="*/ 0 w 34"/>
                <a:gd name="T15" fmla="*/ 1 h 55"/>
                <a:gd name="T16" fmla="*/ 0 w 34"/>
                <a:gd name="T17" fmla="*/ 1 h 55"/>
                <a:gd name="T18" fmla="*/ 0 w 34"/>
                <a:gd name="T19" fmla="*/ 1 h 55"/>
                <a:gd name="T20" fmla="*/ 0 w 34"/>
                <a:gd name="T21" fmla="*/ 1 h 55"/>
                <a:gd name="T22" fmla="*/ 0 w 34"/>
                <a:gd name="T23" fmla="*/ 0 h 55"/>
                <a:gd name="T24" fmla="*/ 0 w 34"/>
                <a:gd name="T25" fmla="*/ 0 h 55"/>
                <a:gd name="T26" fmla="*/ 0 w 34"/>
                <a:gd name="T27" fmla="*/ 0 h 55"/>
                <a:gd name="T28" fmla="*/ 0 w 34"/>
                <a:gd name="T29" fmla="*/ 0 h 55"/>
                <a:gd name="T30" fmla="*/ 0 w 34"/>
                <a:gd name="T31" fmla="*/ 0 h 55"/>
                <a:gd name="T32" fmla="*/ 0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cmpd="sng">
              <a:solidFill>
                <a:srgbClr val="FFFFFF"/>
              </a:solidFill>
              <a:prstDash val="solid"/>
              <a:round/>
              <a:headEnd/>
              <a:tailEnd/>
            </a:ln>
          </p:spPr>
          <p:txBody>
            <a:bodyPr/>
            <a:lstStyle/>
            <a:p>
              <a:endParaRPr lang="en-AU"/>
            </a:p>
          </p:txBody>
        </p:sp>
        <p:sp>
          <p:nvSpPr>
            <p:cNvPr id="14" name="Freeform 68"/>
            <p:cNvSpPr>
              <a:spLocks/>
            </p:cNvSpPr>
            <p:nvPr/>
          </p:nvSpPr>
          <p:spPr bwMode="auto">
            <a:xfrm>
              <a:off x="1285" y="2215"/>
              <a:ext cx="11" cy="4"/>
            </a:xfrm>
            <a:custGeom>
              <a:avLst/>
              <a:gdLst>
                <a:gd name="T0" fmla="*/ 0 w 33"/>
                <a:gd name="T1" fmla="*/ 0 h 12"/>
                <a:gd name="T2" fmla="*/ 0 w 33"/>
                <a:gd name="T3" fmla="*/ 0 h 12"/>
                <a:gd name="T4" fmla="*/ 0 w 33"/>
                <a:gd name="T5" fmla="*/ 0 h 12"/>
                <a:gd name="T6" fmla="*/ 0 w 33"/>
                <a:gd name="T7" fmla="*/ 0 h 12"/>
                <a:gd name="T8" fmla="*/ 0 w 33"/>
                <a:gd name="T9" fmla="*/ 0 h 12"/>
                <a:gd name="T10" fmla="*/ 0 w 33"/>
                <a:gd name="T11" fmla="*/ 0 h 12"/>
                <a:gd name="T12" fmla="*/ 0 w 33"/>
                <a:gd name="T13" fmla="*/ 0 h 12"/>
                <a:gd name="T14" fmla="*/ 0 w 33"/>
                <a:gd name="T15" fmla="*/ 0 h 12"/>
                <a:gd name="T16" fmla="*/ 0 w 33"/>
                <a:gd name="T17" fmla="*/ 0 h 12"/>
                <a:gd name="T18" fmla="*/ 0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cmpd="sng">
              <a:solidFill>
                <a:srgbClr val="FFFFFF"/>
              </a:solidFill>
              <a:prstDash val="solid"/>
              <a:round/>
              <a:headEnd/>
              <a:tailEnd/>
            </a:ln>
          </p:spPr>
          <p:txBody>
            <a:bodyPr/>
            <a:lstStyle/>
            <a:p>
              <a:endParaRPr lang="en-AU"/>
            </a:p>
          </p:txBody>
        </p:sp>
      </p:grpSp>
      <p:sp>
        <p:nvSpPr>
          <p:cNvPr id="2101" name="Freeform 69"/>
          <p:cNvSpPr>
            <a:spLocks/>
          </p:cNvSpPr>
          <p:nvPr>
            <p:custDataLst>
              <p:tags r:id="rId52"/>
            </p:custDataLst>
          </p:nvPr>
        </p:nvSpPr>
        <p:spPr bwMode="auto">
          <a:xfrm>
            <a:off x="7905750" y="4244975"/>
            <a:ext cx="12700" cy="57150"/>
          </a:xfrm>
          <a:custGeom>
            <a:avLst/>
            <a:gdLst>
              <a:gd name="T0" fmla="*/ 0 w 33"/>
              <a:gd name="T1" fmla="*/ 2147483647 h 62"/>
              <a:gd name="T2" fmla="*/ 0 w 33"/>
              <a:gd name="T3" fmla="*/ 2147483647 h 62"/>
              <a:gd name="T4" fmla="*/ 0 w 33"/>
              <a:gd name="T5" fmla="*/ 2147483647 h 62"/>
              <a:gd name="T6" fmla="*/ 0 w 33"/>
              <a:gd name="T7" fmla="*/ 2147483647 h 62"/>
              <a:gd name="T8" fmla="*/ 0 w 33"/>
              <a:gd name="T9" fmla="*/ 2147483647 h 62"/>
              <a:gd name="T10" fmla="*/ 0 w 33"/>
              <a:gd name="T11" fmla="*/ 2147483647 h 62"/>
              <a:gd name="T12" fmla="*/ 2147483647 w 33"/>
              <a:gd name="T13" fmla="*/ 2147483647 h 62"/>
              <a:gd name="T14" fmla="*/ 2147483647 w 33"/>
              <a:gd name="T15" fmla="*/ 2147483647 h 62"/>
              <a:gd name="T16" fmla="*/ 2147483647 w 33"/>
              <a:gd name="T17" fmla="*/ 2147483647 h 62"/>
              <a:gd name="T18" fmla="*/ 2147483647 w 33"/>
              <a:gd name="T19" fmla="*/ 2147483647 h 62"/>
              <a:gd name="T20" fmla="*/ 2147483647 w 33"/>
              <a:gd name="T21" fmla="*/ 0 h 62"/>
              <a:gd name="T22" fmla="*/ 2147483647 w 33"/>
              <a:gd name="T23" fmla="*/ 2147483647 h 62"/>
              <a:gd name="T24" fmla="*/ 2147483647 w 33"/>
              <a:gd name="T25" fmla="*/ 2147483647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mpd="sng">
            <a:solidFill>
              <a:srgbClr val="FFFFFF"/>
            </a:solidFill>
            <a:prstDash val="solid"/>
            <a:round/>
            <a:headEnd/>
            <a:tailEnd/>
          </a:ln>
        </p:spPr>
        <p:txBody>
          <a:bodyPr/>
          <a:lstStyle/>
          <a:p>
            <a:endParaRPr lang="en-AU"/>
          </a:p>
        </p:txBody>
      </p:sp>
      <p:sp>
        <p:nvSpPr>
          <p:cNvPr id="2102" name="Freeform 70"/>
          <p:cNvSpPr>
            <a:spLocks/>
          </p:cNvSpPr>
          <p:nvPr>
            <p:custDataLst>
              <p:tags r:id="rId53"/>
            </p:custDataLst>
          </p:nvPr>
        </p:nvSpPr>
        <p:spPr bwMode="auto">
          <a:xfrm>
            <a:off x="7915275" y="4335463"/>
            <a:ext cx="9525" cy="58737"/>
          </a:xfrm>
          <a:custGeom>
            <a:avLst/>
            <a:gdLst>
              <a:gd name="T0" fmla="*/ 0 w 26"/>
              <a:gd name="T1" fmla="*/ 2147483647 h 18"/>
              <a:gd name="T2" fmla="*/ 0 w 26"/>
              <a:gd name="T3" fmla="*/ 0 h 18"/>
              <a:gd name="T4" fmla="*/ 2147483647 w 26"/>
              <a:gd name="T5" fmla="*/ 0 h 18"/>
              <a:gd name="T6" fmla="*/ 2147483647 w 26"/>
              <a:gd name="T7" fmla="*/ 2147483647 h 18"/>
              <a:gd name="T8" fmla="*/ 2147483647 w 26"/>
              <a:gd name="T9" fmla="*/ 2147483647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8">
                <a:moveTo>
                  <a:pt x="0" y="18"/>
                </a:moveTo>
                <a:lnTo>
                  <a:pt x="0" y="0"/>
                </a:lnTo>
                <a:lnTo>
                  <a:pt x="26" y="0"/>
                </a:lnTo>
                <a:lnTo>
                  <a:pt x="6" y="12"/>
                </a:lnTo>
                <a:lnTo>
                  <a:pt x="6" y="6"/>
                </a:lnTo>
              </a:path>
            </a:pathLst>
          </a:custGeom>
          <a:solidFill>
            <a:srgbClr val="C0C0C0"/>
          </a:solidFill>
          <a:ln w="9525" cmpd="sng">
            <a:solidFill>
              <a:srgbClr val="FFFFFF"/>
            </a:solidFill>
            <a:prstDash val="solid"/>
            <a:round/>
            <a:headEnd/>
            <a:tailEnd/>
          </a:ln>
        </p:spPr>
        <p:txBody>
          <a:bodyPr/>
          <a:lstStyle/>
          <a:p>
            <a:endParaRPr lang="en-AU"/>
          </a:p>
        </p:txBody>
      </p:sp>
      <p:sp>
        <p:nvSpPr>
          <p:cNvPr id="2103" name="Freeform 71"/>
          <p:cNvSpPr>
            <a:spLocks/>
          </p:cNvSpPr>
          <p:nvPr>
            <p:custDataLst>
              <p:tags r:id="rId54"/>
            </p:custDataLst>
          </p:nvPr>
        </p:nvSpPr>
        <p:spPr bwMode="auto">
          <a:xfrm>
            <a:off x="8029575" y="4244975"/>
            <a:ext cx="77788" cy="130175"/>
          </a:xfrm>
          <a:custGeom>
            <a:avLst/>
            <a:gdLst>
              <a:gd name="T0" fmla="*/ 2147483647 w 180"/>
              <a:gd name="T1" fmla="*/ 2147483647 h 240"/>
              <a:gd name="T2" fmla="*/ 2147483647 w 180"/>
              <a:gd name="T3" fmla="*/ 2147483647 h 240"/>
              <a:gd name="T4" fmla="*/ 2147483647 w 180"/>
              <a:gd name="T5" fmla="*/ 2147483647 h 240"/>
              <a:gd name="T6" fmla="*/ 2147483647 w 180"/>
              <a:gd name="T7" fmla="*/ 2147483647 h 240"/>
              <a:gd name="T8" fmla="*/ 2147483647 w 180"/>
              <a:gd name="T9" fmla="*/ 2147483647 h 240"/>
              <a:gd name="T10" fmla="*/ 2147483647 w 180"/>
              <a:gd name="T11" fmla="*/ 2147483647 h 240"/>
              <a:gd name="T12" fmla="*/ 2147483647 w 180"/>
              <a:gd name="T13" fmla="*/ 2147483647 h 240"/>
              <a:gd name="T14" fmla="*/ 2147483647 w 180"/>
              <a:gd name="T15" fmla="*/ 2147483647 h 240"/>
              <a:gd name="T16" fmla="*/ 2147483647 w 180"/>
              <a:gd name="T17" fmla="*/ 2147483647 h 240"/>
              <a:gd name="T18" fmla="*/ 2147483647 w 180"/>
              <a:gd name="T19" fmla="*/ 2147483647 h 240"/>
              <a:gd name="T20" fmla="*/ 2147483647 w 180"/>
              <a:gd name="T21" fmla="*/ 2147483647 h 240"/>
              <a:gd name="T22" fmla="*/ 2147483647 w 180"/>
              <a:gd name="T23" fmla="*/ 2147483647 h 240"/>
              <a:gd name="T24" fmla="*/ 2147483647 w 180"/>
              <a:gd name="T25" fmla="*/ 2147483647 h 240"/>
              <a:gd name="T26" fmla="*/ 2147483647 w 180"/>
              <a:gd name="T27" fmla="*/ 2147483647 h 240"/>
              <a:gd name="T28" fmla="*/ 2147483647 w 180"/>
              <a:gd name="T29" fmla="*/ 2147483647 h 240"/>
              <a:gd name="T30" fmla="*/ 2147483647 w 180"/>
              <a:gd name="T31" fmla="*/ 2147483647 h 240"/>
              <a:gd name="T32" fmla="*/ 2147483647 w 180"/>
              <a:gd name="T33" fmla="*/ 2147483647 h 240"/>
              <a:gd name="T34" fmla="*/ 2147483647 w 180"/>
              <a:gd name="T35" fmla="*/ 2147483647 h 240"/>
              <a:gd name="T36" fmla="*/ 2147483647 w 180"/>
              <a:gd name="T37" fmla="*/ 2147483647 h 240"/>
              <a:gd name="T38" fmla="*/ 2147483647 w 180"/>
              <a:gd name="T39" fmla="*/ 2147483647 h 240"/>
              <a:gd name="T40" fmla="*/ 2147483647 w 180"/>
              <a:gd name="T41" fmla="*/ 2147483647 h 240"/>
              <a:gd name="T42" fmla="*/ 2147483647 w 180"/>
              <a:gd name="T43" fmla="*/ 2147483647 h 240"/>
              <a:gd name="T44" fmla="*/ 2147483647 w 180"/>
              <a:gd name="T45" fmla="*/ 2147483647 h 240"/>
              <a:gd name="T46" fmla="*/ 2147483647 w 180"/>
              <a:gd name="T47" fmla="*/ 2147483647 h 240"/>
              <a:gd name="T48" fmla="*/ 2147483647 w 180"/>
              <a:gd name="T49" fmla="*/ 2147483647 h 240"/>
              <a:gd name="T50" fmla="*/ 2147483647 w 180"/>
              <a:gd name="T51" fmla="*/ 2147483647 h 240"/>
              <a:gd name="T52" fmla="*/ 2147483647 w 180"/>
              <a:gd name="T53" fmla="*/ 2147483647 h 240"/>
              <a:gd name="T54" fmla="*/ 2147483647 w 180"/>
              <a:gd name="T55" fmla="*/ 2147483647 h 240"/>
              <a:gd name="T56" fmla="*/ 0 w 180"/>
              <a:gd name="T57" fmla="*/ 2147483647 h 240"/>
              <a:gd name="T58" fmla="*/ 0 w 180"/>
              <a:gd name="T59" fmla="*/ 2147483647 h 240"/>
              <a:gd name="T60" fmla="*/ 0 w 180"/>
              <a:gd name="T61" fmla="*/ 2147483647 h 240"/>
              <a:gd name="T62" fmla="*/ 0 w 180"/>
              <a:gd name="T63" fmla="*/ 2147483647 h 240"/>
              <a:gd name="T64" fmla="*/ 0 w 180"/>
              <a:gd name="T65" fmla="*/ 0 h 240"/>
              <a:gd name="T66" fmla="*/ 2147483647 w 180"/>
              <a:gd name="T67" fmla="*/ 2147483647 h 240"/>
              <a:gd name="T68" fmla="*/ 2147483647 w 180"/>
              <a:gd name="T69" fmla="*/ 2147483647 h 240"/>
              <a:gd name="T70" fmla="*/ 2147483647 w 180"/>
              <a:gd name="T71" fmla="*/ 2147483647 h 240"/>
              <a:gd name="T72" fmla="*/ 2147483647 w 180"/>
              <a:gd name="T73" fmla="*/ 2147483647 h 240"/>
              <a:gd name="T74" fmla="*/ 2147483647 w 180"/>
              <a:gd name="T75" fmla="*/ 2147483647 h 240"/>
              <a:gd name="T76" fmla="*/ 2147483647 w 180"/>
              <a:gd name="T77" fmla="*/ 2147483647 h 240"/>
              <a:gd name="T78" fmla="*/ 2147483647 w 180"/>
              <a:gd name="T79" fmla="*/ 2147483647 h 240"/>
              <a:gd name="T80" fmla="*/ 2147483647 w 180"/>
              <a:gd name="T81" fmla="*/ 2147483647 h 240"/>
              <a:gd name="T82" fmla="*/ 2147483647 w 180"/>
              <a:gd name="T83" fmla="*/ 2147483647 h 240"/>
              <a:gd name="T84" fmla="*/ 2147483647 w 180"/>
              <a:gd name="T85" fmla="*/ 2147483647 h 240"/>
              <a:gd name="T86" fmla="*/ 2147483647 w 180"/>
              <a:gd name="T87" fmla="*/ 2147483647 h 240"/>
              <a:gd name="T88" fmla="*/ 2147483647 w 180"/>
              <a:gd name="T89" fmla="*/ 2147483647 h 240"/>
              <a:gd name="T90" fmla="*/ 2147483647 w 180"/>
              <a:gd name="T91" fmla="*/ 2147483647 h 240"/>
              <a:gd name="T92" fmla="*/ 2147483647 w 180"/>
              <a:gd name="T93" fmla="*/ 2147483647 h 240"/>
              <a:gd name="T94" fmla="*/ 2147483647 w 180"/>
              <a:gd name="T95" fmla="*/ 2147483647 h 240"/>
              <a:gd name="T96" fmla="*/ 2147483647 w 180"/>
              <a:gd name="T97" fmla="*/ 2147483647 h 240"/>
              <a:gd name="T98" fmla="*/ 2147483647 w 180"/>
              <a:gd name="T99" fmla="*/ 2147483647 h 240"/>
              <a:gd name="T100" fmla="*/ 2147483647 w 180"/>
              <a:gd name="T101" fmla="*/ 2147483647 h 240"/>
              <a:gd name="T102" fmla="*/ 2147483647 w 180"/>
              <a:gd name="T103" fmla="*/ 2147483647 h 240"/>
              <a:gd name="T104" fmla="*/ 2147483647 w 180"/>
              <a:gd name="T105" fmla="*/ 2147483647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mpd="sng">
            <a:solidFill>
              <a:srgbClr val="FFFFFF"/>
            </a:solidFill>
            <a:prstDash val="solid"/>
            <a:round/>
            <a:headEnd/>
            <a:tailEnd/>
          </a:ln>
        </p:spPr>
        <p:txBody>
          <a:bodyPr/>
          <a:lstStyle/>
          <a:p>
            <a:endParaRPr lang="en-AU"/>
          </a:p>
        </p:txBody>
      </p:sp>
      <p:sp>
        <p:nvSpPr>
          <p:cNvPr id="2104" name="Freeform 72"/>
          <p:cNvSpPr>
            <a:spLocks/>
          </p:cNvSpPr>
          <p:nvPr>
            <p:custDataLst>
              <p:tags r:id="rId55"/>
            </p:custDataLst>
          </p:nvPr>
        </p:nvSpPr>
        <p:spPr bwMode="auto">
          <a:xfrm>
            <a:off x="8029575" y="4217988"/>
            <a:ext cx="14288" cy="57150"/>
          </a:xfrm>
          <a:custGeom>
            <a:avLst/>
            <a:gdLst>
              <a:gd name="T0" fmla="*/ 0 w 27"/>
              <a:gd name="T1" fmla="*/ 0 h 30"/>
              <a:gd name="T2" fmla="*/ 2147483647 w 27"/>
              <a:gd name="T3" fmla="*/ 2147483647 h 30"/>
              <a:gd name="T4" fmla="*/ 2147483647 w 27"/>
              <a:gd name="T5" fmla="*/ 2147483647 h 30"/>
              <a:gd name="T6" fmla="*/ 2147483647 w 27"/>
              <a:gd name="T7" fmla="*/ 2147483647 h 30"/>
              <a:gd name="T8" fmla="*/ 2147483647 w 27"/>
              <a:gd name="T9" fmla="*/ 2147483647 h 30"/>
              <a:gd name="T10" fmla="*/ 2147483647 w 27"/>
              <a:gd name="T11" fmla="*/ 2147483647 h 30"/>
              <a:gd name="T12" fmla="*/ 0 w 27"/>
              <a:gd name="T13" fmla="*/ 2147483647 h 30"/>
              <a:gd name="T14" fmla="*/ 2147483647 w 27"/>
              <a:gd name="T15" fmla="*/ 2147483647 h 30"/>
              <a:gd name="T16" fmla="*/ 2147483647 w 27"/>
              <a:gd name="T17" fmla="*/ 2147483647 h 30"/>
              <a:gd name="T18" fmla="*/ 2147483647 w 27"/>
              <a:gd name="T19" fmla="*/ 2147483647 h 30"/>
              <a:gd name="T20" fmla="*/ 2147483647 w 27"/>
              <a:gd name="T21" fmla="*/ 2147483647 h 30"/>
              <a:gd name="T22" fmla="*/ 2147483647 w 27"/>
              <a:gd name="T23" fmla="*/ 2147483647 h 30"/>
              <a:gd name="T24" fmla="*/ 2147483647 w 27"/>
              <a:gd name="T25" fmla="*/ 2147483647 h 30"/>
              <a:gd name="T26" fmla="*/ 2147483647 w 27"/>
              <a:gd name="T27" fmla="*/ 2147483647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AU"/>
          </a:p>
        </p:txBody>
      </p:sp>
      <p:grpSp>
        <p:nvGrpSpPr>
          <p:cNvPr id="2105" name="Group 73"/>
          <p:cNvGrpSpPr>
            <a:grpSpLocks/>
          </p:cNvGrpSpPr>
          <p:nvPr>
            <p:custDataLst>
              <p:tags r:id="rId56"/>
            </p:custDataLst>
          </p:nvPr>
        </p:nvGrpSpPr>
        <p:grpSpPr bwMode="auto">
          <a:xfrm>
            <a:off x="7720013" y="4738688"/>
            <a:ext cx="458787" cy="404812"/>
            <a:chOff x="5372" y="3323"/>
            <a:chExt cx="341" cy="253"/>
          </a:xfrm>
          <a:solidFill>
            <a:srgbClr val="FF0000"/>
          </a:solidFill>
        </p:grpSpPr>
        <p:sp>
          <p:nvSpPr>
            <p:cNvPr id="2581" name="Freeform 74"/>
            <p:cNvSpPr>
              <a:spLocks/>
            </p:cNvSpPr>
            <p:nvPr/>
          </p:nvSpPr>
          <p:spPr bwMode="auto">
            <a:xfrm>
              <a:off x="5372" y="3565"/>
              <a:ext cx="16" cy="11"/>
            </a:xfrm>
            <a:custGeom>
              <a:avLst/>
              <a:gdLst>
                <a:gd name="T0" fmla="*/ 0 w 53"/>
                <a:gd name="T1" fmla="*/ 10 h 33"/>
                <a:gd name="T2" fmla="*/ 1 w 53"/>
                <a:gd name="T3" fmla="*/ 9 h 33"/>
                <a:gd name="T4" fmla="*/ 2 w 53"/>
                <a:gd name="T5" fmla="*/ 7 h 33"/>
                <a:gd name="T6" fmla="*/ 5 w 53"/>
                <a:gd name="T7" fmla="*/ 5 h 33"/>
                <a:gd name="T8" fmla="*/ 6 w 53"/>
                <a:gd name="T9" fmla="*/ 4 h 33"/>
                <a:gd name="T10" fmla="*/ 9 w 53"/>
                <a:gd name="T11" fmla="*/ 2 h 33"/>
                <a:gd name="T12" fmla="*/ 11 w 53"/>
                <a:gd name="T13" fmla="*/ 1 h 33"/>
                <a:gd name="T14" fmla="*/ 14 w 53"/>
                <a:gd name="T15" fmla="*/ 0 h 33"/>
                <a:gd name="T16" fmla="*/ 16 w 53"/>
                <a:gd name="T17" fmla="*/ 0 h 33"/>
                <a:gd name="T18" fmla="*/ 16 w 53"/>
                <a:gd name="T19" fmla="*/ 6 h 33"/>
                <a:gd name="T20" fmla="*/ 11 w 53"/>
                <a:gd name="T21" fmla="*/ 8 h 33"/>
                <a:gd name="T22" fmla="*/ 8 w 53"/>
                <a:gd name="T23" fmla="*/ 10 h 33"/>
                <a:gd name="T24" fmla="*/ 6 w 53"/>
                <a:gd name="T25" fmla="*/ 11 h 33"/>
                <a:gd name="T26" fmla="*/ 5 w 53"/>
                <a:gd name="T27" fmla="*/ 11 h 33"/>
                <a:gd name="T28" fmla="*/ 3 w 53"/>
                <a:gd name="T29" fmla="*/ 11 h 33"/>
                <a:gd name="T30" fmla="*/ 0 w 53"/>
                <a:gd name="T31" fmla="*/ 1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AU"/>
            </a:p>
          </p:txBody>
        </p:sp>
        <p:sp>
          <p:nvSpPr>
            <p:cNvPr id="2582" name="Freeform 75"/>
            <p:cNvSpPr>
              <a:spLocks/>
            </p:cNvSpPr>
            <p:nvPr/>
          </p:nvSpPr>
          <p:spPr bwMode="auto">
            <a:xfrm>
              <a:off x="5379" y="3446"/>
              <a:ext cx="202" cy="117"/>
            </a:xfrm>
            <a:custGeom>
              <a:avLst/>
              <a:gdLst>
                <a:gd name="T0" fmla="*/ 8 w 631"/>
                <a:gd name="T1" fmla="*/ 97 h 358"/>
                <a:gd name="T2" fmla="*/ 16 w 631"/>
                <a:gd name="T3" fmla="*/ 95 h 358"/>
                <a:gd name="T4" fmla="*/ 21 w 631"/>
                <a:gd name="T5" fmla="*/ 91 h 358"/>
                <a:gd name="T6" fmla="*/ 25 w 631"/>
                <a:gd name="T7" fmla="*/ 83 h 358"/>
                <a:gd name="T8" fmla="*/ 32 w 631"/>
                <a:gd name="T9" fmla="*/ 84 h 358"/>
                <a:gd name="T10" fmla="*/ 40 w 631"/>
                <a:gd name="T11" fmla="*/ 83 h 358"/>
                <a:gd name="T12" fmla="*/ 45 w 631"/>
                <a:gd name="T13" fmla="*/ 81 h 358"/>
                <a:gd name="T14" fmla="*/ 52 w 631"/>
                <a:gd name="T15" fmla="*/ 75 h 358"/>
                <a:gd name="T16" fmla="*/ 58 w 631"/>
                <a:gd name="T17" fmla="*/ 68 h 358"/>
                <a:gd name="T18" fmla="*/ 68 w 631"/>
                <a:gd name="T19" fmla="*/ 63 h 358"/>
                <a:gd name="T20" fmla="*/ 83 w 631"/>
                <a:gd name="T21" fmla="*/ 57 h 358"/>
                <a:gd name="T22" fmla="*/ 105 w 631"/>
                <a:gd name="T23" fmla="*/ 50 h 358"/>
                <a:gd name="T24" fmla="*/ 116 w 631"/>
                <a:gd name="T25" fmla="*/ 45 h 358"/>
                <a:gd name="T26" fmla="*/ 125 w 631"/>
                <a:gd name="T27" fmla="*/ 42 h 358"/>
                <a:gd name="T28" fmla="*/ 130 w 631"/>
                <a:gd name="T29" fmla="*/ 42 h 358"/>
                <a:gd name="T30" fmla="*/ 141 w 631"/>
                <a:gd name="T31" fmla="*/ 35 h 358"/>
                <a:gd name="T32" fmla="*/ 150 w 631"/>
                <a:gd name="T33" fmla="*/ 26 h 358"/>
                <a:gd name="T34" fmla="*/ 153 w 631"/>
                <a:gd name="T35" fmla="*/ 21 h 358"/>
                <a:gd name="T36" fmla="*/ 161 w 631"/>
                <a:gd name="T37" fmla="*/ 19 h 358"/>
                <a:gd name="T38" fmla="*/ 172 w 631"/>
                <a:gd name="T39" fmla="*/ 12 h 358"/>
                <a:gd name="T40" fmla="*/ 182 w 631"/>
                <a:gd name="T41" fmla="*/ 4 h 358"/>
                <a:gd name="T42" fmla="*/ 189 w 631"/>
                <a:gd name="T43" fmla="*/ 0 h 358"/>
                <a:gd name="T44" fmla="*/ 193 w 631"/>
                <a:gd name="T45" fmla="*/ 7 h 358"/>
                <a:gd name="T46" fmla="*/ 198 w 631"/>
                <a:gd name="T47" fmla="*/ 10 h 358"/>
                <a:gd name="T48" fmla="*/ 200 w 631"/>
                <a:gd name="T49" fmla="*/ 15 h 358"/>
                <a:gd name="T50" fmla="*/ 192 w 631"/>
                <a:gd name="T51" fmla="*/ 29 h 358"/>
                <a:gd name="T52" fmla="*/ 182 w 631"/>
                <a:gd name="T53" fmla="*/ 41 h 358"/>
                <a:gd name="T54" fmla="*/ 169 w 631"/>
                <a:gd name="T55" fmla="*/ 50 h 358"/>
                <a:gd name="T56" fmla="*/ 156 w 631"/>
                <a:gd name="T57" fmla="*/ 57 h 358"/>
                <a:gd name="T58" fmla="*/ 142 w 631"/>
                <a:gd name="T59" fmla="*/ 59 h 358"/>
                <a:gd name="T60" fmla="*/ 140 w 631"/>
                <a:gd name="T61" fmla="*/ 64 h 358"/>
                <a:gd name="T62" fmla="*/ 139 w 631"/>
                <a:gd name="T63" fmla="*/ 65 h 358"/>
                <a:gd name="T64" fmla="*/ 126 w 631"/>
                <a:gd name="T65" fmla="*/ 65 h 358"/>
                <a:gd name="T66" fmla="*/ 117 w 631"/>
                <a:gd name="T67" fmla="*/ 69 h 358"/>
                <a:gd name="T68" fmla="*/ 111 w 631"/>
                <a:gd name="T69" fmla="*/ 69 h 358"/>
                <a:gd name="T70" fmla="*/ 108 w 631"/>
                <a:gd name="T71" fmla="*/ 67 h 358"/>
                <a:gd name="T72" fmla="*/ 100 w 631"/>
                <a:gd name="T73" fmla="*/ 79 h 358"/>
                <a:gd name="T74" fmla="*/ 87 w 631"/>
                <a:gd name="T75" fmla="*/ 92 h 358"/>
                <a:gd name="T76" fmla="*/ 70 w 631"/>
                <a:gd name="T77" fmla="*/ 103 h 358"/>
                <a:gd name="T78" fmla="*/ 53 w 631"/>
                <a:gd name="T79" fmla="*/ 112 h 358"/>
                <a:gd name="T80" fmla="*/ 35 w 631"/>
                <a:gd name="T81" fmla="*/ 117 h 358"/>
                <a:gd name="T82" fmla="*/ 23 w 631"/>
                <a:gd name="T83" fmla="*/ 116 h 358"/>
                <a:gd name="T84" fmla="*/ 18 w 631"/>
                <a:gd name="T85" fmla="*/ 114 h 358"/>
                <a:gd name="T86" fmla="*/ 11 w 631"/>
                <a:gd name="T87" fmla="*/ 111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AU"/>
            </a:p>
          </p:txBody>
        </p:sp>
        <p:sp>
          <p:nvSpPr>
            <p:cNvPr id="2583" name="Freeform 76"/>
            <p:cNvSpPr>
              <a:spLocks/>
            </p:cNvSpPr>
            <p:nvPr/>
          </p:nvSpPr>
          <p:spPr bwMode="auto">
            <a:xfrm>
              <a:off x="5597" y="3323"/>
              <a:ext cx="116" cy="141"/>
            </a:xfrm>
            <a:custGeom>
              <a:avLst/>
              <a:gdLst>
                <a:gd name="T0" fmla="*/ 19 w 359"/>
                <a:gd name="T1" fmla="*/ 94 h 431"/>
                <a:gd name="T2" fmla="*/ 31 w 359"/>
                <a:gd name="T3" fmla="*/ 88 h 431"/>
                <a:gd name="T4" fmla="*/ 53 w 359"/>
                <a:gd name="T5" fmla="*/ 68 h 431"/>
                <a:gd name="T6" fmla="*/ 56 w 359"/>
                <a:gd name="T7" fmla="*/ 55 h 431"/>
                <a:gd name="T8" fmla="*/ 58 w 359"/>
                <a:gd name="T9" fmla="*/ 49 h 431"/>
                <a:gd name="T10" fmla="*/ 62 w 359"/>
                <a:gd name="T11" fmla="*/ 45 h 431"/>
                <a:gd name="T12" fmla="*/ 61 w 359"/>
                <a:gd name="T13" fmla="*/ 41 h 431"/>
                <a:gd name="T14" fmla="*/ 58 w 359"/>
                <a:gd name="T15" fmla="*/ 31 h 431"/>
                <a:gd name="T16" fmla="*/ 56 w 359"/>
                <a:gd name="T17" fmla="*/ 11 h 431"/>
                <a:gd name="T18" fmla="*/ 59 w 359"/>
                <a:gd name="T19" fmla="*/ 0 h 431"/>
                <a:gd name="T20" fmla="*/ 63 w 359"/>
                <a:gd name="T21" fmla="*/ 4 h 431"/>
                <a:gd name="T22" fmla="*/ 67 w 359"/>
                <a:gd name="T23" fmla="*/ 9 h 431"/>
                <a:gd name="T24" fmla="*/ 75 w 359"/>
                <a:gd name="T25" fmla="*/ 18 h 431"/>
                <a:gd name="T26" fmla="*/ 77 w 359"/>
                <a:gd name="T27" fmla="*/ 24 h 431"/>
                <a:gd name="T28" fmla="*/ 77 w 359"/>
                <a:gd name="T29" fmla="*/ 29 h 431"/>
                <a:gd name="T30" fmla="*/ 73 w 359"/>
                <a:gd name="T31" fmla="*/ 33 h 431"/>
                <a:gd name="T32" fmla="*/ 66 w 359"/>
                <a:gd name="T33" fmla="*/ 39 h 431"/>
                <a:gd name="T34" fmla="*/ 64 w 359"/>
                <a:gd name="T35" fmla="*/ 43 h 431"/>
                <a:gd name="T36" fmla="*/ 64 w 359"/>
                <a:gd name="T37" fmla="*/ 49 h 431"/>
                <a:gd name="T38" fmla="*/ 66 w 359"/>
                <a:gd name="T39" fmla="*/ 52 h 431"/>
                <a:gd name="T40" fmla="*/ 73 w 359"/>
                <a:gd name="T41" fmla="*/ 52 h 431"/>
                <a:gd name="T42" fmla="*/ 75 w 359"/>
                <a:gd name="T43" fmla="*/ 50 h 431"/>
                <a:gd name="T44" fmla="*/ 75 w 359"/>
                <a:gd name="T45" fmla="*/ 44 h 431"/>
                <a:gd name="T46" fmla="*/ 84 w 359"/>
                <a:gd name="T47" fmla="*/ 63 h 431"/>
                <a:gd name="T48" fmla="*/ 88 w 359"/>
                <a:gd name="T49" fmla="*/ 68 h 431"/>
                <a:gd name="T50" fmla="*/ 94 w 359"/>
                <a:gd name="T51" fmla="*/ 72 h 431"/>
                <a:gd name="T52" fmla="*/ 97 w 359"/>
                <a:gd name="T53" fmla="*/ 71 h 431"/>
                <a:gd name="T54" fmla="*/ 101 w 359"/>
                <a:gd name="T55" fmla="*/ 67 h 431"/>
                <a:gd name="T56" fmla="*/ 110 w 359"/>
                <a:gd name="T57" fmla="*/ 63 h 431"/>
                <a:gd name="T58" fmla="*/ 115 w 359"/>
                <a:gd name="T59" fmla="*/ 67 h 431"/>
                <a:gd name="T60" fmla="*/ 111 w 359"/>
                <a:gd name="T61" fmla="*/ 79 h 431"/>
                <a:gd name="T62" fmla="*/ 104 w 359"/>
                <a:gd name="T63" fmla="*/ 85 h 431"/>
                <a:gd name="T64" fmla="*/ 95 w 359"/>
                <a:gd name="T65" fmla="*/ 90 h 431"/>
                <a:gd name="T66" fmla="*/ 80 w 359"/>
                <a:gd name="T67" fmla="*/ 94 h 431"/>
                <a:gd name="T68" fmla="*/ 67 w 359"/>
                <a:gd name="T69" fmla="*/ 98 h 431"/>
                <a:gd name="T70" fmla="*/ 62 w 359"/>
                <a:gd name="T71" fmla="*/ 101 h 431"/>
                <a:gd name="T72" fmla="*/ 58 w 359"/>
                <a:gd name="T73" fmla="*/ 111 h 431"/>
                <a:gd name="T74" fmla="*/ 53 w 359"/>
                <a:gd name="T75" fmla="*/ 116 h 431"/>
                <a:gd name="T76" fmla="*/ 35 w 359"/>
                <a:gd name="T77" fmla="*/ 129 h 431"/>
                <a:gd name="T78" fmla="*/ 16 w 359"/>
                <a:gd name="T79" fmla="*/ 139 h 431"/>
                <a:gd name="T80" fmla="*/ 6 w 359"/>
                <a:gd name="T81" fmla="*/ 141 h 431"/>
                <a:gd name="T82" fmla="*/ 2 w 359"/>
                <a:gd name="T83" fmla="*/ 139 h 431"/>
                <a:gd name="T84" fmla="*/ 0 w 359"/>
                <a:gd name="T85" fmla="*/ 136 h 431"/>
                <a:gd name="T86" fmla="*/ 0 w 359"/>
                <a:gd name="T87" fmla="*/ 132 h 431"/>
                <a:gd name="T88" fmla="*/ 3 w 359"/>
                <a:gd name="T89" fmla="*/ 128 h 431"/>
                <a:gd name="T90" fmla="*/ 18 w 359"/>
                <a:gd name="T91" fmla="*/ 122 h 431"/>
                <a:gd name="T92" fmla="*/ 24 w 359"/>
                <a:gd name="T93" fmla="*/ 115 h 431"/>
                <a:gd name="T94" fmla="*/ 23 w 359"/>
                <a:gd name="T95" fmla="*/ 110 h 431"/>
                <a:gd name="T96" fmla="*/ 21 w 359"/>
                <a:gd name="T97" fmla="*/ 107 h 431"/>
                <a:gd name="T98" fmla="*/ 16 w 359"/>
                <a:gd name="T99" fmla="*/ 105 h 431"/>
                <a:gd name="T100" fmla="*/ 6 w 359"/>
                <a:gd name="T101" fmla="*/ 105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AU"/>
            </a:p>
          </p:txBody>
        </p:sp>
      </p:grpSp>
      <p:sp>
        <p:nvSpPr>
          <p:cNvPr id="2106" name="Freeform 77"/>
          <p:cNvSpPr>
            <a:spLocks/>
          </p:cNvSpPr>
          <p:nvPr>
            <p:custDataLst>
              <p:tags r:id="rId57"/>
            </p:custDataLst>
          </p:nvPr>
        </p:nvSpPr>
        <p:spPr bwMode="auto">
          <a:xfrm>
            <a:off x="7362825" y="3395663"/>
            <a:ext cx="9525" cy="57150"/>
          </a:xfrm>
          <a:custGeom>
            <a:avLst/>
            <a:gdLst>
              <a:gd name="T0" fmla="*/ 0 w 21"/>
              <a:gd name="T1" fmla="*/ 2147483647 h 62"/>
              <a:gd name="T2" fmla="*/ 2147483647 w 21"/>
              <a:gd name="T3" fmla="*/ 2147483647 h 62"/>
              <a:gd name="T4" fmla="*/ 2147483647 w 21"/>
              <a:gd name="T5" fmla="*/ 2147483647 h 62"/>
              <a:gd name="T6" fmla="*/ 2147483647 w 21"/>
              <a:gd name="T7" fmla="*/ 2147483647 h 62"/>
              <a:gd name="T8" fmla="*/ 2147483647 w 21"/>
              <a:gd name="T9" fmla="*/ 2147483647 h 62"/>
              <a:gd name="T10" fmla="*/ 2147483647 w 21"/>
              <a:gd name="T11" fmla="*/ 2147483647 h 62"/>
              <a:gd name="T12" fmla="*/ 2147483647 w 21"/>
              <a:gd name="T13" fmla="*/ 0 h 62"/>
              <a:gd name="T14" fmla="*/ 2147483647 w 21"/>
              <a:gd name="T15" fmla="*/ 2147483647 h 62"/>
              <a:gd name="T16" fmla="*/ 2147483647 w 21"/>
              <a:gd name="T17" fmla="*/ 2147483647 h 62"/>
              <a:gd name="T18" fmla="*/ 2147483647 w 21"/>
              <a:gd name="T19" fmla="*/ 2147483647 h 62"/>
              <a:gd name="T20" fmla="*/ 2147483647 w 21"/>
              <a:gd name="T21" fmla="*/ 2147483647 h 62"/>
              <a:gd name="T22" fmla="*/ 2147483647 w 21"/>
              <a:gd name="T23" fmla="*/ 2147483647 h 62"/>
              <a:gd name="T24" fmla="*/ 0 w 21"/>
              <a:gd name="T25" fmla="*/ 2147483647 h 62"/>
              <a:gd name="T26" fmla="*/ 0 w 21"/>
              <a:gd name="T27" fmla="*/ 2147483647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cmpd="sng">
            <a:solidFill>
              <a:srgbClr val="FFFFFF"/>
            </a:solidFill>
            <a:prstDash val="solid"/>
            <a:round/>
            <a:headEnd/>
            <a:tailEnd/>
          </a:ln>
        </p:spPr>
        <p:txBody>
          <a:bodyPr/>
          <a:lstStyle/>
          <a:p>
            <a:endParaRPr lang="en-AU"/>
          </a:p>
        </p:txBody>
      </p:sp>
      <p:sp>
        <p:nvSpPr>
          <p:cNvPr id="2107" name="Freeform 78"/>
          <p:cNvSpPr>
            <a:spLocks/>
          </p:cNvSpPr>
          <p:nvPr>
            <p:custDataLst>
              <p:tags r:id="rId58"/>
            </p:custDataLst>
          </p:nvPr>
        </p:nvSpPr>
        <p:spPr bwMode="auto">
          <a:xfrm>
            <a:off x="8089900" y="4297363"/>
            <a:ext cx="14288" cy="57150"/>
          </a:xfrm>
          <a:custGeom>
            <a:avLst/>
            <a:gdLst>
              <a:gd name="T0" fmla="*/ 0 w 33"/>
              <a:gd name="T1" fmla="*/ 0 h 24"/>
              <a:gd name="T2" fmla="*/ 2147483647 w 33"/>
              <a:gd name="T3" fmla="*/ 2147483647 h 24"/>
              <a:gd name="T4" fmla="*/ 2147483647 w 33"/>
              <a:gd name="T5" fmla="*/ 2147483647 h 24"/>
              <a:gd name="T6" fmla="*/ 2147483647 w 33"/>
              <a:gd name="T7" fmla="*/ 2147483647 h 24"/>
              <a:gd name="T8" fmla="*/ 2147483647 w 33"/>
              <a:gd name="T9" fmla="*/ 2147483647 h 24"/>
              <a:gd name="T10" fmla="*/ 2147483647 w 33"/>
              <a:gd name="T11" fmla="*/ 2147483647 h 24"/>
              <a:gd name="T12" fmla="*/ 2147483647 w 33"/>
              <a:gd name="T13" fmla="*/ 2147483647 h 24"/>
              <a:gd name="T14" fmla="*/ 2147483647 w 33"/>
              <a:gd name="T15" fmla="*/ 0 h 24"/>
              <a:gd name="T16" fmla="*/ 2147483647 w 33"/>
              <a:gd name="T17" fmla="*/ 0 h 24"/>
              <a:gd name="T18" fmla="*/ 2147483647 w 33"/>
              <a:gd name="T19" fmla="*/ 0 h 24"/>
              <a:gd name="T20" fmla="*/ 214748364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mpd="sng">
            <a:solidFill>
              <a:srgbClr val="FFFFFF"/>
            </a:solidFill>
            <a:prstDash val="solid"/>
            <a:round/>
            <a:headEnd/>
            <a:tailEnd/>
          </a:ln>
        </p:spPr>
        <p:txBody>
          <a:bodyPr/>
          <a:lstStyle/>
          <a:p>
            <a:endParaRPr lang="en-AU"/>
          </a:p>
        </p:txBody>
      </p:sp>
      <p:sp>
        <p:nvSpPr>
          <p:cNvPr id="2108" name="Freeform 79"/>
          <p:cNvSpPr>
            <a:spLocks/>
          </p:cNvSpPr>
          <p:nvPr>
            <p:custDataLst>
              <p:tags r:id="rId59"/>
            </p:custDataLst>
          </p:nvPr>
        </p:nvSpPr>
        <p:spPr bwMode="auto">
          <a:xfrm>
            <a:off x="8112125" y="4306888"/>
            <a:ext cx="17463" cy="58737"/>
          </a:xfrm>
          <a:custGeom>
            <a:avLst/>
            <a:gdLst>
              <a:gd name="T0" fmla="*/ 2147483647 w 33"/>
              <a:gd name="T1" fmla="*/ 2147483647 h 25"/>
              <a:gd name="T2" fmla="*/ 2147483647 w 33"/>
              <a:gd name="T3" fmla="*/ 2147483647 h 25"/>
              <a:gd name="T4" fmla="*/ 2147483647 w 33"/>
              <a:gd name="T5" fmla="*/ 2147483647 h 25"/>
              <a:gd name="T6" fmla="*/ 2147483647 w 33"/>
              <a:gd name="T7" fmla="*/ 0 h 25"/>
              <a:gd name="T8" fmla="*/ 2147483647 w 33"/>
              <a:gd name="T9" fmla="*/ 0 h 25"/>
              <a:gd name="T10" fmla="*/ 2147483647 w 33"/>
              <a:gd name="T11" fmla="*/ 0 h 25"/>
              <a:gd name="T12" fmla="*/ 2147483647 w 33"/>
              <a:gd name="T13" fmla="*/ 0 h 25"/>
              <a:gd name="T14" fmla="*/ 0 w 33"/>
              <a:gd name="T15" fmla="*/ 0 h 25"/>
              <a:gd name="T16" fmla="*/ 2147483647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mpd="sng">
            <a:solidFill>
              <a:srgbClr val="FFFFFF"/>
            </a:solidFill>
            <a:prstDash val="solid"/>
            <a:round/>
            <a:headEnd/>
            <a:tailEnd/>
          </a:ln>
        </p:spPr>
        <p:txBody>
          <a:bodyPr/>
          <a:lstStyle/>
          <a:p>
            <a:endParaRPr lang="en-AU"/>
          </a:p>
        </p:txBody>
      </p:sp>
      <p:sp>
        <p:nvSpPr>
          <p:cNvPr id="2109" name="Freeform 80"/>
          <p:cNvSpPr>
            <a:spLocks/>
          </p:cNvSpPr>
          <p:nvPr>
            <p:custDataLst>
              <p:tags r:id="rId60"/>
            </p:custDataLst>
          </p:nvPr>
        </p:nvSpPr>
        <p:spPr bwMode="auto">
          <a:xfrm>
            <a:off x="7426325" y="3384550"/>
            <a:ext cx="1588" cy="55563"/>
          </a:xfrm>
          <a:custGeom>
            <a:avLst/>
            <a:gdLst>
              <a:gd name="T0" fmla="*/ 0 w 7"/>
              <a:gd name="T1" fmla="*/ 0 h 55563"/>
              <a:gd name="T2" fmla="*/ 2147483647 w 7"/>
              <a:gd name="T3" fmla="*/ 0 h 55563"/>
              <a:gd name="T4" fmla="*/ 0 w 7"/>
              <a:gd name="T5" fmla="*/ 0 h 55563"/>
              <a:gd name="T6" fmla="*/ 0 60000 65536"/>
              <a:gd name="T7" fmla="*/ 0 60000 65536"/>
              <a:gd name="T8" fmla="*/ 0 60000 65536"/>
            </a:gdLst>
            <a:ahLst/>
            <a:cxnLst>
              <a:cxn ang="T6">
                <a:pos x="T0" y="T1"/>
              </a:cxn>
              <a:cxn ang="T7">
                <a:pos x="T2" y="T3"/>
              </a:cxn>
              <a:cxn ang="T8">
                <a:pos x="T4" y="T5"/>
              </a:cxn>
            </a:cxnLst>
            <a:rect l="0" t="0" r="r" b="b"/>
            <a:pathLst>
              <a:path w="7" h="55563">
                <a:moveTo>
                  <a:pt x="0" y="0"/>
                </a:moveTo>
                <a:lnTo>
                  <a:pt x="7" y="0"/>
                </a:lnTo>
                <a:lnTo>
                  <a:pt x="0" y="0"/>
                </a:lnTo>
              </a:path>
            </a:pathLst>
          </a:custGeom>
          <a:solidFill>
            <a:srgbClr val="C0C0C0"/>
          </a:solidFill>
          <a:ln w="9525" cmpd="sng">
            <a:solidFill>
              <a:srgbClr val="FFFFFF"/>
            </a:solidFill>
            <a:prstDash val="solid"/>
            <a:round/>
            <a:headEnd/>
            <a:tailEnd/>
          </a:ln>
        </p:spPr>
        <p:txBody>
          <a:bodyPr/>
          <a:lstStyle/>
          <a:p>
            <a:endParaRPr lang="en-AU"/>
          </a:p>
        </p:txBody>
      </p:sp>
      <p:sp>
        <p:nvSpPr>
          <p:cNvPr id="2110" name="Freeform 81"/>
          <p:cNvSpPr>
            <a:spLocks/>
          </p:cNvSpPr>
          <p:nvPr>
            <p:custDataLst>
              <p:tags r:id="rId61"/>
            </p:custDataLst>
          </p:nvPr>
        </p:nvSpPr>
        <p:spPr bwMode="auto">
          <a:xfrm>
            <a:off x="7485063" y="3328988"/>
            <a:ext cx="6350" cy="57150"/>
          </a:xfrm>
          <a:custGeom>
            <a:avLst/>
            <a:gdLst>
              <a:gd name="T0" fmla="*/ 2147483647 w 16"/>
              <a:gd name="T1" fmla="*/ 0 h 25"/>
              <a:gd name="T2" fmla="*/ 2147483647 w 16"/>
              <a:gd name="T3" fmla="*/ 2147483647 h 25"/>
              <a:gd name="T4" fmla="*/ 2147483647 w 16"/>
              <a:gd name="T5" fmla="*/ 2147483647 h 25"/>
              <a:gd name="T6" fmla="*/ 2147483647 w 16"/>
              <a:gd name="T7" fmla="*/ 2147483647 h 25"/>
              <a:gd name="T8" fmla="*/ 2147483647 w 16"/>
              <a:gd name="T9" fmla="*/ 2147483647 h 25"/>
              <a:gd name="T10" fmla="*/ 2147483647 w 16"/>
              <a:gd name="T11" fmla="*/ 2147483647 h 25"/>
              <a:gd name="T12" fmla="*/ 2147483647 w 16"/>
              <a:gd name="T13" fmla="*/ 2147483647 h 25"/>
              <a:gd name="T14" fmla="*/ 2147483647 w 16"/>
              <a:gd name="T15" fmla="*/ 2147483647 h 25"/>
              <a:gd name="T16" fmla="*/ 0 w 16"/>
              <a:gd name="T17" fmla="*/ 2147483647 h 25"/>
              <a:gd name="T18" fmla="*/ 2147483647 w 16"/>
              <a:gd name="T19" fmla="*/ 2147483647 h 25"/>
              <a:gd name="T20" fmla="*/ 2147483647 w 16"/>
              <a:gd name="T21" fmla="*/ 2147483647 h 25"/>
              <a:gd name="T22" fmla="*/ 2147483647 w 16"/>
              <a:gd name="T23" fmla="*/ 2147483647 h 25"/>
              <a:gd name="T24" fmla="*/ 2147483647 w 16"/>
              <a:gd name="T25" fmla="*/ 2147483647 h 25"/>
              <a:gd name="T26" fmla="*/ 2147483647 w 16"/>
              <a:gd name="T27" fmla="*/ 2147483647 h 25"/>
              <a:gd name="T28" fmla="*/ 2147483647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mpd="sng">
            <a:solidFill>
              <a:srgbClr val="FFFFFF"/>
            </a:solidFill>
            <a:prstDash val="solid"/>
            <a:round/>
            <a:headEnd/>
            <a:tailEnd/>
          </a:ln>
        </p:spPr>
        <p:txBody>
          <a:bodyPr/>
          <a:lstStyle/>
          <a:p>
            <a:endParaRPr lang="en-AU"/>
          </a:p>
        </p:txBody>
      </p:sp>
      <p:sp>
        <p:nvSpPr>
          <p:cNvPr id="2111" name="Freeform 82"/>
          <p:cNvSpPr>
            <a:spLocks/>
          </p:cNvSpPr>
          <p:nvPr>
            <p:custDataLst>
              <p:tags r:id="rId62"/>
            </p:custDataLst>
          </p:nvPr>
        </p:nvSpPr>
        <p:spPr bwMode="auto">
          <a:xfrm>
            <a:off x="7597775" y="3217863"/>
            <a:ext cx="4763" cy="57150"/>
          </a:xfrm>
          <a:custGeom>
            <a:avLst/>
            <a:gdLst>
              <a:gd name="T0" fmla="*/ 0 w 14"/>
              <a:gd name="T1" fmla="*/ 0 h 18"/>
              <a:gd name="T2" fmla="*/ 2147483647 w 14"/>
              <a:gd name="T3" fmla="*/ 2147483647 h 18"/>
              <a:gd name="T4" fmla="*/ 2147483647 w 14"/>
              <a:gd name="T5" fmla="*/ 2147483647 h 18"/>
              <a:gd name="T6" fmla="*/ 2147483647 w 14"/>
              <a:gd name="T7" fmla="*/ 2147483647 h 18"/>
              <a:gd name="T8" fmla="*/ 2147483647 w 14"/>
              <a:gd name="T9" fmla="*/ 2147483647 h 18"/>
              <a:gd name="T10" fmla="*/ 2147483647 w 14"/>
              <a:gd name="T11" fmla="*/ 2147483647 h 18"/>
              <a:gd name="T12" fmla="*/ 2147483647 w 14"/>
              <a:gd name="T13" fmla="*/ 2147483647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cmpd="sng">
            <a:solidFill>
              <a:srgbClr val="FFFFFF"/>
            </a:solidFill>
            <a:prstDash val="solid"/>
            <a:round/>
            <a:headEnd/>
            <a:tailEnd/>
          </a:ln>
        </p:spPr>
        <p:txBody>
          <a:bodyPr/>
          <a:lstStyle/>
          <a:p>
            <a:endParaRPr lang="en-AU"/>
          </a:p>
        </p:txBody>
      </p:sp>
      <p:sp>
        <p:nvSpPr>
          <p:cNvPr id="2112" name="Freeform 83"/>
          <p:cNvSpPr>
            <a:spLocks/>
          </p:cNvSpPr>
          <p:nvPr>
            <p:custDataLst>
              <p:tags r:id="rId63"/>
            </p:custDataLst>
          </p:nvPr>
        </p:nvSpPr>
        <p:spPr bwMode="auto">
          <a:xfrm>
            <a:off x="7750175" y="3916363"/>
            <a:ext cx="26988" cy="58737"/>
          </a:xfrm>
          <a:custGeom>
            <a:avLst/>
            <a:gdLst>
              <a:gd name="T0" fmla="*/ 0 w 67"/>
              <a:gd name="T1" fmla="*/ 0 h 74"/>
              <a:gd name="T2" fmla="*/ 2147483647 w 67"/>
              <a:gd name="T3" fmla="*/ 2147483647 h 74"/>
              <a:gd name="T4" fmla="*/ 2147483647 w 67"/>
              <a:gd name="T5" fmla="*/ 2147483647 h 74"/>
              <a:gd name="T6" fmla="*/ 2147483647 w 67"/>
              <a:gd name="T7" fmla="*/ 2147483647 h 74"/>
              <a:gd name="T8" fmla="*/ 2147483647 w 67"/>
              <a:gd name="T9" fmla="*/ 2147483647 h 74"/>
              <a:gd name="T10" fmla="*/ 2147483647 w 67"/>
              <a:gd name="T11" fmla="*/ 2147483647 h 74"/>
              <a:gd name="T12" fmla="*/ 2147483647 w 67"/>
              <a:gd name="T13" fmla="*/ 2147483647 h 74"/>
              <a:gd name="T14" fmla="*/ 2147483647 w 67"/>
              <a:gd name="T15" fmla="*/ 2147483647 h 74"/>
              <a:gd name="T16" fmla="*/ 2147483647 w 67"/>
              <a:gd name="T17" fmla="*/ 2147483647 h 74"/>
              <a:gd name="T18" fmla="*/ 2147483647 w 67"/>
              <a:gd name="T19" fmla="*/ 2147483647 h 74"/>
              <a:gd name="T20" fmla="*/ 2147483647 w 67"/>
              <a:gd name="T21" fmla="*/ 2147483647 h 74"/>
              <a:gd name="T22" fmla="*/ 2147483647 w 67"/>
              <a:gd name="T23" fmla="*/ 2147483647 h 74"/>
              <a:gd name="T24" fmla="*/ 2147483647 w 67"/>
              <a:gd name="T25" fmla="*/ 2147483647 h 74"/>
              <a:gd name="T26" fmla="*/ 2147483647 w 67"/>
              <a:gd name="T27" fmla="*/ 2147483647 h 74"/>
              <a:gd name="T28" fmla="*/ 2147483647 w 67"/>
              <a:gd name="T29" fmla="*/ 2147483647 h 74"/>
              <a:gd name="T30" fmla="*/ 2147483647 w 67"/>
              <a:gd name="T31" fmla="*/ 2147483647 h 74"/>
              <a:gd name="T32" fmla="*/ 2147483647 w 67"/>
              <a:gd name="T33" fmla="*/ 2147483647 h 74"/>
              <a:gd name="T34" fmla="*/ 2147483647 w 67"/>
              <a:gd name="T35" fmla="*/ 2147483647 h 74"/>
              <a:gd name="T36" fmla="*/ 2147483647 w 67"/>
              <a:gd name="T37" fmla="*/ 0 h 74"/>
              <a:gd name="T38" fmla="*/ 2147483647 w 67"/>
              <a:gd name="T39" fmla="*/ 0 h 74"/>
              <a:gd name="T40" fmla="*/ 2147483647 w 67"/>
              <a:gd name="T41" fmla="*/ 0 h 74"/>
              <a:gd name="T42" fmla="*/ 2147483647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mpd="sng">
            <a:solidFill>
              <a:srgbClr val="FFFFFF"/>
            </a:solidFill>
            <a:prstDash val="solid"/>
            <a:round/>
            <a:headEnd/>
            <a:tailEnd/>
          </a:ln>
        </p:spPr>
        <p:txBody>
          <a:bodyPr/>
          <a:lstStyle/>
          <a:p>
            <a:endParaRPr lang="en-AU"/>
          </a:p>
        </p:txBody>
      </p:sp>
      <p:sp>
        <p:nvSpPr>
          <p:cNvPr id="2113" name="Freeform 84"/>
          <p:cNvSpPr>
            <a:spLocks/>
          </p:cNvSpPr>
          <p:nvPr>
            <p:custDataLst>
              <p:tags r:id="rId64"/>
            </p:custDataLst>
          </p:nvPr>
        </p:nvSpPr>
        <p:spPr bwMode="auto">
          <a:xfrm>
            <a:off x="7813675" y="3930650"/>
            <a:ext cx="12700" cy="57150"/>
          </a:xfrm>
          <a:custGeom>
            <a:avLst/>
            <a:gdLst>
              <a:gd name="T0" fmla="*/ 0 w 34"/>
              <a:gd name="T1" fmla="*/ 0 h 38"/>
              <a:gd name="T2" fmla="*/ 2147483647 w 34"/>
              <a:gd name="T3" fmla="*/ 2147483647 h 38"/>
              <a:gd name="T4" fmla="*/ 2147483647 w 34"/>
              <a:gd name="T5" fmla="*/ 2147483647 h 38"/>
              <a:gd name="T6" fmla="*/ 2147483647 w 34"/>
              <a:gd name="T7" fmla="*/ 2147483647 h 38"/>
              <a:gd name="T8" fmla="*/ 2147483647 w 34"/>
              <a:gd name="T9" fmla="*/ 2147483647 h 38"/>
              <a:gd name="T10" fmla="*/ 2147483647 w 34"/>
              <a:gd name="T11" fmla="*/ 2147483647 h 38"/>
              <a:gd name="T12" fmla="*/ 2147483647 w 34"/>
              <a:gd name="T13" fmla="*/ 2147483647 h 38"/>
              <a:gd name="T14" fmla="*/ 2147483647 w 34"/>
              <a:gd name="T15" fmla="*/ 2147483647 h 38"/>
              <a:gd name="T16" fmla="*/ 2147483647 w 34"/>
              <a:gd name="T17" fmla="*/ 2147483647 h 38"/>
              <a:gd name="T18" fmla="*/ 2147483647 w 34"/>
              <a:gd name="T19" fmla="*/ 2147483647 h 38"/>
              <a:gd name="T20" fmla="*/ 2147483647 w 34"/>
              <a:gd name="T21" fmla="*/ 2147483647 h 38"/>
              <a:gd name="T22" fmla="*/ 2147483647 w 34"/>
              <a:gd name="T23" fmla="*/ 2147483647 h 38"/>
              <a:gd name="T24" fmla="*/ 2147483647 w 34"/>
              <a:gd name="T25" fmla="*/ 2147483647 h 38"/>
              <a:gd name="T26" fmla="*/ 2147483647 w 34"/>
              <a:gd name="T27" fmla="*/ 2147483647 h 38"/>
              <a:gd name="T28" fmla="*/ 2147483647 w 34"/>
              <a:gd name="T29" fmla="*/ 2147483647 h 38"/>
              <a:gd name="T30" fmla="*/ 2147483647 w 34"/>
              <a:gd name="T31" fmla="*/ 2147483647 h 38"/>
              <a:gd name="T32" fmla="*/ 2147483647 w 34"/>
              <a:gd name="T33" fmla="*/ 2147483647 h 38"/>
              <a:gd name="T34" fmla="*/ 2147483647 w 34"/>
              <a:gd name="T35" fmla="*/ 2147483647 h 38"/>
              <a:gd name="T36" fmla="*/ 2147483647 w 34"/>
              <a:gd name="T37" fmla="*/ 2147483647 h 38"/>
              <a:gd name="T38" fmla="*/ 2147483647 w 34"/>
              <a:gd name="T39" fmla="*/ 2147483647 h 38"/>
              <a:gd name="T40" fmla="*/ 2147483647 w 34"/>
              <a:gd name="T41" fmla="*/ 0 h 38"/>
              <a:gd name="T42" fmla="*/ 2147483647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mpd="sng">
            <a:solidFill>
              <a:srgbClr val="FFFFFF"/>
            </a:solidFill>
            <a:prstDash val="solid"/>
            <a:round/>
            <a:headEnd/>
            <a:tailEnd/>
          </a:ln>
        </p:spPr>
        <p:txBody>
          <a:bodyPr/>
          <a:lstStyle/>
          <a:p>
            <a:endParaRPr lang="en-AU"/>
          </a:p>
        </p:txBody>
      </p:sp>
      <p:sp>
        <p:nvSpPr>
          <p:cNvPr id="2114" name="Freeform 85"/>
          <p:cNvSpPr>
            <a:spLocks/>
          </p:cNvSpPr>
          <p:nvPr>
            <p:custDataLst>
              <p:tags r:id="rId65"/>
            </p:custDataLst>
          </p:nvPr>
        </p:nvSpPr>
        <p:spPr bwMode="auto">
          <a:xfrm>
            <a:off x="7670800" y="3706813"/>
            <a:ext cx="25400" cy="55562"/>
          </a:xfrm>
          <a:custGeom>
            <a:avLst/>
            <a:gdLst>
              <a:gd name="T0" fmla="*/ 2147483647 w 53"/>
              <a:gd name="T1" fmla="*/ 2147483647 h 23"/>
              <a:gd name="T2" fmla="*/ 2147483647 w 53"/>
              <a:gd name="T3" fmla="*/ 2147483647 h 23"/>
              <a:gd name="T4" fmla="*/ 2147483647 w 53"/>
              <a:gd name="T5" fmla="*/ 2147483647 h 23"/>
              <a:gd name="T6" fmla="*/ 2147483647 w 53"/>
              <a:gd name="T7" fmla="*/ 2147483647 h 23"/>
              <a:gd name="T8" fmla="*/ 2147483647 w 53"/>
              <a:gd name="T9" fmla="*/ 0 h 23"/>
              <a:gd name="T10" fmla="*/ 2147483647 w 53"/>
              <a:gd name="T11" fmla="*/ 0 h 23"/>
              <a:gd name="T12" fmla="*/ 2147483647 w 53"/>
              <a:gd name="T13" fmla="*/ 2147483647 h 23"/>
              <a:gd name="T14" fmla="*/ 2147483647 w 53"/>
              <a:gd name="T15" fmla="*/ 2147483647 h 23"/>
              <a:gd name="T16" fmla="*/ 2147483647 w 53"/>
              <a:gd name="T17" fmla="*/ 2147483647 h 23"/>
              <a:gd name="T18" fmla="*/ 0 w 53"/>
              <a:gd name="T19" fmla="*/ 2147483647 h 23"/>
              <a:gd name="T20" fmla="*/ 2147483647 w 53"/>
              <a:gd name="T21" fmla="*/ 2147483647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mpd="sng">
            <a:solidFill>
              <a:srgbClr val="FFFFFF"/>
            </a:solidFill>
            <a:prstDash val="solid"/>
            <a:round/>
            <a:headEnd/>
            <a:tailEnd/>
          </a:ln>
        </p:spPr>
        <p:txBody>
          <a:bodyPr/>
          <a:lstStyle/>
          <a:p>
            <a:endParaRPr lang="en-AU"/>
          </a:p>
        </p:txBody>
      </p:sp>
      <p:sp>
        <p:nvSpPr>
          <p:cNvPr id="2115" name="Freeform 86"/>
          <p:cNvSpPr>
            <a:spLocks/>
          </p:cNvSpPr>
          <p:nvPr>
            <p:custDataLst>
              <p:tags r:id="rId66"/>
            </p:custDataLst>
          </p:nvPr>
        </p:nvSpPr>
        <p:spPr bwMode="auto">
          <a:xfrm>
            <a:off x="7613650" y="3681413"/>
            <a:ext cx="11113" cy="57150"/>
          </a:xfrm>
          <a:custGeom>
            <a:avLst/>
            <a:gdLst>
              <a:gd name="T0" fmla="*/ 0 w 26"/>
              <a:gd name="T1" fmla="*/ 0 h 12"/>
              <a:gd name="T2" fmla="*/ 2147483647 w 26"/>
              <a:gd name="T3" fmla="*/ 2147483647 h 12"/>
              <a:gd name="T4" fmla="*/ 2147483647 w 26"/>
              <a:gd name="T5" fmla="*/ 2147483647 h 12"/>
              <a:gd name="T6" fmla="*/ 2147483647 w 26"/>
              <a:gd name="T7" fmla="*/ 2147483647 h 12"/>
              <a:gd name="T8" fmla="*/ 2147483647 w 26"/>
              <a:gd name="T9" fmla="*/ 2147483647 h 12"/>
              <a:gd name="T10" fmla="*/ 2147483647 w 26"/>
              <a:gd name="T11" fmla="*/ 2147483647 h 12"/>
              <a:gd name="T12" fmla="*/ 2147483647 w 26"/>
              <a:gd name="T13" fmla="*/ 2147483647 h 12"/>
              <a:gd name="T14" fmla="*/ 2147483647 w 26"/>
              <a:gd name="T15" fmla="*/ 2147483647 h 12"/>
              <a:gd name="T16" fmla="*/ 2147483647 w 26"/>
              <a:gd name="T17" fmla="*/ 2147483647 h 12"/>
              <a:gd name="T18" fmla="*/ 2147483647 w 26"/>
              <a:gd name="T19" fmla="*/ 2147483647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mpd="sng">
            <a:solidFill>
              <a:srgbClr val="FFFFFF"/>
            </a:solidFill>
            <a:prstDash val="solid"/>
            <a:round/>
            <a:headEnd/>
            <a:tailEnd/>
          </a:ln>
        </p:spPr>
        <p:txBody>
          <a:bodyPr/>
          <a:lstStyle/>
          <a:p>
            <a:endParaRPr lang="en-AU"/>
          </a:p>
        </p:txBody>
      </p:sp>
      <p:sp>
        <p:nvSpPr>
          <p:cNvPr id="2116" name="Freeform 87"/>
          <p:cNvSpPr>
            <a:spLocks/>
          </p:cNvSpPr>
          <p:nvPr>
            <p:custDataLst>
              <p:tags r:id="rId67"/>
            </p:custDataLst>
          </p:nvPr>
        </p:nvSpPr>
        <p:spPr bwMode="auto">
          <a:xfrm>
            <a:off x="7813675" y="4013200"/>
            <a:ext cx="31750" cy="57150"/>
          </a:xfrm>
          <a:custGeom>
            <a:avLst/>
            <a:gdLst>
              <a:gd name="T0" fmla="*/ 0 w 73"/>
              <a:gd name="T1" fmla="*/ 0 h 57150"/>
              <a:gd name="T2" fmla="*/ 2147483647 w 73"/>
              <a:gd name="T3" fmla="*/ 0 h 57150"/>
              <a:gd name="T4" fmla="*/ 2147483647 w 73"/>
              <a:gd name="T5" fmla="*/ 0 h 57150"/>
              <a:gd name="T6" fmla="*/ 2147483647 w 73"/>
              <a:gd name="T7" fmla="*/ 0 h 57150"/>
              <a:gd name="T8" fmla="*/ 2147483647 w 73"/>
              <a:gd name="T9" fmla="*/ 0 h 57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3" h="57150">
                <a:moveTo>
                  <a:pt x="0" y="0"/>
                </a:moveTo>
                <a:lnTo>
                  <a:pt x="20" y="0"/>
                </a:lnTo>
                <a:lnTo>
                  <a:pt x="37" y="0"/>
                </a:lnTo>
                <a:lnTo>
                  <a:pt x="55" y="0"/>
                </a:lnTo>
                <a:lnTo>
                  <a:pt x="73" y="0"/>
                </a:lnTo>
              </a:path>
            </a:pathLst>
          </a:custGeom>
          <a:solidFill>
            <a:srgbClr val="C0C0C0"/>
          </a:solidFill>
          <a:ln w="9525" cmpd="sng">
            <a:solidFill>
              <a:srgbClr val="FFFFFF"/>
            </a:solidFill>
            <a:prstDash val="solid"/>
            <a:round/>
            <a:headEnd/>
            <a:tailEnd/>
          </a:ln>
        </p:spPr>
        <p:txBody>
          <a:bodyPr/>
          <a:lstStyle/>
          <a:p>
            <a:endParaRPr lang="en-AU"/>
          </a:p>
        </p:txBody>
      </p:sp>
      <p:sp>
        <p:nvSpPr>
          <p:cNvPr id="2117" name="Freeform 88"/>
          <p:cNvSpPr>
            <a:spLocks/>
          </p:cNvSpPr>
          <p:nvPr>
            <p:custDataLst>
              <p:tags r:id="rId68"/>
            </p:custDataLst>
          </p:nvPr>
        </p:nvSpPr>
        <p:spPr bwMode="auto">
          <a:xfrm>
            <a:off x="7769225" y="4002088"/>
            <a:ext cx="22225" cy="57150"/>
          </a:xfrm>
          <a:custGeom>
            <a:avLst/>
            <a:gdLst>
              <a:gd name="T0" fmla="*/ 0 w 53"/>
              <a:gd name="T1" fmla="*/ 0 h 3"/>
              <a:gd name="T2" fmla="*/ 2147483647 w 53"/>
              <a:gd name="T3" fmla="*/ 0 h 3"/>
              <a:gd name="T4" fmla="*/ 2147483647 w 53"/>
              <a:gd name="T5" fmla="*/ 2147483647 h 3"/>
              <a:gd name="T6" fmla="*/ 2147483647 w 53"/>
              <a:gd name="T7" fmla="*/ 2147483647 h 3"/>
              <a:gd name="T8" fmla="*/ 2147483647 w 53"/>
              <a:gd name="T9" fmla="*/ 2147483647 h 3"/>
              <a:gd name="T10" fmla="*/ 2147483647 w 53"/>
              <a:gd name="T11" fmla="*/ 2147483647 h 3"/>
              <a:gd name="T12" fmla="*/ 2147483647 w 53"/>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C0C0C0"/>
          </a:solidFill>
          <a:ln w="9525" cmpd="sng">
            <a:solidFill>
              <a:srgbClr val="FFFFFF"/>
            </a:solidFill>
            <a:prstDash val="solid"/>
            <a:round/>
            <a:headEnd/>
            <a:tailEnd/>
          </a:ln>
        </p:spPr>
        <p:txBody>
          <a:bodyPr/>
          <a:lstStyle/>
          <a:p>
            <a:endParaRPr lang="en-AU"/>
          </a:p>
        </p:txBody>
      </p:sp>
      <p:sp>
        <p:nvSpPr>
          <p:cNvPr id="2118" name="Line 89"/>
          <p:cNvSpPr>
            <a:spLocks noChangeShapeType="1"/>
          </p:cNvSpPr>
          <p:nvPr>
            <p:custDataLst>
              <p:tags r:id="rId69"/>
            </p:custDataLst>
          </p:nvPr>
        </p:nvSpPr>
        <p:spPr bwMode="auto">
          <a:xfrm>
            <a:off x="7802563" y="3987800"/>
            <a:ext cx="20637" cy="6350"/>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AU"/>
          </a:p>
        </p:txBody>
      </p:sp>
      <p:sp>
        <p:nvSpPr>
          <p:cNvPr id="2119" name="Freeform 90"/>
          <p:cNvSpPr>
            <a:spLocks/>
          </p:cNvSpPr>
          <p:nvPr>
            <p:custDataLst>
              <p:tags r:id="rId70"/>
            </p:custDataLst>
          </p:nvPr>
        </p:nvSpPr>
        <p:spPr bwMode="auto">
          <a:xfrm>
            <a:off x="7823200" y="3994150"/>
            <a:ext cx="1588" cy="57150"/>
          </a:xfrm>
          <a:custGeom>
            <a:avLst/>
            <a:gdLst>
              <a:gd name="T0" fmla="*/ 0 w 1588"/>
              <a:gd name="T1" fmla="*/ 0 h 13"/>
              <a:gd name="T2" fmla="*/ 0 w 1588"/>
              <a:gd name="T3" fmla="*/ 2147483647 h 13"/>
              <a:gd name="T4" fmla="*/ 0 w 1588"/>
              <a:gd name="T5" fmla="*/ 2147483647 h 13"/>
              <a:gd name="T6" fmla="*/ 0 60000 65536"/>
              <a:gd name="T7" fmla="*/ 0 60000 65536"/>
              <a:gd name="T8" fmla="*/ 0 60000 65536"/>
            </a:gdLst>
            <a:ahLst/>
            <a:cxnLst>
              <a:cxn ang="T6">
                <a:pos x="T0" y="T1"/>
              </a:cxn>
              <a:cxn ang="T7">
                <a:pos x="T2" y="T3"/>
              </a:cxn>
              <a:cxn ang="T8">
                <a:pos x="T4" y="T5"/>
              </a:cxn>
            </a:cxnLst>
            <a:rect l="0" t="0" r="r" b="b"/>
            <a:pathLst>
              <a:path w="1588" h="13">
                <a:moveTo>
                  <a:pt x="0" y="0"/>
                </a:moveTo>
                <a:lnTo>
                  <a:pt x="0" y="6"/>
                </a:lnTo>
                <a:lnTo>
                  <a:pt x="0" y="13"/>
                </a:lnTo>
              </a:path>
            </a:pathLst>
          </a:custGeom>
          <a:solidFill>
            <a:srgbClr val="C0C0C0"/>
          </a:solidFill>
          <a:ln w="9525" cmpd="sng">
            <a:solidFill>
              <a:srgbClr val="FFFFFF"/>
            </a:solidFill>
            <a:prstDash val="solid"/>
            <a:round/>
            <a:headEnd/>
            <a:tailEnd/>
          </a:ln>
        </p:spPr>
        <p:txBody>
          <a:bodyPr/>
          <a:lstStyle/>
          <a:p>
            <a:endParaRPr lang="en-AU"/>
          </a:p>
        </p:txBody>
      </p:sp>
      <p:sp>
        <p:nvSpPr>
          <p:cNvPr id="2120" name="Freeform 91"/>
          <p:cNvSpPr>
            <a:spLocks/>
          </p:cNvSpPr>
          <p:nvPr>
            <p:custDataLst>
              <p:tags r:id="rId71"/>
            </p:custDataLst>
          </p:nvPr>
        </p:nvSpPr>
        <p:spPr bwMode="auto">
          <a:xfrm>
            <a:off x="7777163" y="3987800"/>
            <a:ext cx="14287" cy="58738"/>
          </a:xfrm>
          <a:custGeom>
            <a:avLst/>
            <a:gdLst>
              <a:gd name="T0" fmla="*/ 0 w 26"/>
              <a:gd name="T1" fmla="*/ 0 h 58738"/>
              <a:gd name="T2" fmla="*/ 2147483647 w 26"/>
              <a:gd name="T3" fmla="*/ 0 h 58738"/>
              <a:gd name="T4" fmla="*/ 2147483647 w 26"/>
              <a:gd name="T5" fmla="*/ 0 h 58738"/>
              <a:gd name="T6" fmla="*/ 0 60000 65536"/>
              <a:gd name="T7" fmla="*/ 0 60000 65536"/>
              <a:gd name="T8" fmla="*/ 0 60000 65536"/>
            </a:gdLst>
            <a:ahLst/>
            <a:cxnLst>
              <a:cxn ang="T6">
                <a:pos x="T0" y="T1"/>
              </a:cxn>
              <a:cxn ang="T7">
                <a:pos x="T2" y="T3"/>
              </a:cxn>
              <a:cxn ang="T8">
                <a:pos x="T4" y="T5"/>
              </a:cxn>
            </a:cxnLst>
            <a:rect l="0" t="0" r="r" b="b"/>
            <a:pathLst>
              <a:path w="26" h="58738">
                <a:moveTo>
                  <a:pt x="0" y="0"/>
                </a:moveTo>
                <a:lnTo>
                  <a:pt x="15" y="0"/>
                </a:lnTo>
                <a:lnTo>
                  <a:pt x="26" y="0"/>
                </a:lnTo>
              </a:path>
            </a:pathLst>
          </a:custGeom>
          <a:solidFill>
            <a:srgbClr val="C0C0C0"/>
          </a:solidFill>
          <a:ln w="9525" cmpd="sng">
            <a:solidFill>
              <a:srgbClr val="FFFFFF"/>
            </a:solidFill>
            <a:prstDash val="solid"/>
            <a:round/>
            <a:headEnd/>
            <a:tailEnd/>
          </a:ln>
        </p:spPr>
        <p:txBody>
          <a:bodyPr/>
          <a:lstStyle/>
          <a:p>
            <a:endParaRPr lang="en-AU"/>
          </a:p>
        </p:txBody>
      </p:sp>
      <p:sp>
        <p:nvSpPr>
          <p:cNvPr id="2121" name="Freeform 92"/>
          <p:cNvSpPr>
            <a:spLocks/>
          </p:cNvSpPr>
          <p:nvPr>
            <p:custDataLst>
              <p:tags r:id="rId72"/>
            </p:custDataLst>
          </p:nvPr>
        </p:nvSpPr>
        <p:spPr bwMode="auto">
          <a:xfrm>
            <a:off x="7770813" y="3968750"/>
            <a:ext cx="6350" cy="60325"/>
          </a:xfrm>
          <a:custGeom>
            <a:avLst/>
            <a:gdLst>
              <a:gd name="T0" fmla="*/ 2147483647 w 20"/>
              <a:gd name="T1" fmla="*/ 0 h 25"/>
              <a:gd name="T2" fmla="*/ 0 w 20"/>
              <a:gd name="T3" fmla="*/ 2147483647 h 25"/>
              <a:gd name="T4" fmla="*/ 2147483647 w 20"/>
              <a:gd name="T5" fmla="*/ 2147483647 h 25"/>
              <a:gd name="T6" fmla="*/ 2147483647 w 20"/>
              <a:gd name="T7" fmla="*/ 2147483647 h 25"/>
              <a:gd name="T8" fmla="*/ 2147483647 w 20"/>
              <a:gd name="T9" fmla="*/ 2147483647 h 25"/>
              <a:gd name="T10" fmla="*/ 2147483647 w 20"/>
              <a:gd name="T11" fmla="*/ 2147483647 h 25"/>
              <a:gd name="T12" fmla="*/ 2147483647 w 20"/>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C0C0C0"/>
          </a:solidFill>
          <a:ln w="9525" cmpd="sng">
            <a:solidFill>
              <a:srgbClr val="FFFFFF"/>
            </a:solidFill>
            <a:prstDash val="solid"/>
            <a:round/>
            <a:headEnd/>
            <a:tailEnd/>
          </a:ln>
        </p:spPr>
        <p:txBody>
          <a:bodyPr/>
          <a:lstStyle/>
          <a:p>
            <a:endParaRPr lang="en-AU"/>
          </a:p>
        </p:txBody>
      </p:sp>
      <p:sp>
        <p:nvSpPr>
          <p:cNvPr id="2122" name="Freeform 93"/>
          <p:cNvSpPr>
            <a:spLocks/>
          </p:cNvSpPr>
          <p:nvPr>
            <p:custDataLst>
              <p:tags r:id="rId73"/>
            </p:custDataLst>
          </p:nvPr>
        </p:nvSpPr>
        <p:spPr bwMode="auto">
          <a:xfrm>
            <a:off x="7851775" y="3695700"/>
            <a:ext cx="1588" cy="57150"/>
          </a:xfrm>
          <a:custGeom>
            <a:avLst/>
            <a:gdLst>
              <a:gd name="T0" fmla="*/ 0 w 6"/>
              <a:gd name="T1" fmla="*/ 2147483647 h 24"/>
              <a:gd name="T2" fmla="*/ 0 w 6"/>
              <a:gd name="T3" fmla="*/ 0 h 24"/>
              <a:gd name="T4" fmla="*/ 2147483647 w 6"/>
              <a:gd name="T5" fmla="*/ 2147483647 h 24"/>
              <a:gd name="T6" fmla="*/ 0 w 6"/>
              <a:gd name="T7" fmla="*/ 2147483647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4">
                <a:moveTo>
                  <a:pt x="0" y="24"/>
                </a:moveTo>
                <a:lnTo>
                  <a:pt x="0" y="0"/>
                </a:lnTo>
                <a:lnTo>
                  <a:pt x="6" y="12"/>
                </a:lnTo>
                <a:lnTo>
                  <a:pt x="0" y="24"/>
                </a:lnTo>
              </a:path>
            </a:pathLst>
          </a:custGeom>
          <a:solidFill>
            <a:srgbClr val="C0C0C0"/>
          </a:solidFill>
          <a:ln w="9525" cmpd="sng">
            <a:solidFill>
              <a:srgbClr val="FFFFFF"/>
            </a:solidFill>
            <a:prstDash val="solid"/>
            <a:round/>
            <a:headEnd/>
            <a:tailEnd/>
          </a:ln>
        </p:spPr>
        <p:txBody>
          <a:bodyPr/>
          <a:lstStyle/>
          <a:p>
            <a:endParaRPr lang="en-AU"/>
          </a:p>
        </p:txBody>
      </p:sp>
      <p:grpSp>
        <p:nvGrpSpPr>
          <p:cNvPr id="2123" name="Group 94"/>
          <p:cNvGrpSpPr>
            <a:grpSpLocks/>
          </p:cNvGrpSpPr>
          <p:nvPr>
            <p:custDataLst>
              <p:tags r:id="rId74"/>
            </p:custDataLst>
          </p:nvPr>
        </p:nvGrpSpPr>
        <p:grpSpPr bwMode="auto">
          <a:xfrm>
            <a:off x="7726363" y="3367088"/>
            <a:ext cx="163512" cy="114300"/>
            <a:chOff x="5379" y="2466"/>
            <a:chExt cx="122" cy="71"/>
          </a:xfrm>
        </p:grpSpPr>
        <p:sp>
          <p:nvSpPr>
            <p:cNvPr id="15" name="Freeform 95"/>
            <p:cNvSpPr>
              <a:spLocks/>
            </p:cNvSpPr>
            <p:nvPr/>
          </p:nvSpPr>
          <p:spPr bwMode="auto">
            <a:xfrm>
              <a:off x="5428" y="2492"/>
              <a:ext cx="6" cy="9"/>
            </a:xfrm>
            <a:custGeom>
              <a:avLst/>
              <a:gdLst>
                <a:gd name="T0" fmla="*/ 0 w 19"/>
                <a:gd name="T1" fmla="*/ 0 h 25"/>
                <a:gd name="T2" fmla="*/ 0 w 19"/>
                <a:gd name="T3" fmla="*/ 0 h 25"/>
                <a:gd name="T4" fmla="*/ 0 w 19"/>
                <a:gd name="T5" fmla="*/ 0 h 25"/>
                <a:gd name="T6" fmla="*/ 0 w 19"/>
                <a:gd name="T7" fmla="*/ 0 h 25"/>
                <a:gd name="T8" fmla="*/ 0 w 19"/>
                <a:gd name="T9" fmla="*/ 0 h 25"/>
                <a:gd name="T10" fmla="*/ 0 w 19"/>
                <a:gd name="T11" fmla="*/ 0 h 25"/>
                <a:gd name="T12" fmla="*/ 0 w 19"/>
                <a:gd name="T13" fmla="*/ 0 h 25"/>
                <a:gd name="T14" fmla="*/ 0 w 19"/>
                <a:gd name="T15" fmla="*/ 0 h 25"/>
                <a:gd name="T16" fmla="*/ 0 w 19"/>
                <a:gd name="T17" fmla="*/ 0 h 25"/>
                <a:gd name="T18" fmla="*/ 0 w 19"/>
                <a:gd name="T19" fmla="*/ 0 h 25"/>
                <a:gd name="T20" fmla="*/ 0 w 19"/>
                <a:gd name="T21" fmla="*/ 0 h 25"/>
                <a:gd name="T22" fmla="*/ 0 w 19"/>
                <a:gd name="T23" fmla="*/ 0 h 25"/>
                <a:gd name="T24" fmla="*/ 0 w 19"/>
                <a:gd name="T25" fmla="*/ 0 h 25"/>
                <a:gd name="T26" fmla="*/ 0 w 19"/>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mpd="sng">
              <a:solidFill>
                <a:srgbClr val="FFFFFF"/>
              </a:solidFill>
              <a:prstDash val="solid"/>
              <a:round/>
              <a:headEnd/>
              <a:tailEnd/>
            </a:ln>
          </p:spPr>
          <p:txBody>
            <a:bodyPr/>
            <a:lstStyle/>
            <a:p>
              <a:endParaRPr lang="en-AU"/>
            </a:p>
          </p:txBody>
        </p:sp>
        <p:sp>
          <p:nvSpPr>
            <p:cNvPr id="16" name="Freeform 96"/>
            <p:cNvSpPr>
              <a:spLocks/>
            </p:cNvSpPr>
            <p:nvPr/>
          </p:nvSpPr>
          <p:spPr bwMode="auto">
            <a:xfrm>
              <a:off x="5379" y="2505"/>
              <a:ext cx="7" cy="6"/>
            </a:xfrm>
            <a:custGeom>
              <a:avLst/>
              <a:gdLst>
                <a:gd name="T0" fmla="*/ 0 w 26"/>
                <a:gd name="T1" fmla="*/ 0 h 18"/>
                <a:gd name="T2" fmla="*/ 0 w 26"/>
                <a:gd name="T3" fmla="*/ 0 h 18"/>
                <a:gd name="T4" fmla="*/ 0 w 26"/>
                <a:gd name="T5" fmla="*/ 0 h 18"/>
                <a:gd name="T6" fmla="*/ 0 w 26"/>
                <a:gd name="T7" fmla="*/ 0 h 18"/>
                <a:gd name="T8" fmla="*/ 0 w 26"/>
                <a:gd name="T9" fmla="*/ 0 h 18"/>
                <a:gd name="T10" fmla="*/ 0 w 26"/>
                <a:gd name="T11" fmla="*/ 0 h 18"/>
                <a:gd name="T12" fmla="*/ 0 w 26"/>
                <a:gd name="T13" fmla="*/ 0 h 18"/>
                <a:gd name="T14" fmla="*/ 0 w 26"/>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cmpd="sng">
              <a:solidFill>
                <a:srgbClr val="FFFFFF"/>
              </a:solidFill>
              <a:prstDash val="solid"/>
              <a:round/>
              <a:headEnd/>
              <a:tailEnd/>
            </a:ln>
          </p:spPr>
          <p:txBody>
            <a:bodyPr/>
            <a:lstStyle/>
            <a:p>
              <a:endParaRPr lang="en-AU"/>
            </a:p>
          </p:txBody>
        </p:sp>
        <p:sp>
          <p:nvSpPr>
            <p:cNvPr id="17" name="Freeform 97"/>
            <p:cNvSpPr>
              <a:spLocks/>
            </p:cNvSpPr>
            <p:nvPr/>
          </p:nvSpPr>
          <p:spPr bwMode="auto">
            <a:xfrm>
              <a:off x="5392" y="2466"/>
              <a:ext cx="5" cy="6"/>
            </a:xfrm>
            <a:custGeom>
              <a:avLst/>
              <a:gdLst>
                <a:gd name="T0" fmla="*/ 0 w 13"/>
                <a:gd name="T1" fmla="*/ 0 h 18"/>
                <a:gd name="T2" fmla="*/ 0 w 13"/>
                <a:gd name="T3" fmla="*/ 0 h 18"/>
                <a:gd name="T4" fmla="*/ 0 w 13"/>
                <a:gd name="T5" fmla="*/ 0 h 18"/>
                <a:gd name="T6" fmla="*/ 0 60000 65536"/>
                <a:gd name="T7" fmla="*/ 0 60000 65536"/>
                <a:gd name="T8" fmla="*/ 0 60000 65536"/>
              </a:gdLst>
              <a:ahLst/>
              <a:cxnLst>
                <a:cxn ang="T6">
                  <a:pos x="T0" y="T1"/>
                </a:cxn>
                <a:cxn ang="T7">
                  <a:pos x="T2" y="T3"/>
                </a:cxn>
                <a:cxn ang="T8">
                  <a:pos x="T4" y="T5"/>
                </a:cxn>
              </a:cxnLst>
              <a:rect l="0" t="0" r="r" b="b"/>
              <a:pathLst>
                <a:path w="13" h="18">
                  <a:moveTo>
                    <a:pt x="0" y="18"/>
                  </a:moveTo>
                  <a:lnTo>
                    <a:pt x="13" y="0"/>
                  </a:lnTo>
                  <a:lnTo>
                    <a:pt x="0" y="18"/>
                  </a:lnTo>
                </a:path>
              </a:pathLst>
            </a:custGeom>
            <a:solidFill>
              <a:srgbClr val="C0C0C0"/>
            </a:solidFill>
            <a:ln w="9525" cmpd="sng">
              <a:solidFill>
                <a:srgbClr val="FFFFFF"/>
              </a:solidFill>
              <a:prstDash val="solid"/>
              <a:round/>
              <a:headEnd/>
              <a:tailEnd/>
            </a:ln>
          </p:spPr>
          <p:txBody>
            <a:bodyPr/>
            <a:lstStyle/>
            <a:p>
              <a:endParaRPr lang="en-AU"/>
            </a:p>
          </p:txBody>
        </p:sp>
        <p:sp>
          <p:nvSpPr>
            <p:cNvPr id="18" name="Freeform 98"/>
            <p:cNvSpPr>
              <a:spLocks/>
            </p:cNvSpPr>
            <p:nvPr/>
          </p:nvSpPr>
          <p:spPr bwMode="auto">
            <a:xfrm>
              <a:off x="5426" y="2468"/>
              <a:ext cx="8" cy="8"/>
            </a:xfrm>
            <a:custGeom>
              <a:avLst/>
              <a:gdLst>
                <a:gd name="T0" fmla="*/ 0 w 26"/>
                <a:gd name="T1" fmla="*/ 0 h 24"/>
                <a:gd name="T2" fmla="*/ 0 w 26"/>
                <a:gd name="T3" fmla="*/ 0 h 24"/>
                <a:gd name="T4" fmla="*/ 0 w 26"/>
                <a:gd name="T5" fmla="*/ 0 h 24"/>
                <a:gd name="T6" fmla="*/ 0 w 26"/>
                <a:gd name="T7" fmla="*/ 0 h 24"/>
                <a:gd name="T8" fmla="*/ 0 w 26"/>
                <a:gd name="T9" fmla="*/ 0 h 24"/>
                <a:gd name="T10" fmla="*/ 0 w 26"/>
                <a:gd name="T11" fmla="*/ 0 h 24"/>
                <a:gd name="T12" fmla="*/ 0 w 26"/>
                <a:gd name="T13" fmla="*/ 0 h 24"/>
                <a:gd name="T14" fmla="*/ 0 w 26"/>
                <a:gd name="T15" fmla="*/ 0 h 24"/>
                <a:gd name="T16" fmla="*/ 0 w 26"/>
                <a:gd name="T17" fmla="*/ 0 h 24"/>
                <a:gd name="T18" fmla="*/ 0 w 2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mpd="sng">
              <a:solidFill>
                <a:srgbClr val="FFFFFF"/>
              </a:solidFill>
              <a:prstDash val="solid"/>
              <a:round/>
              <a:headEnd/>
              <a:tailEnd/>
            </a:ln>
          </p:spPr>
          <p:txBody>
            <a:bodyPr/>
            <a:lstStyle/>
            <a:p>
              <a:endParaRPr lang="en-AU"/>
            </a:p>
          </p:txBody>
        </p:sp>
        <p:sp>
          <p:nvSpPr>
            <p:cNvPr id="19" name="Freeform 99"/>
            <p:cNvSpPr>
              <a:spLocks/>
            </p:cNvSpPr>
            <p:nvPr/>
          </p:nvSpPr>
          <p:spPr bwMode="auto">
            <a:xfrm>
              <a:off x="5490" y="2490"/>
              <a:ext cx="11" cy="2"/>
            </a:xfrm>
            <a:custGeom>
              <a:avLst/>
              <a:gdLst>
                <a:gd name="T0" fmla="*/ 0 w 34"/>
                <a:gd name="T1" fmla="*/ 0 h 6"/>
                <a:gd name="T2" fmla="*/ 0 w 34"/>
                <a:gd name="T3" fmla="*/ 0 h 6"/>
                <a:gd name="T4" fmla="*/ 0 w 34"/>
                <a:gd name="T5" fmla="*/ 0 h 6"/>
                <a:gd name="T6" fmla="*/ 0 w 34"/>
                <a:gd name="T7" fmla="*/ 0 h 6"/>
                <a:gd name="T8" fmla="*/ 0 w 3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6">
                  <a:moveTo>
                    <a:pt x="0" y="6"/>
                  </a:moveTo>
                  <a:lnTo>
                    <a:pt x="10" y="6"/>
                  </a:lnTo>
                  <a:lnTo>
                    <a:pt x="17" y="5"/>
                  </a:lnTo>
                  <a:lnTo>
                    <a:pt x="25" y="4"/>
                  </a:lnTo>
                  <a:lnTo>
                    <a:pt x="34" y="0"/>
                  </a:lnTo>
                </a:path>
              </a:pathLst>
            </a:custGeom>
            <a:solidFill>
              <a:srgbClr val="C0C0C0"/>
            </a:solidFill>
            <a:ln w="9525" cmpd="sng">
              <a:solidFill>
                <a:srgbClr val="FFFFFF"/>
              </a:solidFill>
              <a:prstDash val="solid"/>
              <a:round/>
              <a:headEnd/>
              <a:tailEnd/>
            </a:ln>
          </p:spPr>
          <p:txBody>
            <a:bodyPr/>
            <a:lstStyle/>
            <a:p>
              <a:endParaRPr lang="en-AU"/>
            </a:p>
          </p:txBody>
        </p:sp>
        <p:sp>
          <p:nvSpPr>
            <p:cNvPr id="20" name="Line 100"/>
            <p:cNvSpPr>
              <a:spLocks noChangeShapeType="1"/>
            </p:cNvSpPr>
            <p:nvPr/>
          </p:nvSpPr>
          <p:spPr bwMode="auto">
            <a:xfrm flipH="1">
              <a:off x="5495" y="2490"/>
              <a:ext cx="6" cy="1"/>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AU"/>
            </a:p>
          </p:txBody>
        </p:sp>
        <p:sp>
          <p:nvSpPr>
            <p:cNvPr id="21" name="Freeform 101"/>
            <p:cNvSpPr>
              <a:spLocks/>
            </p:cNvSpPr>
            <p:nvPr/>
          </p:nvSpPr>
          <p:spPr bwMode="auto">
            <a:xfrm>
              <a:off x="5464" y="2530"/>
              <a:ext cx="1" cy="7"/>
            </a:xfrm>
            <a:custGeom>
              <a:avLst/>
              <a:gdLst>
                <a:gd name="T0" fmla="*/ 0 w 1"/>
                <a:gd name="T1" fmla="*/ 0 h 19"/>
                <a:gd name="T2" fmla="*/ 0 w 1"/>
                <a:gd name="T3" fmla="*/ 0 h 19"/>
                <a:gd name="T4" fmla="*/ 0 w 1"/>
                <a:gd name="T5" fmla="*/ 0 h 19"/>
                <a:gd name="T6" fmla="*/ 0 60000 65536"/>
                <a:gd name="T7" fmla="*/ 0 60000 65536"/>
                <a:gd name="T8" fmla="*/ 0 60000 65536"/>
              </a:gdLst>
              <a:ahLst/>
              <a:cxnLst>
                <a:cxn ang="T6">
                  <a:pos x="T0" y="T1"/>
                </a:cxn>
                <a:cxn ang="T7">
                  <a:pos x="T2" y="T3"/>
                </a:cxn>
                <a:cxn ang="T8">
                  <a:pos x="T4" y="T5"/>
                </a:cxn>
              </a:cxnLst>
              <a:rect l="0" t="0" r="r" b="b"/>
              <a:pathLst>
                <a:path w="1" h="19">
                  <a:moveTo>
                    <a:pt x="0" y="19"/>
                  </a:moveTo>
                  <a:lnTo>
                    <a:pt x="0" y="9"/>
                  </a:lnTo>
                  <a:lnTo>
                    <a:pt x="0" y="0"/>
                  </a:lnTo>
                </a:path>
              </a:pathLst>
            </a:custGeom>
            <a:solidFill>
              <a:srgbClr val="C0C0C0"/>
            </a:solidFill>
            <a:ln w="9525" cmpd="sng">
              <a:solidFill>
                <a:srgbClr val="FFFFFF"/>
              </a:solidFill>
              <a:prstDash val="solid"/>
              <a:round/>
              <a:headEnd/>
              <a:tailEnd/>
            </a:ln>
          </p:spPr>
          <p:txBody>
            <a:bodyPr/>
            <a:lstStyle/>
            <a:p>
              <a:endParaRPr lang="en-AU"/>
            </a:p>
          </p:txBody>
        </p:sp>
        <p:sp>
          <p:nvSpPr>
            <p:cNvPr id="22" name="Line 102"/>
            <p:cNvSpPr>
              <a:spLocks noChangeShapeType="1"/>
            </p:cNvSpPr>
            <p:nvPr/>
          </p:nvSpPr>
          <p:spPr bwMode="auto">
            <a:xfrm>
              <a:off x="5464" y="2530"/>
              <a:ext cx="6" cy="1"/>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AU"/>
            </a:p>
          </p:txBody>
        </p:sp>
        <p:sp>
          <p:nvSpPr>
            <p:cNvPr id="23" name="Freeform 103"/>
            <p:cNvSpPr>
              <a:spLocks/>
            </p:cNvSpPr>
            <p:nvPr/>
          </p:nvSpPr>
          <p:spPr bwMode="auto">
            <a:xfrm>
              <a:off x="5466" y="2530"/>
              <a:ext cx="4" cy="2"/>
            </a:xfrm>
            <a:custGeom>
              <a:avLst/>
              <a:gdLst>
                <a:gd name="T0" fmla="*/ 0 w 14"/>
                <a:gd name="T1" fmla="*/ 0 h 6"/>
                <a:gd name="T2" fmla="*/ 0 w 14"/>
                <a:gd name="T3" fmla="*/ 0 h 6"/>
                <a:gd name="T4" fmla="*/ 0 w 14"/>
                <a:gd name="T5" fmla="*/ 0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7" y="3"/>
                  </a:lnTo>
                  <a:lnTo>
                    <a:pt x="0" y="6"/>
                  </a:lnTo>
                </a:path>
              </a:pathLst>
            </a:custGeom>
            <a:solidFill>
              <a:srgbClr val="C0C0C0"/>
            </a:solidFill>
            <a:ln w="9525" cmpd="sng">
              <a:solidFill>
                <a:srgbClr val="FFFFFF"/>
              </a:solidFill>
              <a:prstDash val="solid"/>
              <a:round/>
              <a:headEnd/>
              <a:tailEnd/>
            </a:ln>
          </p:spPr>
          <p:txBody>
            <a:bodyPr/>
            <a:lstStyle/>
            <a:p>
              <a:endParaRPr lang="en-AU"/>
            </a:p>
          </p:txBody>
        </p:sp>
      </p:grpSp>
      <p:sp>
        <p:nvSpPr>
          <p:cNvPr id="2124" name="Freeform 104"/>
          <p:cNvSpPr>
            <a:spLocks/>
          </p:cNvSpPr>
          <p:nvPr>
            <p:custDataLst>
              <p:tags r:id="rId75"/>
            </p:custDataLst>
          </p:nvPr>
        </p:nvSpPr>
        <p:spPr bwMode="auto">
          <a:xfrm>
            <a:off x="6310313" y="3228975"/>
            <a:ext cx="6350" cy="57150"/>
          </a:xfrm>
          <a:custGeom>
            <a:avLst/>
            <a:gdLst>
              <a:gd name="T0" fmla="*/ 2147483647 w 26"/>
              <a:gd name="T1" fmla="*/ 2147483647 h 111"/>
              <a:gd name="T2" fmla="*/ 2147483647 w 26"/>
              <a:gd name="T3" fmla="*/ 2147483647 h 111"/>
              <a:gd name="T4" fmla="*/ 2147483647 w 26"/>
              <a:gd name="T5" fmla="*/ 2147483647 h 111"/>
              <a:gd name="T6" fmla="*/ 2147483647 w 26"/>
              <a:gd name="T7" fmla="*/ 2147483647 h 111"/>
              <a:gd name="T8" fmla="*/ 2147483647 w 26"/>
              <a:gd name="T9" fmla="*/ 2147483647 h 111"/>
              <a:gd name="T10" fmla="*/ 0 w 26"/>
              <a:gd name="T11" fmla="*/ 2147483647 h 111"/>
              <a:gd name="T12" fmla="*/ 0 w 26"/>
              <a:gd name="T13" fmla="*/ 2147483647 h 111"/>
              <a:gd name="T14" fmla="*/ 0 w 26"/>
              <a:gd name="T15" fmla="*/ 2147483647 h 111"/>
              <a:gd name="T16" fmla="*/ 2147483647 w 26"/>
              <a:gd name="T17" fmla="*/ 2147483647 h 111"/>
              <a:gd name="T18" fmla="*/ 2147483647 w 26"/>
              <a:gd name="T19" fmla="*/ 2147483647 h 111"/>
              <a:gd name="T20" fmla="*/ 2147483647 w 26"/>
              <a:gd name="T21" fmla="*/ 2147483647 h 111"/>
              <a:gd name="T22" fmla="*/ 2147483647 w 26"/>
              <a:gd name="T23" fmla="*/ 2147483647 h 111"/>
              <a:gd name="T24" fmla="*/ 2147483647 w 26"/>
              <a:gd name="T25" fmla="*/ 2147483647 h 111"/>
              <a:gd name="T26" fmla="*/ 2147483647 w 26"/>
              <a:gd name="T27" fmla="*/ 2147483647 h 111"/>
              <a:gd name="T28" fmla="*/ 2147483647 w 26"/>
              <a:gd name="T29" fmla="*/ 0 h 111"/>
              <a:gd name="T30" fmla="*/ 2147483647 w 26"/>
              <a:gd name="T31" fmla="*/ 2147483647 h 111"/>
              <a:gd name="T32" fmla="*/ 2147483647 w 26"/>
              <a:gd name="T33" fmla="*/ 2147483647 h 111"/>
              <a:gd name="T34" fmla="*/ 2147483647 w 26"/>
              <a:gd name="T35" fmla="*/ 2147483647 h 111"/>
              <a:gd name="T36" fmla="*/ 2147483647 w 26"/>
              <a:gd name="T37" fmla="*/ 2147483647 h 111"/>
              <a:gd name="T38" fmla="*/ 2147483647 w 26"/>
              <a:gd name="T39" fmla="*/ 2147483647 h 111"/>
              <a:gd name="T40" fmla="*/ 2147483647 w 26"/>
              <a:gd name="T41" fmla="*/ 2147483647 h 111"/>
              <a:gd name="T42" fmla="*/ 2147483647 w 26"/>
              <a:gd name="T43" fmla="*/ 2147483647 h 111"/>
              <a:gd name="T44" fmla="*/ 2147483647 w 26"/>
              <a:gd name="T45" fmla="*/ 2147483647 h 111"/>
              <a:gd name="T46" fmla="*/ 2147483647 w 26"/>
              <a:gd name="T47" fmla="*/ 2147483647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mpd="sng">
            <a:solidFill>
              <a:srgbClr val="FFFFFF"/>
            </a:solidFill>
            <a:prstDash val="solid"/>
            <a:round/>
            <a:headEnd/>
            <a:tailEnd/>
          </a:ln>
        </p:spPr>
        <p:txBody>
          <a:bodyPr/>
          <a:lstStyle/>
          <a:p>
            <a:endParaRPr lang="en-AU"/>
          </a:p>
        </p:txBody>
      </p:sp>
      <p:sp>
        <p:nvSpPr>
          <p:cNvPr id="2125" name="Freeform 105"/>
          <p:cNvSpPr>
            <a:spLocks/>
          </p:cNvSpPr>
          <p:nvPr>
            <p:custDataLst>
              <p:tags r:id="rId76"/>
            </p:custDataLst>
          </p:nvPr>
        </p:nvSpPr>
        <p:spPr bwMode="auto">
          <a:xfrm>
            <a:off x="3209925" y="5368925"/>
            <a:ext cx="53975" cy="58738"/>
          </a:xfrm>
          <a:custGeom>
            <a:avLst/>
            <a:gdLst>
              <a:gd name="T0" fmla="*/ 0 w 126"/>
              <a:gd name="T1" fmla="*/ 2147483647 h 62"/>
              <a:gd name="T2" fmla="*/ 2147483647 w 126"/>
              <a:gd name="T3" fmla="*/ 2147483647 h 62"/>
              <a:gd name="T4" fmla="*/ 2147483647 w 126"/>
              <a:gd name="T5" fmla="*/ 2147483647 h 62"/>
              <a:gd name="T6" fmla="*/ 2147483647 w 126"/>
              <a:gd name="T7" fmla="*/ 2147483647 h 62"/>
              <a:gd name="T8" fmla="*/ 2147483647 w 126"/>
              <a:gd name="T9" fmla="*/ 2147483647 h 62"/>
              <a:gd name="T10" fmla="*/ 2147483647 w 126"/>
              <a:gd name="T11" fmla="*/ 2147483647 h 62"/>
              <a:gd name="T12" fmla="*/ 2147483647 w 126"/>
              <a:gd name="T13" fmla="*/ 2147483647 h 62"/>
              <a:gd name="T14" fmla="*/ 2147483647 w 126"/>
              <a:gd name="T15" fmla="*/ 2147483647 h 62"/>
              <a:gd name="T16" fmla="*/ 2147483647 w 126"/>
              <a:gd name="T17" fmla="*/ 2147483647 h 62"/>
              <a:gd name="T18" fmla="*/ 2147483647 w 126"/>
              <a:gd name="T19" fmla="*/ 2147483647 h 62"/>
              <a:gd name="T20" fmla="*/ 2147483647 w 126"/>
              <a:gd name="T21" fmla="*/ 2147483647 h 62"/>
              <a:gd name="T22" fmla="*/ 2147483647 w 126"/>
              <a:gd name="T23" fmla="*/ 2147483647 h 62"/>
              <a:gd name="T24" fmla="*/ 2147483647 w 126"/>
              <a:gd name="T25" fmla="*/ 2147483647 h 62"/>
              <a:gd name="T26" fmla="*/ 2147483647 w 126"/>
              <a:gd name="T27" fmla="*/ 2147483647 h 62"/>
              <a:gd name="T28" fmla="*/ 2147483647 w 126"/>
              <a:gd name="T29" fmla="*/ 2147483647 h 62"/>
              <a:gd name="T30" fmla="*/ 2147483647 w 126"/>
              <a:gd name="T31" fmla="*/ 2147483647 h 62"/>
              <a:gd name="T32" fmla="*/ 2147483647 w 126"/>
              <a:gd name="T33" fmla="*/ 2147483647 h 62"/>
              <a:gd name="T34" fmla="*/ 2147483647 w 126"/>
              <a:gd name="T35" fmla="*/ 2147483647 h 62"/>
              <a:gd name="T36" fmla="*/ 2147483647 w 126"/>
              <a:gd name="T37" fmla="*/ 2147483647 h 62"/>
              <a:gd name="T38" fmla="*/ 2147483647 w 126"/>
              <a:gd name="T39" fmla="*/ 2147483647 h 62"/>
              <a:gd name="T40" fmla="*/ 2147483647 w 126"/>
              <a:gd name="T41" fmla="*/ 2147483647 h 62"/>
              <a:gd name="T42" fmla="*/ 2147483647 w 126"/>
              <a:gd name="T43" fmla="*/ 2147483647 h 62"/>
              <a:gd name="T44" fmla="*/ 2147483647 w 126"/>
              <a:gd name="T45" fmla="*/ 2147483647 h 62"/>
              <a:gd name="T46" fmla="*/ 2147483647 w 126"/>
              <a:gd name="T47" fmla="*/ 2147483647 h 62"/>
              <a:gd name="T48" fmla="*/ 2147483647 w 126"/>
              <a:gd name="T49" fmla="*/ 0 h 62"/>
              <a:gd name="T50" fmla="*/ 0 w 126"/>
              <a:gd name="T51" fmla="*/ 0 h 62"/>
              <a:gd name="T52" fmla="*/ 0 w 126"/>
              <a:gd name="T53" fmla="*/ 2147483647 h 62"/>
              <a:gd name="T54" fmla="*/ 0 w 126"/>
              <a:gd name="T55" fmla="*/ 2147483647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mpd="sng">
            <a:solidFill>
              <a:srgbClr val="FFFFFF"/>
            </a:solidFill>
            <a:prstDash val="solid"/>
            <a:round/>
            <a:headEnd/>
            <a:tailEnd/>
          </a:ln>
        </p:spPr>
        <p:txBody>
          <a:bodyPr/>
          <a:lstStyle/>
          <a:p>
            <a:endParaRPr lang="en-AU"/>
          </a:p>
        </p:txBody>
      </p:sp>
      <p:sp>
        <p:nvSpPr>
          <p:cNvPr id="2126" name="Freeform 106"/>
          <p:cNvSpPr>
            <a:spLocks/>
          </p:cNvSpPr>
          <p:nvPr>
            <p:custDataLst>
              <p:tags r:id="rId77"/>
            </p:custDataLst>
          </p:nvPr>
        </p:nvSpPr>
        <p:spPr bwMode="auto">
          <a:xfrm>
            <a:off x="5511800" y="5207000"/>
            <a:ext cx="30163" cy="55563"/>
          </a:xfrm>
          <a:custGeom>
            <a:avLst/>
            <a:gdLst>
              <a:gd name="T0" fmla="*/ 0 w 66"/>
              <a:gd name="T1" fmla="*/ 0 h 44"/>
              <a:gd name="T2" fmla="*/ 2147483647 w 66"/>
              <a:gd name="T3" fmla="*/ 2147483647 h 44"/>
              <a:gd name="T4" fmla="*/ 2147483647 w 66"/>
              <a:gd name="T5" fmla="*/ 2147483647 h 44"/>
              <a:gd name="T6" fmla="*/ 2147483647 w 66"/>
              <a:gd name="T7" fmla="*/ 2147483647 h 44"/>
              <a:gd name="T8" fmla="*/ 2147483647 w 66"/>
              <a:gd name="T9" fmla="*/ 2147483647 h 44"/>
              <a:gd name="T10" fmla="*/ 2147483647 w 66"/>
              <a:gd name="T11" fmla="*/ 2147483647 h 44"/>
              <a:gd name="T12" fmla="*/ 2147483647 w 66"/>
              <a:gd name="T13" fmla="*/ 2147483647 h 44"/>
              <a:gd name="T14" fmla="*/ 2147483647 w 66"/>
              <a:gd name="T15" fmla="*/ 2147483647 h 44"/>
              <a:gd name="T16" fmla="*/ 2147483647 w 66"/>
              <a:gd name="T17" fmla="*/ 2147483647 h 44"/>
              <a:gd name="T18" fmla="*/ 2147483647 w 66"/>
              <a:gd name="T19" fmla="*/ 2147483647 h 44"/>
              <a:gd name="T20" fmla="*/ 2147483647 w 66"/>
              <a:gd name="T21" fmla="*/ 2147483647 h 44"/>
              <a:gd name="T22" fmla="*/ 2147483647 w 66"/>
              <a:gd name="T23" fmla="*/ 2147483647 h 44"/>
              <a:gd name="T24" fmla="*/ 2147483647 w 66"/>
              <a:gd name="T25" fmla="*/ 2147483647 h 44"/>
              <a:gd name="T26" fmla="*/ 2147483647 w 66"/>
              <a:gd name="T27" fmla="*/ 2147483647 h 44"/>
              <a:gd name="T28" fmla="*/ 2147483647 w 66"/>
              <a:gd name="T29" fmla="*/ 2147483647 h 44"/>
              <a:gd name="T30" fmla="*/ 2147483647 w 66"/>
              <a:gd name="T31" fmla="*/ 2147483647 h 44"/>
              <a:gd name="T32" fmla="*/ 2147483647 w 66"/>
              <a:gd name="T33" fmla="*/ 2147483647 h 44"/>
              <a:gd name="T34" fmla="*/ 2147483647 w 66"/>
              <a:gd name="T35" fmla="*/ 2147483647 h 44"/>
              <a:gd name="T36" fmla="*/ 0 w 66"/>
              <a:gd name="T37" fmla="*/ 2147483647 h 44"/>
              <a:gd name="T38" fmla="*/ 0 w 66"/>
              <a:gd name="T39" fmla="*/ 2147483647 h 44"/>
              <a:gd name="T40" fmla="*/ 0 w 66"/>
              <a:gd name="T41" fmla="*/ 2147483647 h 44"/>
              <a:gd name="T42" fmla="*/ 0 w 66"/>
              <a:gd name="T43" fmla="*/ 2147483647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mpd="sng">
            <a:solidFill>
              <a:srgbClr val="FFFFFF"/>
            </a:solidFill>
            <a:prstDash val="solid"/>
            <a:round/>
            <a:headEnd/>
            <a:tailEnd/>
          </a:ln>
        </p:spPr>
        <p:txBody>
          <a:bodyPr/>
          <a:lstStyle/>
          <a:p>
            <a:endParaRPr lang="en-AU"/>
          </a:p>
        </p:txBody>
      </p:sp>
      <p:sp>
        <p:nvSpPr>
          <p:cNvPr id="2127" name="Freeform 107"/>
          <p:cNvSpPr>
            <a:spLocks/>
          </p:cNvSpPr>
          <p:nvPr>
            <p:custDataLst>
              <p:tags r:id="rId78"/>
            </p:custDataLst>
          </p:nvPr>
        </p:nvSpPr>
        <p:spPr bwMode="auto">
          <a:xfrm>
            <a:off x="7666038" y="1978025"/>
            <a:ext cx="20637" cy="57150"/>
          </a:xfrm>
          <a:custGeom>
            <a:avLst/>
            <a:gdLst>
              <a:gd name="T0" fmla="*/ 2147483647 w 46"/>
              <a:gd name="T1" fmla="*/ 0 h 16"/>
              <a:gd name="T2" fmla="*/ 2147483647 w 46"/>
              <a:gd name="T3" fmla="*/ 2147483647 h 16"/>
              <a:gd name="T4" fmla="*/ 2147483647 w 46"/>
              <a:gd name="T5" fmla="*/ 2147483647 h 16"/>
              <a:gd name="T6" fmla="*/ 2147483647 w 46"/>
              <a:gd name="T7" fmla="*/ 2147483647 h 16"/>
              <a:gd name="T8" fmla="*/ 2147483647 w 46"/>
              <a:gd name="T9" fmla="*/ 2147483647 h 16"/>
              <a:gd name="T10" fmla="*/ 2147483647 w 46"/>
              <a:gd name="T11" fmla="*/ 2147483647 h 16"/>
              <a:gd name="T12" fmla="*/ 2147483647 w 46"/>
              <a:gd name="T13" fmla="*/ 2147483647 h 16"/>
              <a:gd name="T14" fmla="*/ 2147483647 w 46"/>
              <a:gd name="T15" fmla="*/ 2147483647 h 16"/>
              <a:gd name="T16" fmla="*/ 2147483647 w 46"/>
              <a:gd name="T17" fmla="*/ 2147483647 h 16"/>
              <a:gd name="T18" fmla="*/ 2147483647 w 46"/>
              <a:gd name="T19" fmla="*/ 2147483647 h 16"/>
              <a:gd name="T20" fmla="*/ 0 w 46"/>
              <a:gd name="T21" fmla="*/ 0 h 16"/>
              <a:gd name="T22" fmla="*/ 214748364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cmpd="sng">
            <a:solidFill>
              <a:srgbClr val="FFFFFF"/>
            </a:solidFill>
            <a:prstDash val="solid"/>
            <a:round/>
            <a:headEnd/>
            <a:tailEnd/>
          </a:ln>
        </p:spPr>
        <p:txBody>
          <a:bodyPr/>
          <a:lstStyle/>
          <a:p>
            <a:endParaRPr lang="en-AU"/>
          </a:p>
        </p:txBody>
      </p:sp>
      <p:sp>
        <p:nvSpPr>
          <p:cNvPr id="2128" name="Freeform 108"/>
          <p:cNvSpPr>
            <a:spLocks/>
          </p:cNvSpPr>
          <p:nvPr>
            <p:custDataLst>
              <p:tags r:id="rId79"/>
            </p:custDataLst>
          </p:nvPr>
        </p:nvSpPr>
        <p:spPr bwMode="auto">
          <a:xfrm>
            <a:off x="7842250" y="2011363"/>
            <a:ext cx="15875" cy="57150"/>
          </a:xfrm>
          <a:custGeom>
            <a:avLst/>
            <a:gdLst>
              <a:gd name="T0" fmla="*/ 2147483647 w 39"/>
              <a:gd name="T1" fmla="*/ 2147483647 h 26"/>
              <a:gd name="T2" fmla="*/ 2147483647 w 39"/>
              <a:gd name="T3" fmla="*/ 2147483647 h 26"/>
              <a:gd name="T4" fmla="*/ 2147483647 w 39"/>
              <a:gd name="T5" fmla="*/ 2147483647 h 26"/>
              <a:gd name="T6" fmla="*/ 2147483647 w 39"/>
              <a:gd name="T7" fmla="*/ 2147483647 h 26"/>
              <a:gd name="T8" fmla="*/ 2147483647 w 39"/>
              <a:gd name="T9" fmla="*/ 2147483647 h 26"/>
              <a:gd name="T10" fmla="*/ 2147483647 w 39"/>
              <a:gd name="T11" fmla="*/ 2147483647 h 26"/>
              <a:gd name="T12" fmla="*/ 2147483647 w 39"/>
              <a:gd name="T13" fmla="*/ 2147483647 h 26"/>
              <a:gd name="T14" fmla="*/ 2147483647 w 39"/>
              <a:gd name="T15" fmla="*/ 2147483647 h 26"/>
              <a:gd name="T16" fmla="*/ 2147483647 w 39"/>
              <a:gd name="T17" fmla="*/ 2147483647 h 26"/>
              <a:gd name="T18" fmla="*/ 2147483647 w 39"/>
              <a:gd name="T19" fmla="*/ 2147483647 h 26"/>
              <a:gd name="T20" fmla="*/ 0 w 39"/>
              <a:gd name="T21" fmla="*/ 0 h 26"/>
              <a:gd name="T22" fmla="*/ 2147483647 w 39"/>
              <a:gd name="T23" fmla="*/ 2147483647 h 26"/>
              <a:gd name="T24" fmla="*/ 2147483647 w 39"/>
              <a:gd name="T25" fmla="*/ 2147483647 h 26"/>
              <a:gd name="T26" fmla="*/ 2147483647 w 39"/>
              <a:gd name="T27" fmla="*/ 2147483647 h 26"/>
              <a:gd name="T28" fmla="*/ 2147483647 w 39"/>
              <a:gd name="T29" fmla="*/ 2147483647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cmpd="sng">
            <a:solidFill>
              <a:srgbClr val="FFFFFF"/>
            </a:solidFill>
            <a:prstDash val="solid"/>
            <a:round/>
            <a:headEnd/>
            <a:tailEnd/>
          </a:ln>
        </p:spPr>
        <p:txBody>
          <a:bodyPr/>
          <a:lstStyle/>
          <a:p>
            <a:endParaRPr lang="en-AU"/>
          </a:p>
        </p:txBody>
      </p:sp>
      <p:sp>
        <p:nvSpPr>
          <p:cNvPr id="2129" name="Freeform 109"/>
          <p:cNvSpPr>
            <a:spLocks/>
          </p:cNvSpPr>
          <p:nvPr>
            <p:custDataLst>
              <p:tags r:id="rId80"/>
            </p:custDataLst>
          </p:nvPr>
        </p:nvSpPr>
        <p:spPr bwMode="auto">
          <a:xfrm>
            <a:off x="7291388" y="2241550"/>
            <a:ext cx="4762" cy="58738"/>
          </a:xfrm>
          <a:custGeom>
            <a:avLst/>
            <a:gdLst>
              <a:gd name="T0" fmla="*/ 2147483647 w 11"/>
              <a:gd name="T1" fmla="*/ 0 h 25"/>
              <a:gd name="T2" fmla="*/ 2147483647 w 11"/>
              <a:gd name="T3" fmla="*/ 2147483647 h 25"/>
              <a:gd name="T4" fmla="*/ 2147483647 w 11"/>
              <a:gd name="T5" fmla="*/ 2147483647 h 25"/>
              <a:gd name="T6" fmla="*/ 2147483647 w 11"/>
              <a:gd name="T7" fmla="*/ 2147483647 h 25"/>
              <a:gd name="T8" fmla="*/ 2147483647 w 11"/>
              <a:gd name="T9" fmla="*/ 2147483647 h 25"/>
              <a:gd name="T10" fmla="*/ 2147483647 w 11"/>
              <a:gd name="T11" fmla="*/ 2147483647 h 25"/>
              <a:gd name="T12" fmla="*/ 2147483647 w 11"/>
              <a:gd name="T13" fmla="*/ 2147483647 h 25"/>
              <a:gd name="T14" fmla="*/ 0 w 11"/>
              <a:gd name="T15" fmla="*/ 2147483647 h 25"/>
              <a:gd name="T16" fmla="*/ 0 w 11"/>
              <a:gd name="T17" fmla="*/ 2147483647 h 25"/>
              <a:gd name="T18" fmla="*/ 2147483647 w 11"/>
              <a:gd name="T19" fmla="*/ 2147483647 h 25"/>
              <a:gd name="T20" fmla="*/ 2147483647 w 11"/>
              <a:gd name="T21" fmla="*/ 2147483647 h 25"/>
              <a:gd name="T22" fmla="*/ 2147483647 w 11"/>
              <a:gd name="T23" fmla="*/ 2147483647 h 25"/>
              <a:gd name="T24" fmla="*/ 2147483647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cmpd="sng">
            <a:solidFill>
              <a:srgbClr val="FFFFFF"/>
            </a:solidFill>
            <a:prstDash val="solid"/>
            <a:round/>
            <a:headEnd/>
            <a:tailEnd/>
          </a:ln>
        </p:spPr>
        <p:txBody>
          <a:bodyPr/>
          <a:lstStyle/>
          <a:p>
            <a:endParaRPr lang="en-AU"/>
          </a:p>
        </p:txBody>
      </p:sp>
      <p:sp>
        <p:nvSpPr>
          <p:cNvPr id="2130" name="Freeform 110"/>
          <p:cNvSpPr>
            <a:spLocks/>
          </p:cNvSpPr>
          <p:nvPr>
            <p:custDataLst>
              <p:tags r:id="rId81"/>
            </p:custDataLst>
          </p:nvPr>
        </p:nvSpPr>
        <p:spPr bwMode="auto">
          <a:xfrm>
            <a:off x="7105650" y="2803525"/>
            <a:ext cx="14288" cy="58738"/>
          </a:xfrm>
          <a:custGeom>
            <a:avLst/>
            <a:gdLst>
              <a:gd name="T0" fmla="*/ 2147483647 w 20"/>
              <a:gd name="T1" fmla="*/ 0 h 31"/>
              <a:gd name="T2" fmla="*/ 2147483647 w 20"/>
              <a:gd name="T3" fmla="*/ 2147483647 h 31"/>
              <a:gd name="T4" fmla="*/ 2147483647 w 20"/>
              <a:gd name="T5" fmla="*/ 2147483647 h 31"/>
              <a:gd name="T6" fmla="*/ 2147483647 w 20"/>
              <a:gd name="T7" fmla="*/ 2147483647 h 31"/>
              <a:gd name="T8" fmla="*/ 0 w 20"/>
              <a:gd name="T9" fmla="*/ 2147483647 h 31"/>
              <a:gd name="T10" fmla="*/ 0 w 20"/>
              <a:gd name="T11" fmla="*/ 2147483647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2147483647 w 20"/>
              <a:gd name="T23" fmla="*/ 0 h 31"/>
              <a:gd name="T24" fmla="*/ 2147483647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mpd="sng">
            <a:solidFill>
              <a:srgbClr val="FFFFFF"/>
            </a:solidFill>
            <a:prstDash val="solid"/>
            <a:round/>
            <a:headEnd/>
            <a:tailEnd/>
          </a:ln>
        </p:spPr>
        <p:txBody>
          <a:bodyPr/>
          <a:lstStyle/>
          <a:p>
            <a:endParaRPr lang="en-AU"/>
          </a:p>
        </p:txBody>
      </p:sp>
      <p:sp>
        <p:nvSpPr>
          <p:cNvPr id="2131" name="Freeform 111"/>
          <p:cNvSpPr>
            <a:spLocks/>
          </p:cNvSpPr>
          <p:nvPr>
            <p:custDataLst>
              <p:tags r:id="rId82"/>
            </p:custDataLst>
          </p:nvPr>
        </p:nvSpPr>
        <p:spPr bwMode="auto">
          <a:xfrm>
            <a:off x="7123113" y="2738438"/>
            <a:ext cx="15875" cy="57150"/>
          </a:xfrm>
          <a:custGeom>
            <a:avLst/>
            <a:gdLst>
              <a:gd name="T0" fmla="*/ 2147483647 w 26"/>
              <a:gd name="T1" fmla="*/ 2147483647 h 37"/>
              <a:gd name="T2" fmla="*/ 0 w 26"/>
              <a:gd name="T3" fmla="*/ 2147483647 h 37"/>
              <a:gd name="T4" fmla="*/ 2147483647 w 26"/>
              <a:gd name="T5" fmla="*/ 2147483647 h 37"/>
              <a:gd name="T6" fmla="*/ 2147483647 w 26"/>
              <a:gd name="T7" fmla="*/ 2147483647 h 37"/>
              <a:gd name="T8" fmla="*/ 2147483647 w 26"/>
              <a:gd name="T9" fmla="*/ 2147483647 h 37"/>
              <a:gd name="T10" fmla="*/ 2147483647 w 26"/>
              <a:gd name="T11" fmla="*/ 0 h 37"/>
              <a:gd name="T12" fmla="*/ 2147483647 w 26"/>
              <a:gd name="T13" fmla="*/ 2147483647 h 37"/>
              <a:gd name="T14" fmla="*/ 2147483647 w 26"/>
              <a:gd name="T15" fmla="*/ 2147483647 h 37"/>
              <a:gd name="T16" fmla="*/ 2147483647 w 26"/>
              <a:gd name="T17" fmla="*/ 2147483647 h 37"/>
              <a:gd name="T18" fmla="*/ 2147483647 w 26"/>
              <a:gd name="T19" fmla="*/ 2147483647 h 37"/>
              <a:gd name="T20" fmla="*/ 2147483647 w 26"/>
              <a:gd name="T21" fmla="*/ 2147483647 h 37"/>
              <a:gd name="T22" fmla="*/ 2147483647 w 26"/>
              <a:gd name="T23" fmla="*/ 2147483647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cmpd="sng">
            <a:solidFill>
              <a:srgbClr val="FFFFFF"/>
            </a:solidFill>
            <a:prstDash val="solid"/>
            <a:round/>
            <a:headEnd/>
            <a:tailEnd/>
          </a:ln>
        </p:spPr>
        <p:txBody>
          <a:bodyPr/>
          <a:lstStyle/>
          <a:p>
            <a:endParaRPr lang="en-AU"/>
          </a:p>
        </p:txBody>
      </p:sp>
      <p:sp>
        <p:nvSpPr>
          <p:cNvPr id="2132" name="Freeform 112"/>
          <p:cNvSpPr>
            <a:spLocks/>
          </p:cNvSpPr>
          <p:nvPr>
            <p:custDataLst>
              <p:tags r:id="rId83"/>
            </p:custDataLst>
          </p:nvPr>
        </p:nvSpPr>
        <p:spPr bwMode="auto">
          <a:xfrm>
            <a:off x="7011988" y="2587625"/>
            <a:ext cx="1587" cy="60325"/>
          </a:xfrm>
          <a:custGeom>
            <a:avLst/>
            <a:gdLst>
              <a:gd name="T0" fmla="*/ 0 w 7"/>
              <a:gd name="T1" fmla="*/ 2147483647 h 18"/>
              <a:gd name="T2" fmla="*/ 0 w 7"/>
              <a:gd name="T3" fmla="*/ 0 h 18"/>
              <a:gd name="T4" fmla="*/ 2147483647 w 7"/>
              <a:gd name="T5" fmla="*/ 2147483647 h 18"/>
              <a:gd name="T6" fmla="*/ 0 w 7"/>
              <a:gd name="T7" fmla="*/ 2147483647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8">
                <a:moveTo>
                  <a:pt x="0" y="18"/>
                </a:moveTo>
                <a:lnTo>
                  <a:pt x="0" y="0"/>
                </a:lnTo>
                <a:lnTo>
                  <a:pt x="7" y="12"/>
                </a:lnTo>
                <a:lnTo>
                  <a:pt x="0" y="18"/>
                </a:lnTo>
              </a:path>
            </a:pathLst>
          </a:custGeom>
          <a:solidFill>
            <a:srgbClr val="C0C0C0"/>
          </a:solidFill>
          <a:ln w="9525" cmpd="sng">
            <a:solidFill>
              <a:srgbClr val="FFFFFF"/>
            </a:solidFill>
            <a:prstDash val="solid"/>
            <a:round/>
            <a:headEnd/>
            <a:tailEnd/>
          </a:ln>
        </p:spPr>
        <p:txBody>
          <a:bodyPr/>
          <a:lstStyle/>
          <a:p>
            <a:endParaRPr lang="en-AU"/>
          </a:p>
        </p:txBody>
      </p:sp>
      <p:sp>
        <p:nvSpPr>
          <p:cNvPr id="2133" name="Freeform 113"/>
          <p:cNvSpPr>
            <a:spLocks/>
          </p:cNvSpPr>
          <p:nvPr>
            <p:custDataLst>
              <p:tags r:id="rId84"/>
            </p:custDataLst>
          </p:nvPr>
        </p:nvSpPr>
        <p:spPr bwMode="auto">
          <a:xfrm>
            <a:off x="3863975" y="1714500"/>
            <a:ext cx="9525" cy="57150"/>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2147483647 h 31"/>
              <a:gd name="T18" fmla="*/ 2147483647 w 33"/>
              <a:gd name="T19" fmla="*/ 2147483647 h 31"/>
              <a:gd name="T20" fmla="*/ 2147483647 w 33"/>
              <a:gd name="T21" fmla="*/ 2147483647 h 31"/>
              <a:gd name="T22" fmla="*/ 0 w 33"/>
              <a:gd name="T23" fmla="*/ 214748364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mpd="sng">
            <a:solidFill>
              <a:srgbClr val="FFFFFF"/>
            </a:solidFill>
            <a:prstDash val="solid"/>
            <a:round/>
            <a:headEnd/>
            <a:tailEnd/>
          </a:ln>
        </p:spPr>
        <p:txBody>
          <a:bodyPr/>
          <a:lstStyle/>
          <a:p>
            <a:endParaRPr lang="en-AU"/>
          </a:p>
        </p:txBody>
      </p:sp>
      <p:sp>
        <p:nvSpPr>
          <p:cNvPr id="2134" name="Freeform 114"/>
          <p:cNvSpPr>
            <a:spLocks/>
          </p:cNvSpPr>
          <p:nvPr>
            <p:custDataLst>
              <p:tags r:id="rId85"/>
            </p:custDataLst>
          </p:nvPr>
        </p:nvSpPr>
        <p:spPr bwMode="auto">
          <a:xfrm>
            <a:off x="3849688" y="1482725"/>
            <a:ext cx="3175" cy="57150"/>
          </a:xfrm>
          <a:custGeom>
            <a:avLst/>
            <a:gdLst>
              <a:gd name="T0" fmla="*/ 2147483647 w 14"/>
              <a:gd name="T1" fmla="*/ 0 h 6"/>
              <a:gd name="T2" fmla="*/ 0 w 14"/>
              <a:gd name="T3" fmla="*/ 2147483647 h 6"/>
              <a:gd name="T4" fmla="*/ 2147483647 w 14"/>
              <a:gd name="T5" fmla="*/ 0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0" y="6"/>
                </a:lnTo>
                <a:lnTo>
                  <a:pt x="14" y="0"/>
                </a:lnTo>
              </a:path>
            </a:pathLst>
          </a:custGeom>
          <a:solidFill>
            <a:srgbClr val="C0C0C0"/>
          </a:solidFill>
          <a:ln w="9525" cmpd="sng">
            <a:solidFill>
              <a:srgbClr val="FFFFFF"/>
            </a:solidFill>
            <a:prstDash val="solid"/>
            <a:round/>
            <a:headEnd/>
            <a:tailEnd/>
          </a:ln>
        </p:spPr>
        <p:txBody>
          <a:bodyPr/>
          <a:lstStyle/>
          <a:p>
            <a:endParaRPr lang="en-AU"/>
          </a:p>
        </p:txBody>
      </p:sp>
      <p:sp>
        <p:nvSpPr>
          <p:cNvPr id="2135" name="Freeform 115"/>
          <p:cNvSpPr>
            <a:spLocks/>
          </p:cNvSpPr>
          <p:nvPr>
            <p:custDataLst>
              <p:tags r:id="rId86"/>
            </p:custDataLst>
          </p:nvPr>
        </p:nvSpPr>
        <p:spPr bwMode="auto">
          <a:xfrm>
            <a:off x="5330825" y="3260725"/>
            <a:ext cx="25400" cy="55563"/>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147483647 w 59"/>
              <a:gd name="T17" fmla="*/ 2147483647 h 31"/>
              <a:gd name="T18" fmla="*/ 2147483647 w 59"/>
              <a:gd name="T19" fmla="*/ 2147483647 h 31"/>
              <a:gd name="T20" fmla="*/ 2147483647 w 59"/>
              <a:gd name="T21" fmla="*/ 2147483647 h 31"/>
              <a:gd name="T22" fmla="*/ 2147483647 w 59"/>
              <a:gd name="T23" fmla="*/ 2147483647 h 31"/>
              <a:gd name="T24" fmla="*/ 2147483647 w 59"/>
              <a:gd name="T25" fmla="*/ 2147483647 h 31"/>
              <a:gd name="T26" fmla="*/ 2147483647 w 59"/>
              <a:gd name="T27" fmla="*/ 2147483647 h 31"/>
              <a:gd name="T28" fmla="*/ 0 w 59"/>
              <a:gd name="T29" fmla="*/ 2147483647 h 31"/>
              <a:gd name="T30" fmla="*/ 2147483647 w 59"/>
              <a:gd name="T31" fmla="*/ 2147483647 h 31"/>
              <a:gd name="T32" fmla="*/ 2147483647 w 59"/>
              <a:gd name="T33" fmla="*/ 2147483647 h 31"/>
              <a:gd name="T34" fmla="*/ 2147483647 w 59"/>
              <a:gd name="T35" fmla="*/ 2147483647 h 31"/>
              <a:gd name="T36" fmla="*/ 2147483647 w 59"/>
              <a:gd name="T37" fmla="*/ 2147483647 h 31"/>
              <a:gd name="T38" fmla="*/ 2147483647 w 59"/>
              <a:gd name="T39" fmla="*/ 2147483647 h 31"/>
              <a:gd name="T40" fmla="*/ 2147483647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AU"/>
          </a:p>
        </p:txBody>
      </p:sp>
      <p:sp>
        <p:nvSpPr>
          <p:cNvPr id="2136" name="Freeform 116"/>
          <p:cNvSpPr>
            <a:spLocks/>
          </p:cNvSpPr>
          <p:nvPr>
            <p:custDataLst>
              <p:tags r:id="rId87"/>
            </p:custDataLst>
          </p:nvPr>
        </p:nvSpPr>
        <p:spPr bwMode="auto">
          <a:xfrm>
            <a:off x="5033963" y="3122613"/>
            <a:ext cx="19050" cy="58737"/>
          </a:xfrm>
          <a:custGeom>
            <a:avLst/>
            <a:gdLst>
              <a:gd name="T0" fmla="*/ 2147483647 w 47"/>
              <a:gd name="T1" fmla="*/ 0 h 68"/>
              <a:gd name="T2" fmla="*/ 2147483647 w 47"/>
              <a:gd name="T3" fmla="*/ 2147483647 h 68"/>
              <a:gd name="T4" fmla="*/ 2147483647 w 47"/>
              <a:gd name="T5" fmla="*/ 2147483647 h 68"/>
              <a:gd name="T6" fmla="*/ 2147483647 w 47"/>
              <a:gd name="T7" fmla="*/ 2147483647 h 68"/>
              <a:gd name="T8" fmla="*/ 0 w 47"/>
              <a:gd name="T9" fmla="*/ 2147483647 h 68"/>
              <a:gd name="T10" fmla="*/ 0 w 47"/>
              <a:gd name="T11" fmla="*/ 2147483647 h 68"/>
              <a:gd name="T12" fmla="*/ 2147483647 w 47"/>
              <a:gd name="T13" fmla="*/ 2147483647 h 68"/>
              <a:gd name="T14" fmla="*/ 2147483647 w 47"/>
              <a:gd name="T15" fmla="*/ 2147483647 h 68"/>
              <a:gd name="T16" fmla="*/ 2147483647 w 47"/>
              <a:gd name="T17" fmla="*/ 2147483647 h 68"/>
              <a:gd name="T18" fmla="*/ 2147483647 w 47"/>
              <a:gd name="T19" fmla="*/ 2147483647 h 68"/>
              <a:gd name="T20" fmla="*/ 2147483647 w 47"/>
              <a:gd name="T21" fmla="*/ 2147483647 h 68"/>
              <a:gd name="T22" fmla="*/ 2147483647 w 47"/>
              <a:gd name="T23" fmla="*/ 2147483647 h 68"/>
              <a:gd name="T24" fmla="*/ 2147483647 w 47"/>
              <a:gd name="T25" fmla="*/ 2147483647 h 68"/>
              <a:gd name="T26" fmla="*/ 2147483647 w 47"/>
              <a:gd name="T27" fmla="*/ 2147483647 h 68"/>
              <a:gd name="T28" fmla="*/ 2147483647 w 47"/>
              <a:gd name="T29" fmla="*/ 2147483647 h 68"/>
              <a:gd name="T30" fmla="*/ 2147483647 w 47"/>
              <a:gd name="T31" fmla="*/ 2147483647 h 68"/>
              <a:gd name="T32" fmla="*/ 2147483647 w 47"/>
              <a:gd name="T33" fmla="*/ 2147483647 h 68"/>
              <a:gd name="T34" fmla="*/ 2147483647 w 47"/>
              <a:gd name="T35" fmla="*/ 2147483647 h 68"/>
              <a:gd name="T36" fmla="*/ 2147483647 w 47"/>
              <a:gd name="T37" fmla="*/ 2147483647 h 68"/>
              <a:gd name="T38" fmla="*/ 2147483647 w 47"/>
              <a:gd name="T39" fmla="*/ 2147483647 h 68"/>
              <a:gd name="T40" fmla="*/ 2147483647 w 47"/>
              <a:gd name="T41" fmla="*/ 2147483647 h 68"/>
              <a:gd name="T42" fmla="*/ 2147483647 w 47"/>
              <a:gd name="T43" fmla="*/ 2147483647 h 68"/>
              <a:gd name="T44" fmla="*/ 2147483647 w 47"/>
              <a:gd name="T45" fmla="*/ 2147483647 h 68"/>
              <a:gd name="T46" fmla="*/ 2147483647 w 47"/>
              <a:gd name="T47" fmla="*/ 2147483647 h 68"/>
              <a:gd name="T48" fmla="*/ 2147483647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mpd="sng">
            <a:solidFill>
              <a:srgbClr val="FFFFFF"/>
            </a:solidFill>
            <a:prstDash val="solid"/>
            <a:round/>
            <a:headEnd/>
            <a:tailEnd/>
          </a:ln>
        </p:spPr>
        <p:txBody>
          <a:bodyPr/>
          <a:lstStyle/>
          <a:p>
            <a:endParaRPr lang="en-AU"/>
          </a:p>
        </p:txBody>
      </p:sp>
      <p:grpSp>
        <p:nvGrpSpPr>
          <p:cNvPr id="2137" name="Group 117"/>
          <p:cNvGrpSpPr>
            <a:grpSpLocks/>
          </p:cNvGrpSpPr>
          <p:nvPr>
            <p:custDataLst>
              <p:tags r:id="rId88"/>
            </p:custDataLst>
          </p:nvPr>
        </p:nvGrpSpPr>
        <p:grpSpPr bwMode="auto">
          <a:xfrm>
            <a:off x="5805488" y="3309938"/>
            <a:ext cx="46037" cy="374650"/>
            <a:chOff x="3950" y="2430"/>
            <a:chExt cx="36" cy="234"/>
          </a:xfrm>
        </p:grpSpPr>
        <p:sp>
          <p:nvSpPr>
            <p:cNvPr id="24" name="Freeform 118"/>
            <p:cNvSpPr>
              <a:spLocks/>
            </p:cNvSpPr>
            <p:nvPr/>
          </p:nvSpPr>
          <p:spPr bwMode="auto">
            <a:xfrm>
              <a:off x="3975" y="2658"/>
              <a:ext cx="6"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AU"/>
            </a:p>
          </p:txBody>
        </p:sp>
        <p:sp>
          <p:nvSpPr>
            <p:cNvPr id="25" name="Freeform 119"/>
            <p:cNvSpPr>
              <a:spLocks/>
            </p:cNvSpPr>
            <p:nvPr/>
          </p:nvSpPr>
          <p:spPr bwMode="auto">
            <a:xfrm>
              <a:off x="3975" y="2644"/>
              <a:ext cx="6"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AU"/>
            </a:p>
          </p:txBody>
        </p:sp>
        <p:sp>
          <p:nvSpPr>
            <p:cNvPr id="26" name="Freeform 120"/>
            <p:cNvSpPr>
              <a:spLocks/>
            </p:cNvSpPr>
            <p:nvPr/>
          </p:nvSpPr>
          <p:spPr bwMode="auto">
            <a:xfrm>
              <a:off x="3975" y="2637"/>
              <a:ext cx="6"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AU"/>
            </a:p>
          </p:txBody>
        </p:sp>
        <p:sp>
          <p:nvSpPr>
            <p:cNvPr id="27" name="Rectangle 121"/>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US"/>
            </a:p>
          </p:txBody>
        </p:sp>
        <p:sp>
          <p:nvSpPr>
            <p:cNvPr id="28" name="Line 122"/>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AU"/>
            </a:p>
          </p:txBody>
        </p:sp>
        <p:sp>
          <p:nvSpPr>
            <p:cNvPr id="29" name="Freeform 123"/>
            <p:cNvSpPr>
              <a:spLocks/>
            </p:cNvSpPr>
            <p:nvPr/>
          </p:nvSpPr>
          <p:spPr bwMode="auto">
            <a:xfrm>
              <a:off x="3975" y="2595"/>
              <a:ext cx="2"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endParaRPr lang="en-AU"/>
            </a:p>
          </p:txBody>
        </p:sp>
        <p:sp>
          <p:nvSpPr>
            <p:cNvPr id="30" name="Freeform 124"/>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AU"/>
            </a:p>
          </p:txBody>
        </p:sp>
        <p:sp>
          <p:nvSpPr>
            <p:cNvPr id="31" name="Line 125"/>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AU"/>
            </a:p>
          </p:txBody>
        </p:sp>
        <p:sp>
          <p:nvSpPr>
            <p:cNvPr id="2048" name="Freeform 126"/>
            <p:cNvSpPr>
              <a:spLocks/>
            </p:cNvSpPr>
            <p:nvPr/>
          </p:nvSpPr>
          <p:spPr bwMode="auto">
            <a:xfrm>
              <a:off x="3977" y="2572"/>
              <a:ext cx="4" cy="3"/>
            </a:xfrm>
            <a:custGeom>
              <a:avLst/>
              <a:gdLst>
                <a:gd name="T0" fmla="*/ 0 w 13"/>
                <a:gd name="T1" fmla="*/ 0 h 12"/>
                <a:gd name="T2" fmla="*/ 0 w 13"/>
                <a:gd name="T3" fmla="*/ 0 h 12"/>
                <a:gd name="T4" fmla="*/ 0 w 13"/>
                <a:gd name="T5" fmla="*/ 0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AU"/>
            </a:p>
          </p:txBody>
        </p:sp>
        <p:sp>
          <p:nvSpPr>
            <p:cNvPr id="2049" name="Freeform 127"/>
            <p:cNvSpPr>
              <a:spLocks/>
            </p:cNvSpPr>
            <p:nvPr/>
          </p:nvSpPr>
          <p:spPr bwMode="auto">
            <a:xfrm>
              <a:off x="3981" y="2585"/>
              <a:ext cx="2"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AU"/>
            </a:p>
          </p:txBody>
        </p:sp>
        <p:sp>
          <p:nvSpPr>
            <p:cNvPr id="2431" name="Line 128"/>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AU"/>
            </a:p>
          </p:txBody>
        </p:sp>
        <p:sp>
          <p:nvSpPr>
            <p:cNvPr id="2560" name="Freeform 129"/>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AU"/>
            </a:p>
          </p:txBody>
        </p:sp>
        <p:sp>
          <p:nvSpPr>
            <p:cNvPr id="2484" name="Freeform 130"/>
            <p:cNvSpPr>
              <a:spLocks/>
            </p:cNvSpPr>
            <p:nvPr/>
          </p:nvSpPr>
          <p:spPr bwMode="auto">
            <a:xfrm>
              <a:off x="3968" y="2532"/>
              <a:ext cx="2" cy="7"/>
            </a:xfrm>
            <a:custGeom>
              <a:avLst/>
              <a:gdLst>
                <a:gd name="T0" fmla="*/ 0 w 6"/>
                <a:gd name="T1" fmla="*/ 0 h 19"/>
                <a:gd name="T2" fmla="*/ 0 w 6"/>
                <a:gd name="T3" fmla="*/ 0 h 19"/>
                <a:gd name="T4" fmla="*/ 0 w 6"/>
                <a:gd name="T5" fmla="*/ 0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AU"/>
            </a:p>
          </p:txBody>
        </p:sp>
        <p:sp>
          <p:nvSpPr>
            <p:cNvPr id="2485" name="Freeform 131"/>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AU"/>
            </a:p>
          </p:txBody>
        </p:sp>
        <p:sp>
          <p:nvSpPr>
            <p:cNvPr id="2486" name="Freeform 132"/>
            <p:cNvSpPr>
              <a:spLocks/>
            </p:cNvSpPr>
            <p:nvPr/>
          </p:nvSpPr>
          <p:spPr bwMode="auto">
            <a:xfrm>
              <a:off x="3970" y="2513"/>
              <a:ext cx="5" cy="5"/>
            </a:xfrm>
            <a:custGeom>
              <a:avLst/>
              <a:gdLst>
                <a:gd name="T0" fmla="*/ 0 w 15"/>
                <a:gd name="T1" fmla="*/ 0 h 19"/>
                <a:gd name="T2" fmla="*/ 0 w 15"/>
                <a:gd name="T3" fmla="*/ 0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AU"/>
            </a:p>
          </p:txBody>
        </p:sp>
        <p:sp>
          <p:nvSpPr>
            <p:cNvPr id="2487" name="Freeform 133"/>
            <p:cNvSpPr>
              <a:spLocks/>
            </p:cNvSpPr>
            <p:nvPr/>
          </p:nvSpPr>
          <p:spPr bwMode="auto">
            <a:xfrm>
              <a:off x="3975" y="2658"/>
              <a:ext cx="6"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AU"/>
            </a:p>
          </p:txBody>
        </p:sp>
        <p:sp>
          <p:nvSpPr>
            <p:cNvPr id="2488" name="Freeform 134"/>
            <p:cNvSpPr>
              <a:spLocks/>
            </p:cNvSpPr>
            <p:nvPr/>
          </p:nvSpPr>
          <p:spPr bwMode="auto">
            <a:xfrm>
              <a:off x="3975" y="2644"/>
              <a:ext cx="6"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AU"/>
            </a:p>
          </p:txBody>
        </p:sp>
        <p:sp>
          <p:nvSpPr>
            <p:cNvPr id="2489" name="Freeform 135"/>
            <p:cNvSpPr>
              <a:spLocks/>
            </p:cNvSpPr>
            <p:nvPr/>
          </p:nvSpPr>
          <p:spPr bwMode="auto">
            <a:xfrm>
              <a:off x="3975" y="2637"/>
              <a:ext cx="6"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AU"/>
            </a:p>
          </p:txBody>
        </p:sp>
        <p:sp>
          <p:nvSpPr>
            <p:cNvPr id="2490" name="Rectangle 136"/>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US"/>
            </a:p>
          </p:txBody>
        </p:sp>
        <p:sp>
          <p:nvSpPr>
            <p:cNvPr id="2491" name="Line 137"/>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AU"/>
            </a:p>
          </p:txBody>
        </p:sp>
        <p:sp>
          <p:nvSpPr>
            <p:cNvPr id="2492" name="Freeform 138"/>
            <p:cNvSpPr>
              <a:spLocks/>
            </p:cNvSpPr>
            <p:nvPr/>
          </p:nvSpPr>
          <p:spPr bwMode="auto">
            <a:xfrm>
              <a:off x="3975" y="2595"/>
              <a:ext cx="2"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endParaRPr lang="en-AU"/>
            </a:p>
          </p:txBody>
        </p:sp>
        <p:sp>
          <p:nvSpPr>
            <p:cNvPr id="2493" name="Freeform 139"/>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AU"/>
            </a:p>
          </p:txBody>
        </p:sp>
        <p:sp>
          <p:nvSpPr>
            <p:cNvPr id="2494" name="Line 140"/>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AU"/>
            </a:p>
          </p:txBody>
        </p:sp>
        <p:sp>
          <p:nvSpPr>
            <p:cNvPr id="2495" name="Freeform 141"/>
            <p:cNvSpPr>
              <a:spLocks/>
            </p:cNvSpPr>
            <p:nvPr/>
          </p:nvSpPr>
          <p:spPr bwMode="auto">
            <a:xfrm>
              <a:off x="3977" y="2572"/>
              <a:ext cx="4" cy="3"/>
            </a:xfrm>
            <a:custGeom>
              <a:avLst/>
              <a:gdLst>
                <a:gd name="T0" fmla="*/ 0 w 13"/>
                <a:gd name="T1" fmla="*/ 0 h 12"/>
                <a:gd name="T2" fmla="*/ 0 w 13"/>
                <a:gd name="T3" fmla="*/ 0 h 12"/>
                <a:gd name="T4" fmla="*/ 0 w 13"/>
                <a:gd name="T5" fmla="*/ 0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AU"/>
            </a:p>
          </p:txBody>
        </p:sp>
        <p:sp>
          <p:nvSpPr>
            <p:cNvPr id="2496" name="Freeform 142"/>
            <p:cNvSpPr>
              <a:spLocks/>
            </p:cNvSpPr>
            <p:nvPr/>
          </p:nvSpPr>
          <p:spPr bwMode="auto">
            <a:xfrm>
              <a:off x="3981" y="2585"/>
              <a:ext cx="2"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AU"/>
            </a:p>
          </p:txBody>
        </p:sp>
        <p:sp>
          <p:nvSpPr>
            <p:cNvPr id="2497" name="Line 143"/>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AU"/>
            </a:p>
          </p:txBody>
        </p:sp>
        <p:sp>
          <p:nvSpPr>
            <p:cNvPr id="2498" name="Freeform 144"/>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AU"/>
            </a:p>
          </p:txBody>
        </p:sp>
        <p:sp>
          <p:nvSpPr>
            <p:cNvPr id="2499" name="Freeform 145"/>
            <p:cNvSpPr>
              <a:spLocks/>
            </p:cNvSpPr>
            <p:nvPr/>
          </p:nvSpPr>
          <p:spPr bwMode="auto">
            <a:xfrm>
              <a:off x="3968" y="2532"/>
              <a:ext cx="2" cy="7"/>
            </a:xfrm>
            <a:custGeom>
              <a:avLst/>
              <a:gdLst>
                <a:gd name="T0" fmla="*/ 0 w 6"/>
                <a:gd name="T1" fmla="*/ 0 h 19"/>
                <a:gd name="T2" fmla="*/ 0 w 6"/>
                <a:gd name="T3" fmla="*/ 0 h 19"/>
                <a:gd name="T4" fmla="*/ 0 w 6"/>
                <a:gd name="T5" fmla="*/ 0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AU"/>
            </a:p>
          </p:txBody>
        </p:sp>
        <p:sp>
          <p:nvSpPr>
            <p:cNvPr id="2500" name="Freeform 146"/>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AU"/>
            </a:p>
          </p:txBody>
        </p:sp>
        <p:sp>
          <p:nvSpPr>
            <p:cNvPr id="2561" name="Freeform 147"/>
            <p:cNvSpPr>
              <a:spLocks/>
            </p:cNvSpPr>
            <p:nvPr/>
          </p:nvSpPr>
          <p:spPr bwMode="auto">
            <a:xfrm>
              <a:off x="3970" y="2513"/>
              <a:ext cx="5" cy="5"/>
            </a:xfrm>
            <a:custGeom>
              <a:avLst/>
              <a:gdLst>
                <a:gd name="T0" fmla="*/ 0 w 15"/>
                <a:gd name="T1" fmla="*/ 0 h 19"/>
                <a:gd name="T2" fmla="*/ 0 w 15"/>
                <a:gd name="T3" fmla="*/ 0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AU"/>
            </a:p>
          </p:txBody>
        </p:sp>
        <p:sp>
          <p:nvSpPr>
            <p:cNvPr id="2562" name="Freeform 148"/>
            <p:cNvSpPr>
              <a:spLocks/>
            </p:cNvSpPr>
            <p:nvPr/>
          </p:nvSpPr>
          <p:spPr bwMode="auto">
            <a:xfrm>
              <a:off x="3950" y="2430"/>
              <a:ext cx="7" cy="6"/>
            </a:xfrm>
            <a:custGeom>
              <a:avLst/>
              <a:gdLst>
                <a:gd name="T0" fmla="*/ 0 w 20"/>
                <a:gd name="T1" fmla="*/ 0 h 18"/>
                <a:gd name="T2" fmla="*/ 0 w 20"/>
                <a:gd name="T3" fmla="*/ 0 h 18"/>
                <a:gd name="T4" fmla="*/ 0 w 20"/>
                <a:gd name="T5" fmla="*/ 0 h 18"/>
                <a:gd name="T6" fmla="*/ 0 w 20"/>
                <a:gd name="T7" fmla="*/ 0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8">
                  <a:moveTo>
                    <a:pt x="13" y="18"/>
                  </a:moveTo>
                  <a:lnTo>
                    <a:pt x="20" y="0"/>
                  </a:lnTo>
                  <a:lnTo>
                    <a:pt x="0" y="0"/>
                  </a:lnTo>
                  <a:lnTo>
                    <a:pt x="13" y="18"/>
                  </a:lnTo>
                </a:path>
              </a:pathLst>
            </a:custGeom>
            <a:solidFill>
              <a:srgbClr val="C0C0C0"/>
            </a:solidFill>
            <a:ln w="9525" cmpd="sng">
              <a:solidFill>
                <a:srgbClr val="FFFFFF"/>
              </a:solidFill>
              <a:prstDash val="solid"/>
              <a:round/>
              <a:headEnd/>
              <a:tailEnd/>
            </a:ln>
          </p:spPr>
          <p:txBody>
            <a:bodyPr/>
            <a:lstStyle/>
            <a:p>
              <a:endParaRPr lang="en-AU"/>
            </a:p>
          </p:txBody>
        </p:sp>
      </p:grpSp>
      <p:grpSp>
        <p:nvGrpSpPr>
          <p:cNvPr id="2138" name="Group 149"/>
          <p:cNvGrpSpPr>
            <a:grpSpLocks/>
          </p:cNvGrpSpPr>
          <p:nvPr>
            <p:custDataLst>
              <p:tags r:id="rId89"/>
            </p:custDataLst>
          </p:nvPr>
        </p:nvGrpSpPr>
        <p:grpSpPr bwMode="auto">
          <a:xfrm>
            <a:off x="7870825" y="3810000"/>
            <a:ext cx="185738" cy="214313"/>
            <a:chOff x="5486" y="2743"/>
            <a:chExt cx="137" cy="132"/>
          </a:xfrm>
        </p:grpSpPr>
        <p:sp>
          <p:nvSpPr>
            <p:cNvPr id="2563" name="Freeform 150"/>
            <p:cNvSpPr>
              <a:spLocks/>
            </p:cNvSpPr>
            <p:nvPr/>
          </p:nvSpPr>
          <p:spPr bwMode="auto">
            <a:xfrm>
              <a:off x="5595" y="2806"/>
              <a:ext cx="13" cy="28"/>
            </a:xfrm>
            <a:custGeom>
              <a:avLst/>
              <a:gdLst>
                <a:gd name="T0" fmla="*/ 0 w 40"/>
                <a:gd name="T1" fmla="*/ 0 h 87"/>
                <a:gd name="T2" fmla="*/ 0 w 40"/>
                <a:gd name="T3" fmla="*/ 1 h 87"/>
                <a:gd name="T4" fmla="*/ 0 w 40"/>
                <a:gd name="T5" fmla="*/ 1 h 87"/>
                <a:gd name="T6" fmla="*/ 0 w 40"/>
                <a:gd name="T7" fmla="*/ 1 h 87"/>
                <a:gd name="T8" fmla="*/ 0 w 40"/>
                <a:gd name="T9" fmla="*/ 1 h 87"/>
                <a:gd name="T10" fmla="*/ 0 w 40"/>
                <a:gd name="T11" fmla="*/ 1 h 87"/>
                <a:gd name="T12" fmla="*/ 0 w 40"/>
                <a:gd name="T13" fmla="*/ 1 h 87"/>
                <a:gd name="T14" fmla="*/ 0 w 40"/>
                <a:gd name="T15" fmla="*/ 1 h 87"/>
                <a:gd name="T16" fmla="*/ 0 w 40"/>
                <a:gd name="T17" fmla="*/ 1 h 87"/>
                <a:gd name="T18" fmla="*/ 0 w 40"/>
                <a:gd name="T19" fmla="*/ 1 h 87"/>
                <a:gd name="T20" fmla="*/ 0 w 40"/>
                <a:gd name="T21" fmla="*/ 1 h 87"/>
                <a:gd name="T22" fmla="*/ 0 w 40"/>
                <a:gd name="T23" fmla="*/ 1 h 87"/>
                <a:gd name="T24" fmla="*/ 0 w 40"/>
                <a:gd name="T25" fmla="*/ 1 h 87"/>
                <a:gd name="T26" fmla="*/ 0 w 40"/>
                <a:gd name="T27" fmla="*/ 1 h 87"/>
                <a:gd name="T28" fmla="*/ 0 w 40"/>
                <a:gd name="T29" fmla="*/ 0 h 87"/>
                <a:gd name="T30" fmla="*/ 0 w 40"/>
                <a:gd name="T31" fmla="*/ 0 h 87"/>
                <a:gd name="T32" fmla="*/ 0 w 40"/>
                <a:gd name="T33" fmla="*/ 0 h 87"/>
                <a:gd name="T34" fmla="*/ 0 w 40"/>
                <a:gd name="T35" fmla="*/ 0 h 87"/>
                <a:gd name="T36" fmla="*/ 0 w 40"/>
                <a:gd name="T37" fmla="*/ 0 h 87"/>
                <a:gd name="T38" fmla="*/ 0 w 40"/>
                <a:gd name="T39" fmla="*/ 0 h 87"/>
                <a:gd name="T40" fmla="*/ 0 w 40"/>
                <a:gd name="T41" fmla="*/ 0 h 87"/>
                <a:gd name="T42" fmla="*/ 0 w 40"/>
                <a:gd name="T43" fmla="*/ 0 h 87"/>
                <a:gd name="T44" fmla="*/ 0 w 40"/>
                <a:gd name="T45" fmla="*/ 0 h 87"/>
                <a:gd name="T46" fmla="*/ 0 w 40"/>
                <a:gd name="T47" fmla="*/ 0 h 87"/>
                <a:gd name="T48" fmla="*/ 0 w 40"/>
                <a:gd name="T49" fmla="*/ 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cmpd="sng">
              <a:solidFill>
                <a:srgbClr val="FFFFFF"/>
              </a:solidFill>
              <a:prstDash val="solid"/>
              <a:round/>
              <a:headEnd/>
              <a:tailEnd/>
            </a:ln>
          </p:spPr>
          <p:txBody>
            <a:bodyPr/>
            <a:lstStyle/>
            <a:p>
              <a:endParaRPr lang="en-AU"/>
            </a:p>
          </p:txBody>
        </p:sp>
        <p:sp>
          <p:nvSpPr>
            <p:cNvPr id="2564" name="Freeform 151"/>
            <p:cNvSpPr>
              <a:spLocks/>
            </p:cNvSpPr>
            <p:nvPr/>
          </p:nvSpPr>
          <p:spPr bwMode="auto">
            <a:xfrm>
              <a:off x="5603" y="2842"/>
              <a:ext cx="20" cy="12"/>
            </a:xfrm>
            <a:custGeom>
              <a:avLst/>
              <a:gdLst>
                <a:gd name="T0" fmla="*/ 0 w 61"/>
                <a:gd name="T1" fmla="*/ 0 h 37"/>
                <a:gd name="T2" fmla="*/ 0 w 61"/>
                <a:gd name="T3" fmla="*/ 0 h 37"/>
                <a:gd name="T4" fmla="*/ 0 w 61"/>
                <a:gd name="T5" fmla="*/ 0 h 37"/>
                <a:gd name="T6" fmla="*/ 1 w 61"/>
                <a:gd name="T7" fmla="*/ 0 h 37"/>
                <a:gd name="T8" fmla="*/ 1 w 61"/>
                <a:gd name="T9" fmla="*/ 0 h 37"/>
                <a:gd name="T10" fmla="*/ 1 w 61"/>
                <a:gd name="T11" fmla="*/ 0 h 37"/>
                <a:gd name="T12" fmla="*/ 1 w 61"/>
                <a:gd name="T13" fmla="*/ 0 h 37"/>
                <a:gd name="T14" fmla="*/ 1 w 61"/>
                <a:gd name="T15" fmla="*/ 0 h 37"/>
                <a:gd name="T16" fmla="*/ 0 w 61"/>
                <a:gd name="T17" fmla="*/ 0 h 37"/>
                <a:gd name="T18" fmla="*/ 0 w 61"/>
                <a:gd name="T19" fmla="*/ 0 h 37"/>
                <a:gd name="T20" fmla="*/ 0 w 61"/>
                <a:gd name="T21" fmla="*/ 0 h 37"/>
                <a:gd name="T22" fmla="*/ 0 w 61"/>
                <a:gd name="T23" fmla="*/ 0 h 37"/>
                <a:gd name="T24" fmla="*/ 0 w 61"/>
                <a:gd name="T25" fmla="*/ 0 h 37"/>
                <a:gd name="T26" fmla="*/ 0 w 61"/>
                <a:gd name="T27" fmla="*/ 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cmpd="sng">
              <a:solidFill>
                <a:srgbClr val="FFFFFF"/>
              </a:solidFill>
              <a:prstDash val="solid"/>
              <a:round/>
              <a:headEnd/>
              <a:tailEnd/>
            </a:ln>
          </p:spPr>
          <p:txBody>
            <a:bodyPr/>
            <a:lstStyle/>
            <a:p>
              <a:endParaRPr lang="en-AU"/>
            </a:p>
          </p:txBody>
        </p:sp>
        <p:sp>
          <p:nvSpPr>
            <p:cNvPr id="2565" name="Freeform 152"/>
            <p:cNvSpPr>
              <a:spLocks/>
            </p:cNvSpPr>
            <p:nvPr/>
          </p:nvSpPr>
          <p:spPr bwMode="auto">
            <a:xfrm>
              <a:off x="5568" y="2865"/>
              <a:ext cx="13" cy="10"/>
            </a:xfrm>
            <a:custGeom>
              <a:avLst/>
              <a:gdLst>
                <a:gd name="T0" fmla="*/ 0 w 40"/>
                <a:gd name="T1" fmla="*/ 0 h 30"/>
                <a:gd name="T2" fmla="*/ 0 w 40"/>
                <a:gd name="T3" fmla="*/ 0 h 30"/>
                <a:gd name="T4" fmla="*/ 0 w 40"/>
                <a:gd name="T5" fmla="*/ 0 h 30"/>
                <a:gd name="T6" fmla="*/ 0 w 40"/>
                <a:gd name="T7" fmla="*/ 0 h 30"/>
                <a:gd name="T8" fmla="*/ 0 w 40"/>
                <a:gd name="T9" fmla="*/ 0 h 30"/>
                <a:gd name="T10" fmla="*/ 0 w 40"/>
                <a:gd name="T11" fmla="*/ 0 h 30"/>
                <a:gd name="T12" fmla="*/ 0 w 40"/>
                <a:gd name="T13" fmla="*/ 0 h 30"/>
                <a:gd name="T14" fmla="*/ 0 w 40"/>
                <a:gd name="T15" fmla="*/ 0 h 30"/>
                <a:gd name="T16" fmla="*/ 0 w 40"/>
                <a:gd name="T17" fmla="*/ 0 h 30"/>
                <a:gd name="T18" fmla="*/ 0 w 40"/>
                <a:gd name="T19" fmla="*/ 0 h 30"/>
                <a:gd name="T20" fmla="*/ 0 w 40"/>
                <a:gd name="T21" fmla="*/ 0 h 30"/>
                <a:gd name="T22" fmla="*/ 0 w 40"/>
                <a:gd name="T23" fmla="*/ 0 h 30"/>
                <a:gd name="T24" fmla="*/ 0 w 40"/>
                <a:gd name="T25" fmla="*/ 0 h 30"/>
                <a:gd name="T26" fmla="*/ 0 w 40"/>
                <a:gd name="T27" fmla="*/ 0 h 30"/>
                <a:gd name="T28" fmla="*/ 0 w 40"/>
                <a:gd name="T29" fmla="*/ 0 h 30"/>
                <a:gd name="T30" fmla="*/ 0 w 40"/>
                <a:gd name="T31" fmla="*/ 0 h 30"/>
                <a:gd name="T32" fmla="*/ 0 w 40"/>
                <a:gd name="T33" fmla="*/ 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cmpd="sng">
              <a:solidFill>
                <a:srgbClr val="FFFFFF"/>
              </a:solidFill>
              <a:prstDash val="solid"/>
              <a:round/>
              <a:headEnd/>
              <a:tailEnd/>
            </a:ln>
          </p:spPr>
          <p:txBody>
            <a:bodyPr/>
            <a:lstStyle/>
            <a:p>
              <a:endParaRPr lang="en-AU"/>
            </a:p>
          </p:txBody>
        </p:sp>
        <p:sp>
          <p:nvSpPr>
            <p:cNvPr id="2566" name="Freeform 153"/>
            <p:cNvSpPr>
              <a:spLocks/>
            </p:cNvSpPr>
            <p:nvPr/>
          </p:nvSpPr>
          <p:spPr bwMode="auto">
            <a:xfrm>
              <a:off x="5515" y="2789"/>
              <a:ext cx="24" cy="26"/>
            </a:xfrm>
            <a:custGeom>
              <a:avLst/>
              <a:gdLst>
                <a:gd name="T0" fmla="*/ 1 w 74"/>
                <a:gd name="T1" fmla="*/ 1 h 80"/>
                <a:gd name="T2" fmla="*/ 1 w 74"/>
                <a:gd name="T3" fmla="*/ 1 h 80"/>
                <a:gd name="T4" fmla="*/ 1 w 74"/>
                <a:gd name="T5" fmla="*/ 1 h 80"/>
                <a:gd name="T6" fmla="*/ 1 w 74"/>
                <a:gd name="T7" fmla="*/ 1 h 80"/>
                <a:gd name="T8" fmla="*/ 1 w 74"/>
                <a:gd name="T9" fmla="*/ 1 h 80"/>
                <a:gd name="T10" fmla="*/ 1 w 74"/>
                <a:gd name="T11" fmla="*/ 1 h 80"/>
                <a:gd name="T12" fmla="*/ 1 w 74"/>
                <a:gd name="T13" fmla="*/ 0 h 80"/>
                <a:gd name="T14" fmla="*/ 0 w 74"/>
                <a:gd name="T15" fmla="*/ 0 h 80"/>
                <a:gd name="T16" fmla="*/ 0 w 74"/>
                <a:gd name="T17" fmla="*/ 0 h 80"/>
                <a:gd name="T18" fmla="*/ 0 w 74"/>
                <a:gd name="T19" fmla="*/ 0 h 80"/>
                <a:gd name="T20" fmla="*/ 0 w 74"/>
                <a:gd name="T21" fmla="*/ 0 h 80"/>
                <a:gd name="T22" fmla="*/ 0 w 74"/>
                <a:gd name="T23" fmla="*/ 0 h 80"/>
                <a:gd name="T24" fmla="*/ 0 w 74"/>
                <a:gd name="T25" fmla="*/ 0 h 80"/>
                <a:gd name="T26" fmla="*/ 0 w 74"/>
                <a:gd name="T27" fmla="*/ 0 h 80"/>
                <a:gd name="T28" fmla="*/ 0 w 74"/>
                <a:gd name="T29" fmla="*/ 0 h 80"/>
                <a:gd name="T30" fmla="*/ 0 w 74"/>
                <a:gd name="T31" fmla="*/ 0 h 80"/>
                <a:gd name="T32" fmla="*/ 0 w 74"/>
                <a:gd name="T33" fmla="*/ 0 h 80"/>
                <a:gd name="T34" fmla="*/ 0 w 74"/>
                <a:gd name="T35" fmla="*/ 0 h 80"/>
                <a:gd name="T36" fmla="*/ 0 w 74"/>
                <a:gd name="T37" fmla="*/ 0 h 80"/>
                <a:gd name="T38" fmla="*/ 0 w 74"/>
                <a:gd name="T39" fmla="*/ 1 h 80"/>
                <a:gd name="T40" fmla="*/ 0 w 74"/>
                <a:gd name="T41" fmla="*/ 1 h 80"/>
                <a:gd name="T42" fmla="*/ 0 w 74"/>
                <a:gd name="T43" fmla="*/ 1 h 80"/>
                <a:gd name="T44" fmla="*/ 0 w 74"/>
                <a:gd name="T45" fmla="*/ 1 h 80"/>
                <a:gd name="T46" fmla="*/ 0 w 74"/>
                <a:gd name="T47" fmla="*/ 1 h 80"/>
                <a:gd name="T48" fmla="*/ 0 w 74"/>
                <a:gd name="T49" fmla="*/ 1 h 80"/>
                <a:gd name="T50" fmla="*/ 1 w 74"/>
                <a:gd name="T51" fmla="*/ 1 h 80"/>
                <a:gd name="T52" fmla="*/ 1 w 74"/>
                <a:gd name="T53" fmla="*/ 1 h 80"/>
                <a:gd name="T54" fmla="*/ 1 w 74"/>
                <a:gd name="T55" fmla="*/ 1 h 80"/>
                <a:gd name="T56" fmla="*/ 1 w 74"/>
                <a:gd name="T57" fmla="*/ 1 h 80"/>
                <a:gd name="T58" fmla="*/ 1 w 74"/>
                <a:gd name="T59" fmla="*/ 1 h 80"/>
                <a:gd name="T60" fmla="*/ 1 w 74"/>
                <a:gd name="T61" fmla="*/ 1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cmpd="sng">
              <a:solidFill>
                <a:srgbClr val="FFFFFF"/>
              </a:solidFill>
              <a:prstDash val="solid"/>
              <a:round/>
              <a:headEnd/>
              <a:tailEnd/>
            </a:ln>
          </p:spPr>
          <p:txBody>
            <a:bodyPr/>
            <a:lstStyle/>
            <a:p>
              <a:endParaRPr lang="en-AU"/>
            </a:p>
          </p:txBody>
        </p:sp>
        <p:sp>
          <p:nvSpPr>
            <p:cNvPr id="2567" name="Freeform 154"/>
            <p:cNvSpPr>
              <a:spLocks/>
            </p:cNvSpPr>
            <p:nvPr/>
          </p:nvSpPr>
          <p:spPr bwMode="auto">
            <a:xfrm>
              <a:off x="5555" y="2785"/>
              <a:ext cx="26" cy="27"/>
            </a:xfrm>
            <a:custGeom>
              <a:avLst/>
              <a:gdLst>
                <a:gd name="T0" fmla="*/ 1 w 86"/>
                <a:gd name="T1" fmla="*/ 1 h 80"/>
                <a:gd name="T2" fmla="*/ 1 w 86"/>
                <a:gd name="T3" fmla="*/ 1 h 80"/>
                <a:gd name="T4" fmla="*/ 1 w 86"/>
                <a:gd name="T5" fmla="*/ 1 h 80"/>
                <a:gd name="T6" fmla="*/ 1 w 86"/>
                <a:gd name="T7" fmla="*/ 1 h 80"/>
                <a:gd name="T8" fmla="*/ 1 w 86"/>
                <a:gd name="T9" fmla="*/ 1 h 80"/>
                <a:gd name="T10" fmla="*/ 1 w 86"/>
                <a:gd name="T11" fmla="*/ 1 h 80"/>
                <a:gd name="T12" fmla="*/ 1 w 86"/>
                <a:gd name="T13" fmla="*/ 1 h 80"/>
                <a:gd name="T14" fmla="*/ 1 w 86"/>
                <a:gd name="T15" fmla="*/ 1 h 80"/>
                <a:gd name="T16" fmla="*/ 0 w 86"/>
                <a:gd name="T17" fmla="*/ 0 h 80"/>
                <a:gd name="T18" fmla="*/ 0 w 86"/>
                <a:gd name="T19" fmla="*/ 0 h 80"/>
                <a:gd name="T20" fmla="*/ 0 w 86"/>
                <a:gd name="T21" fmla="*/ 0 h 80"/>
                <a:gd name="T22" fmla="*/ 0 w 86"/>
                <a:gd name="T23" fmla="*/ 0 h 80"/>
                <a:gd name="T24" fmla="*/ 0 w 86"/>
                <a:gd name="T25" fmla="*/ 0 h 80"/>
                <a:gd name="T26" fmla="*/ 0 w 86"/>
                <a:gd name="T27" fmla="*/ 0 h 80"/>
                <a:gd name="T28" fmla="*/ 0 w 86"/>
                <a:gd name="T29" fmla="*/ 0 h 80"/>
                <a:gd name="T30" fmla="*/ 0 w 86"/>
                <a:gd name="T31" fmla="*/ 0 h 80"/>
                <a:gd name="T32" fmla="*/ 0 w 86"/>
                <a:gd name="T33" fmla="*/ 1 h 80"/>
                <a:gd name="T34" fmla="*/ 0 w 86"/>
                <a:gd name="T35" fmla="*/ 1 h 80"/>
                <a:gd name="T36" fmla="*/ 0 w 86"/>
                <a:gd name="T37" fmla="*/ 1 h 80"/>
                <a:gd name="T38" fmla="*/ 0 w 86"/>
                <a:gd name="T39" fmla="*/ 1 h 80"/>
                <a:gd name="T40" fmla="*/ 0 w 86"/>
                <a:gd name="T41" fmla="*/ 1 h 80"/>
                <a:gd name="T42" fmla="*/ 1 w 86"/>
                <a:gd name="T43" fmla="*/ 1 h 80"/>
                <a:gd name="T44" fmla="*/ 1 w 86"/>
                <a:gd name="T45" fmla="*/ 1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cmpd="sng">
              <a:solidFill>
                <a:srgbClr val="FFFFFF"/>
              </a:solidFill>
              <a:prstDash val="solid"/>
              <a:round/>
              <a:headEnd/>
              <a:tailEnd/>
            </a:ln>
          </p:spPr>
          <p:txBody>
            <a:bodyPr/>
            <a:lstStyle/>
            <a:p>
              <a:endParaRPr lang="en-AU"/>
            </a:p>
          </p:txBody>
        </p:sp>
        <p:sp>
          <p:nvSpPr>
            <p:cNvPr id="2568" name="Freeform 155"/>
            <p:cNvSpPr>
              <a:spLocks/>
            </p:cNvSpPr>
            <p:nvPr/>
          </p:nvSpPr>
          <p:spPr bwMode="auto">
            <a:xfrm>
              <a:off x="5570" y="2825"/>
              <a:ext cx="25" cy="11"/>
            </a:xfrm>
            <a:custGeom>
              <a:avLst/>
              <a:gdLst>
                <a:gd name="T0" fmla="*/ 0 w 74"/>
                <a:gd name="T1" fmla="*/ 0 h 31"/>
                <a:gd name="T2" fmla="*/ 0 w 74"/>
                <a:gd name="T3" fmla="*/ 0 h 31"/>
                <a:gd name="T4" fmla="*/ 0 w 74"/>
                <a:gd name="T5" fmla="*/ 0 h 31"/>
                <a:gd name="T6" fmla="*/ 0 w 74"/>
                <a:gd name="T7" fmla="*/ 0 h 31"/>
                <a:gd name="T8" fmla="*/ 0 w 74"/>
                <a:gd name="T9" fmla="*/ 0 h 31"/>
                <a:gd name="T10" fmla="*/ 0 w 74"/>
                <a:gd name="T11" fmla="*/ 0 h 31"/>
                <a:gd name="T12" fmla="*/ 0 w 74"/>
                <a:gd name="T13" fmla="*/ 0 h 31"/>
                <a:gd name="T14" fmla="*/ 0 w 74"/>
                <a:gd name="T15" fmla="*/ 0 h 31"/>
                <a:gd name="T16" fmla="*/ 0 w 74"/>
                <a:gd name="T17" fmla="*/ 0 h 31"/>
                <a:gd name="T18" fmla="*/ 1 w 74"/>
                <a:gd name="T19" fmla="*/ 0 h 31"/>
                <a:gd name="T20" fmla="*/ 1 w 74"/>
                <a:gd name="T21" fmla="*/ 0 h 31"/>
                <a:gd name="T22" fmla="*/ 1 w 74"/>
                <a:gd name="T23" fmla="*/ 0 h 31"/>
                <a:gd name="T24" fmla="*/ 1 w 74"/>
                <a:gd name="T25" fmla="*/ 0 h 31"/>
                <a:gd name="T26" fmla="*/ 1 w 74"/>
                <a:gd name="T27" fmla="*/ 0 h 31"/>
                <a:gd name="T28" fmla="*/ 1 w 74"/>
                <a:gd name="T29" fmla="*/ 0 h 31"/>
                <a:gd name="T30" fmla="*/ 1 w 74"/>
                <a:gd name="T31" fmla="*/ 0 h 31"/>
                <a:gd name="T32" fmla="*/ 1 w 74"/>
                <a:gd name="T33" fmla="*/ 0 h 31"/>
                <a:gd name="T34" fmla="*/ 1 w 74"/>
                <a:gd name="T35" fmla="*/ 0 h 31"/>
                <a:gd name="T36" fmla="*/ 1 w 74"/>
                <a:gd name="T37" fmla="*/ 0 h 31"/>
                <a:gd name="T38" fmla="*/ 1 w 74"/>
                <a:gd name="T39" fmla="*/ 0 h 31"/>
                <a:gd name="T40" fmla="*/ 1 w 74"/>
                <a:gd name="T41" fmla="*/ 0 h 31"/>
                <a:gd name="T42" fmla="*/ 0 w 74"/>
                <a:gd name="T43" fmla="*/ 0 h 31"/>
                <a:gd name="T44" fmla="*/ 0 w 74"/>
                <a:gd name="T45" fmla="*/ 0 h 31"/>
                <a:gd name="T46" fmla="*/ 0 w 74"/>
                <a:gd name="T47" fmla="*/ 0 h 31"/>
                <a:gd name="T48" fmla="*/ 0 w 74"/>
                <a:gd name="T49" fmla="*/ 0 h 31"/>
                <a:gd name="T50" fmla="*/ 0 w 74"/>
                <a:gd name="T51" fmla="*/ 0 h 31"/>
                <a:gd name="T52" fmla="*/ 0 w 74"/>
                <a:gd name="T53" fmla="*/ 0 h 31"/>
                <a:gd name="T54" fmla="*/ 0 w 74"/>
                <a:gd name="T55" fmla="*/ 0 h 31"/>
                <a:gd name="T56" fmla="*/ 0 w 74"/>
                <a:gd name="T57" fmla="*/ 0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cmpd="sng">
              <a:solidFill>
                <a:srgbClr val="FFFFFF"/>
              </a:solidFill>
              <a:prstDash val="solid"/>
              <a:round/>
              <a:headEnd/>
              <a:tailEnd/>
            </a:ln>
          </p:spPr>
          <p:txBody>
            <a:bodyPr/>
            <a:lstStyle/>
            <a:p>
              <a:endParaRPr lang="en-AU"/>
            </a:p>
          </p:txBody>
        </p:sp>
        <p:sp>
          <p:nvSpPr>
            <p:cNvPr id="2569" name="Freeform 156"/>
            <p:cNvSpPr>
              <a:spLocks/>
            </p:cNvSpPr>
            <p:nvPr/>
          </p:nvSpPr>
          <p:spPr bwMode="auto">
            <a:xfrm>
              <a:off x="5562" y="2819"/>
              <a:ext cx="6" cy="1"/>
            </a:xfrm>
            <a:custGeom>
              <a:avLst/>
              <a:gdLst>
                <a:gd name="T0" fmla="*/ 0 w 20"/>
                <a:gd name="T1" fmla="*/ 0 h 1"/>
                <a:gd name="T2" fmla="*/ 0 w 20"/>
                <a:gd name="T3" fmla="*/ 0 h 1"/>
                <a:gd name="T4" fmla="*/ 0 w 20"/>
                <a:gd name="T5" fmla="*/ 0 h 1"/>
                <a:gd name="T6" fmla="*/ 0 w 20"/>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
                  <a:moveTo>
                    <a:pt x="20" y="0"/>
                  </a:moveTo>
                  <a:lnTo>
                    <a:pt x="0" y="0"/>
                  </a:lnTo>
                  <a:lnTo>
                    <a:pt x="10" y="0"/>
                  </a:lnTo>
                  <a:lnTo>
                    <a:pt x="20" y="0"/>
                  </a:lnTo>
                </a:path>
              </a:pathLst>
            </a:custGeom>
            <a:solidFill>
              <a:srgbClr val="C0C0C0"/>
            </a:solidFill>
            <a:ln w="9525" cmpd="sng">
              <a:solidFill>
                <a:srgbClr val="FFFFFF"/>
              </a:solidFill>
              <a:prstDash val="solid"/>
              <a:round/>
              <a:headEnd/>
              <a:tailEnd/>
            </a:ln>
          </p:spPr>
          <p:txBody>
            <a:bodyPr/>
            <a:lstStyle/>
            <a:p>
              <a:endParaRPr lang="en-AU"/>
            </a:p>
          </p:txBody>
        </p:sp>
        <p:sp>
          <p:nvSpPr>
            <p:cNvPr id="2570" name="Freeform 157"/>
            <p:cNvSpPr>
              <a:spLocks/>
            </p:cNvSpPr>
            <p:nvPr/>
          </p:nvSpPr>
          <p:spPr bwMode="auto">
            <a:xfrm>
              <a:off x="5509" y="2769"/>
              <a:ext cx="32" cy="21"/>
            </a:xfrm>
            <a:custGeom>
              <a:avLst/>
              <a:gdLst>
                <a:gd name="T0" fmla="*/ 0 w 100"/>
                <a:gd name="T1" fmla="*/ 0 h 65"/>
                <a:gd name="T2" fmla="*/ 0 w 100"/>
                <a:gd name="T3" fmla="*/ 0 h 65"/>
                <a:gd name="T4" fmla="*/ 1 w 100"/>
                <a:gd name="T5" fmla="*/ 1 h 65"/>
                <a:gd name="T6" fmla="*/ 1 w 100"/>
                <a:gd name="T7" fmla="*/ 1 h 65"/>
                <a:gd name="T8" fmla="*/ 1 w 100"/>
                <a:gd name="T9" fmla="*/ 1 h 65"/>
                <a:gd name="T10" fmla="*/ 1 w 100"/>
                <a:gd name="T11" fmla="*/ 1 h 65"/>
                <a:gd name="T12" fmla="*/ 1 w 100"/>
                <a:gd name="T13" fmla="*/ 1 h 65"/>
                <a:gd name="T14" fmla="*/ 1 w 100"/>
                <a:gd name="T15" fmla="*/ 1 h 65"/>
                <a:gd name="T16" fmla="*/ 1 w 100"/>
                <a:gd name="T17" fmla="*/ 1 h 65"/>
                <a:gd name="T18" fmla="*/ 1 w 100"/>
                <a:gd name="T19" fmla="*/ 1 h 65"/>
                <a:gd name="T20" fmla="*/ 1 w 100"/>
                <a:gd name="T21" fmla="*/ 1 h 65"/>
                <a:gd name="T22" fmla="*/ 1 w 100"/>
                <a:gd name="T23" fmla="*/ 1 h 65"/>
                <a:gd name="T24" fmla="*/ 1 w 100"/>
                <a:gd name="T25" fmla="*/ 1 h 65"/>
                <a:gd name="T26" fmla="*/ 1 w 100"/>
                <a:gd name="T27" fmla="*/ 0 h 65"/>
                <a:gd name="T28" fmla="*/ 1 w 100"/>
                <a:gd name="T29" fmla="*/ 0 h 65"/>
                <a:gd name="T30" fmla="*/ 1 w 100"/>
                <a:gd name="T31" fmla="*/ 0 h 65"/>
                <a:gd name="T32" fmla="*/ 1 w 100"/>
                <a:gd name="T33" fmla="*/ 0 h 65"/>
                <a:gd name="T34" fmla="*/ 0 w 100"/>
                <a:gd name="T35" fmla="*/ 0 h 65"/>
                <a:gd name="T36" fmla="*/ 0 w 100"/>
                <a:gd name="T37" fmla="*/ 0 h 65"/>
                <a:gd name="T38" fmla="*/ 0 w 100"/>
                <a:gd name="T39" fmla="*/ 0 h 65"/>
                <a:gd name="T40" fmla="*/ 0 w 100"/>
                <a:gd name="T41" fmla="*/ 0 h 65"/>
                <a:gd name="T42" fmla="*/ 0 w 100"/>
                <a:gd name="T43" fmla="*/ 0 h 65"/>
                <a:gd name="T44" fmla="*/ 0 w 100"/>
                <a:gd name="T45" fmla="*/ 0 h 65"/>
                <a:gd name="T46" fmla="*/ 0 w 100"/>
                <a:gd name="T47" fmla="*/ 0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cmpd="sng">
              <a:solidFill>
                <a:srgbClr val="FFFFFF"/>
              </a:solidFill>
              <a:prstDash val="solid"/>
              <a:round/>
              <a:headEnd/>
              <a:tailEnd/>
            </a:ln>
          </p:spPr>
          <p:txBody>
            <a:bodyPr/>
            <a:lstStyle/>
            <a:p>
              <a:endParaRPr lang="en-AU"/>
            </a:p>
          </p:txBody>
        </p:sp>
        <p:sp>
          <p:nvSpPr>
            <p:cNvPr id="2571" name="Freeform 158"/>
            <p:cNvSpPr>
              <a:spLocks/>
            </p:cNvSpPr>
            <p:nvPr/>
          </p:nvSpPr>
          <p:spPr bwMode="auto">
            <a:xfrm>
              <a:off x="5486" y="2743"/>
              <a:ext cx="24" cy="34"/>
            </a:xfrm>
            <a:custGeom>
              <a:avLst/>
              <a:gdLst>
                <a:gd name="T0" fmla="*/ 1 w 79"/>
                <a:gd name="T1" fmla="*/ 1 h 104"/>
                <a:gd name="T2" fmla="*/ 1 w 79"/>
                <a:gd name="T3" fmla="*/ 1 h 104"/>
                <a:gd name="T4" fmla="*/ 0 w 79"/>
                <a:gd name="T5" fmla="*/ 0 h 104"/>
                <a:gd name="T6" fmla="*/ 0 w 79"/>
                <a:gd name="T7" fmla="*/ 0 h 104"/>
                <a:gd name="T8" fmla="*/ 0 w 79"/>
                <a:gd name="T9" fmla="*/ 0 h 104"/>
                <a:gd name="T10" fmla="*/ 0 w 79"/>
                <a:gd name="T11" fmla="*/ 0 h 104"/>
                <a:gd name="T12" fmla="*/ 0 w 79"/>
                <a:gd name="T13" fmla="*/ 0 h 104"/>
                <a:gd name="T14" fmla="*/ 0 w 79"/>
                <a:gd name="T15" fmla="*/ 0 h 104"/>
                <a:gd name="T16" fmla="*/ 0 w 79"/>
                <a:gd name="T17" fmla="*/ 1 h 104"/>
                <a:gd name="T18" fmla="*/ 0 w 79"/>
                <a:gd name="T19" fmla="*/ 1 h 104"/>
                <a:gd name="T20" fmla="*/ 0 w 79"/>
                <a:gd name="T21" fmla="*/ 1 h 104"/>
                <a:gd name="T22" fmla="*/ 0 w 79"/>
                <a:gd name="T23" fmla="*/ 1 h 104"/>
                <a:gd name="T24" fmla="*/ 0 w 79"/>
                <a:gd name="T25" fmla="*/ 1 h 104"/>
                <a:gd name="T26" fmla="*/ 0 w 79"/>
                <a:gd name="T27" fmla="*/ 1 h 104"/>
                <a:gd name="T28" fmla="*/ 0 w 79"/>
                <a:gd name="T29" fmla="*/ 1 h 104"/>
                <a:gd name="T30" fmla="*/ 0 w 79"/>
                <a:gd name="T31" fmla="*/ 1 h 104"/>
                <a:gd name="T32" fmla="*/ 0 w 79"/>
                <a:gd name="T33" fmla="*/ 1 h 104"/>
                <a:gd name="T34" fmla="*/ 0 w 79"/>
                <a:gd name="T35" fmla="*/ 1 h 104"/>
                <a:gd name="T36" fmla="*/ 0 w 79"/>
                <a:gd name="T37" fmla="*/ 1 h 104"/>
                <a:gd name="T38" fmla="*/ 0 w 79"/>
                <a:gd name="T39" fmla="*/ 1 h 104"/>
                <a:gd name="T40" fmla="*/ 1 w 79"/>
                <a:gd name="T41" fmla="*/ 1 h 104"/>
                <a:gd name="T42" fmla="*/ 1 w 79"/>
                <a:gd name="T43" fmla="*/ 1 h 104"/>
                <a:gd name="T44" fmla="*/ 1 w 79"/>
                <a:gd name="T45" fmla="*/ 1 h 104"/>
                <a:gd name="T46" fmla="*/ 1 w 79"/>
                <a:gd name="T47" fmla="*/ 1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cmpd="sng">
              <a:solidFill>
                <a:srgbClr val="FFFFFF"/>
              </a:solidFill>
              <a:prstDash val="solid"/>
              <a:round/>
              <a:headEnd/>
              <a:tailEnd/>
            </a:ln>
          </p:spPr>
          <p:txBody>
            <a:bodyPr/>
            <a:lstStyle/>
            <a:p>
              <a:endParaRPr lang="en-AU"/>
            </a:p>
          </p:txBody>
        </p:sp>
      </p:grpSp>
      <p:sp>
        <p:nvSpPr>
          <p:cNvPr id="2139" name="Freeform 159"/>
          <p:cNvSpPr>
            <a:spLocks/>
          </p:cNvSpPr>
          <p:nvPr>
            <p:custDataLst>
              <p:tags r:id="rId90"/>
            </p:custDataLst>
          </p:nvPr>
        </p:nvSpPr>
        <p:spPr bwMode="auto">
          <a:xfrm>
            <a:off x="4216400" y="3548063"/>
            <a:ext cx="11113" cy="55562"/>
          </a:xfrm>
          <a:custGeom>
            <a:avLst/>
            <a:gdLst>
              <a:gd name="T0" fmla="*/ 2147483647 w 27"/>
              <a:gd name="T1" fmla="*/ 0 h 19"/>
              <a:gd name="T2" fmla="*/ 2147483647 w 27"/>
              <a:gd name="T3" fmla="*/ 2147483647 h 19"/>
              <a:gd name="T4" fmla="*/ 2147483647 w 27"/>
              <a:gd name="T5" fmla="*/ 2147483647 h 19"/>
              <a:gd name="T6" fmla="*/ 2147483647 w 27"/>
              <a:gd name="T7" fmla="*/ 2147483647 h 19"/>
              <a:gd name="T8" fmla="*/ 0 w 27"/>
              <a:gd name="T9" fmla="*/ 2147483647 h 19"/>
              <a:gd name="T10" fmla="*/ 2147483647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AU"/>
          </a:p>
        </p:txBody>
      </p:sp>
      <p:sp>
        <p:nvSpPr>
          <p:cNvPr id="2140" name="Freeform 160"/>
          <p:cNvSpPr>
            <a:spLocks/>
          </p:cNvSpPr>
          <p:nvPr>
            <p:custDataLst>
              <p:tags r:id="rId91"/>
            </p:custDataLst>
          </p:nvPr>
        </p:nvSpPr>
        <p:spPr bwMode="auto">
          <a:xfrm>
            <a:off x="4140200" y="3687763"/>
            <a:ext cx="14288" cy="57150"/>
          </a:xfrm>
          <a:custGeom>
            <a:avLst/>
            <a:gdLst>
              <a:gd name="T0" fmla="*/ 0 w 39"/>
              <a:gd name="T1" fmla="*/ 0 h 35"/>
              <a:gd name="T2" fmla="*/ 2147483647 w 39"/>
              <a:gd name="T3" fmla="*/ 0 h 35"/>
              <a:gd name="T4" fmla="*/ 2147483647 w 39"/>
              <a:gd name="T5" fmla="*/ 2147483647 h 35"/>
              <a:gd name="T6" fmla="*/ 2147483647 w 39"/>
              <a:gd name="T7" fmla="*/ 2147483647 h 35"/>
              <a:gd name="T8" fmla="*/ 2147483647 w 39"/>
              <a:gd name="T9" fmla="*/ 2147483647 h 35"/>
              <a:gd name="T10" fmla="*/ 2147483647 w 39"/>
              <a:gd name="T11" fmla="*/ 2147483647 h 35"/>
              <a:gd name="T12" fmla="*/ 2147483647 w 39"/>
              <a:gd name="T13" fmla="*/ 2147483647 h 35"/>
              <a:gd name="T14" fmla="*/ 2147483647 w 39"/>
              <a:gd name="T15" fmla="*/ 2147483647 h 35"/>
              <a:gd name="T16" fmla="*/ 2147483647 w 39"/>
              <a:gd name="T17" fmla="*/ 2147483647 h 35"/>
              <a:gd name="T18" fmla="*/ 2147483647 w 39"/>
              <a:gd name="T19" fmla="*/ 2147483647 h 35"/>
              <a:gd name="T20" fmla="*/ 2147483647 w 39"/>
              <a:gd name="T21" fmla="*/ 2147483647 h 35"/>
              <a:gd name="T22" fmla="*/ 2147483647 w 39"/>
              <a:gd name="T23" fmla="*/ 2147483647 h 35"/>
              <a:gd name="T24" fmla="*/ 2147483647 w 39"/>
              <a:gd name="T25" fmla="*/ 2147483647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mpd="sng">
            <a:solidFill>
              <a:srgbClr val="FFFFFF"/>
            </a:solidFill>
            <a:prstDash val="solid"/>
            <a:round/>
            <a:headEnd/>
            <a:tailEnd/>
          </a:ln>
        </p:spPr>
        <p:txBody>
          <a:bodyPr/>
          <a:lstStyle/>
          <a:p>
            <a:endParaRPr lang="en-AU"/>
          </a:p>
        </p:txBody>
      </p:sp>
      <p:sp>
        <p:nvSpPr>
          <p:cNvPr id="2141" name="Freeform 161"/>
          <p:cNvSpPr>
            <a:spLocks/>
          </p:cNvSpPr>
          <p:nvPr>
            <p:custDataLst>
              <p:tags r:id="rId92"/>
            </p:custDataLst>
          </p:nvPr>
        </p:nvSpPr>
        <p:spPr bwMode="auto">
          <a:xfrm>
            <a:off x="5938838" y="2014538"/>
            <a:ext cx="728662" cy="331787"/>
          </a:xfrm>
          <a:custGeom>
            <a:avLst/>
            <a:gdLst>
              <a:gd name="T0" fmla="*/ 2147483647 w 1688"/>
              <a:gd name="T1" fmla="*/ 2147483647 h 630"/>
              <a:gd name="T2" fmla="*/ 2147483647 w 1688"/>
              <a:gd name="T3" fmla="*/ 2147483647 h 630"/>
              <a:gd name="T4" fmla="*/ 2147483647 w 1688"/>
              <a:gd name="T5" fmla="*/ 2147483647 h 630"/>
              <a:gd name="T6" fmla="*/ 2147483647 w 1688"/>
              <a:gd name="T7" fmla="*/ 2147483647 h 630"/>
              <a:gd name="T8" fmla="*/ 2147483647 w 1688"/>
              <a:gd name="T9" fmla="*/ 2147483647 h 630"/>
              <a:gd name="T10" fmla="*/ 2147483647 w 1688"/>
              <a:gd name="T11" fmla="*/ 2147483647 h 630"/>
              <a:gd name="T12" fmla="*/ 2147483647 w 1688"/>
              <a:gd name="T13" fmla="*/ 2147483647 h 630"/>
              <a:gd name="T14" fmla="*/ 2147483647 w 1688"/>
              <a:gd name="T15" fmla="*/ 2147483647 h 630"/>
              <a:gd name="T16" fmla="*/ 2147483647 w 1688"/>
              <a:gd name="T17" fmla="*/ 2147483647 h 630"/>
              <a:gd name="T18" fmla="*/ 2147483647 w 1688"/>
              <a:gd name="T19" fmla="*/ 2147483647 h 630"/>
              <a:gd name="T20" fmla="*/ 2147483647 w 1688"/>
              <a:gd name="T21" fmla="*/ 2147483647 h 630"/>
              <a:gd name="T22" fmla="*/ 2147483647 w 1688"/>
              <a:gd name="T23" fmla="*/ 2147483647 h 630"/>
              <a:gd name="T24" fmla="*/ 2147483647 w 1688"/>
              <a:gd name="T25" fmla="*/ 2147483647 h 630"/>
              <a:gd name="T26" fmla="*/ 2147483647 w 1688"/>
              <a:gd name="T27" fmla="*/ 2147483647 h 630"/>
              <a:gd name="T28" fmla="*/ 2147483647 w 1688"/>
              <a:gd name="T29" fmla="*/ 2147483647 h 630"/>
              <a:gd name="T30" fmla="*/ 2147483647 w 1688"/>
              <a:gd name="T31" fmla="*/ 2147483647 h 630"/>
              <a:gd name="T32" fmla="*/ 2147483647 w 1688"/>
              <a:gd name="T33" fmla="*/ 2147483647 h 630"/>
              <a:gd name="T34" fmla="*/ 2147483647 w 1688"/>
              <a:gd name="T35" fmla="*/ 2147483647 h 630"/>
              <a:gd name="T36" fmla="*/ 2147483647 w 1688"/>
              <a:gd name="T37" fmla="*/ 2147483647 h 630"/>
              <a:gd name="T38" fmla="*/ 2147483647 w 1688"/>
              <a:gd name="T39" fmla="*/ 2147483647 h 630"/>
              <a:gd name="T40" fmla="*/ 2147483647 w 1688"/>
              <a:gd name="T41" fmla="*/ 2147483647 h 630"/>
              <a:gd name="T42" fmla="*/ 2147483647 w 1688"/>
              <a:gd name="T43" fmla="*/ 2147483647 h 630"/>
              <a:gd name="T44" fmla="*/ 2147483647 w 1688"/>
              <a:gd name="T45" fmla="*/ 2147483647 h 630"/>
              <a:gd name="T46" fmla="*/ 2147483647 w 1688"/>
              <a:gd name="T47" fmla="*/ 2147483647 h 630"/>
              <a:gd name="T48" fmla="*/ 2147483647 w 1688"/>
              <a:gd name="T49" fmla="*/ 2147483647 h 630"/>
              <a:gd name="T50" fmla="*/ 2147483647 w 1688"/>
              <a:gd name="T51" fmla="*/ 2147483647 h 630"/>
              <a:gd name="T52" fmla="*/ 2147483647 w 1688"/>
              <a:gd name="T53" fmla="*/ 2147483647 h 630"/>
              <a:gd name="T54" fmla="*/ 2147483647 w 1688"/>
              <a:gd name="T55" fmla="*/ 2147483647 h 630"/>
              <a:gd name="T56" fmla="*/ 2147483647 w 1688"/>
              <a:gd name="T57" fmla="*/ 2147483647 h 630"/>
              <a:gd name="T58" fmla="*/ 2147483647 w 1688"/>
              <a:gd name="T59" fmla="*/ 2147483647 h 630"/>
              <a:gd name="T60" fmla="*/ 2147483647 w 1688"/>
              <a:gd name="T61" fmla="*/ 2147483647 h 630"/>
              <a:gd name="T62" fmla="*/ 2147483647 w 1688"/>
              <a:gd name="T63" fmla="*/ 2147483647 h 630"/>
              <a:gd name="T64" fmla="*/ 2147483647 w 1688"/>
              <a:gd name="T65" fmla="*/ 2147483647 h 630"/>
              <a:gd name="T66" fmla="*/ 2147483647 w 1688"/>
              <a:gd name="T67" fmla="*/ 2147483647 h 630"/>
              <a:gd name="T68" fmla="*/ 2147483647 w 1688"/>
              <a:gd name="T69" fmla="*/ 2147483647 h 630"/>
              <a:gd name="T70" fmla="*/ 2147483647 w 1688"/>
              <a:gd name="T71" fmla="*/ 2147483647 h 630"/>
              <a:gd name="T72" fmla="*/ 2147483647 w 1688"/>
              <a:gd name="T73" fmla="*/ 2147483647 h 630"/>
              <a:gd name="T74" fmla="*/ 2147483647 w 1688"/>
              <a:gd name="T75" fmla="*/ 2147483647 h 630"/>
              <a:gd name="T76" fmla="*/ 2147483647 w 1688"/>
              <a:gd name="T77" fmla="*/ 2147483647 h 630"/>
              <a:gd name="T78" fmla="*/ 2147483647 w 1688"/>
              <a:gd name="T79" fmla="*/ 2147483647 h 630"/>
              <a:gd name="T80" fmla="*/ 2147483647 w 1688"/>
              <a:gd name="T81" fmla="*/ 2147483647 h 630"/>
              <a:gd name="T82" fmla="*/ 2147483647 w 1688"/>
              <a:gd name="T83" fmla="*/ 2147483647 h 630"/>
              <a:gd name="T84" fmla="*/ 2147483647 w 1688"/>
              <a:gd name="T85" fmla="*/ 2147483647 h 630"/>
              <a:gd name="T86" fmla="*/ 2147483647 w 1688"/>
              <a:gd name="T87" fmla="*/ 2147483647 h 630"/>
              <a:gd name="T88" fmla="*/ 2147483647 w 1688"/>
              <a:gd name="T89" fmla="*/ 2147483647 h 630"/>
              <a:gd name="T90" fmla="*/ 2147483647 w 1688"/>
              <a:gd name="T91" fmla="*/ 2147483647 h 630"/>
              <a:gd name="T92" fmla="*/ 2147483647 w 1688"/>
              <a:gd name="T93" fmla="*/ 2147483647 h 630"/>
              <a:gd name="T94" fmla="*/ 2147483647 w 1688"/>
              <a:gd name="T95" fmla="*/ 2147483647 h 630"/>
              <a:gd name="T96" fmla="*/ 2147483647 w 1688"/>
              <a:gd name="T97" fmla="*/ 2147483647 h 630"/>
              <a:gd name="T98" fmla="*/ 2147483647 w 1688"/>
              <a:gd name="T99" fmla="*/ 2147483647 h 630"/>
              <a:gd name="T100" fmla="*/ 2147483647 w 1688"/>
              <a:gd name="T101" fmla="*/ 2147483647 h 630"/>
              <a:gd name="T102" fmla="*/ 2147483647 w 1688"/>
              <a:gd name="T103" fmla="*/ 2147483647 h 630"/>
              <a:gd name="T104" fmla="*/ 2147483647 w 1688"/>
              <a:gd name="T105" fmla="*/ 2147483647 h 630"/>
              <a:gd name="T106" fmla="*/ 2147483647 w 1688"/>
              <a:gd name="T107" fmla="*/ 2147483647 h 630"/>
              <a:gd name="T108" fmla="*/ 2147483647 w 1688"/>
              <a:gd name="T109" fmla="*/ 2147483647 h 630"/>
              <a:gd name="T110" fmla="*/ 2147483647 w 1688"/>
              <a:gd name="T111" fmla="*/ 2147483647 h 630"/>
              <a:gd name="T112" fmla="*/ 2147483647 w 1688"/>
              <a:gd name="T113" fmla="*/ 2147483647 h 630"/>
              <a:gd name="T114" fmla="*/ 2147483647 w 1688"/>
              <a:gd name="T115" fmla="*/ 2147483647 h 630"/>
              <a:gd name="T116" fmla="*/ 2147483647 w 1688"/>
              <a:gd name="T117" fmla="*/ 2147483647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FF0000"/>
          </a:solidFill>
          <a:ln w="9525" cmpd="sng">
            <a:solidFill>
              <a:srgbClr val="FFFFFF"/>
            </a:solidFill>
            <a:prstDash val="solid"/>
            <a:round/>
            <a:headEnd/>
            <a:tailEnd/>
          </a:ln>
        </p:spPr>
        <p:txBody>
          <a:bodyPr/>
          <a:lstStyle/>
          <a:p>
            <a:endParaRPr lang="en-AU"/>
          </a:p>
        </p:txBody>
      </p:sp>
      <p:sp>
        <p:nvSpPr>
          <p:cNvPr id="2142" name="Freeform 162"/>
          <p:cNvSpPr>
            <a:spLocks/>
          </p:cNvSpPr>
          <p:nvPr>
            <p:custDataLst>
              <p:tags r:id="rId93"/>
            </p:custDataLst>
          </p:nvPr>
        </p:nvSpPr>
        <p:spPr bwMode="auto">
          <a:xfrm>
            <a:off x="2265363" y="3981450"/>
            <a:ext cx="328612" cy="415925"/>
          </a:xfrm>
          <a:custGeom>
            <a:avLst/>
            <a:gdLst>
              <a:gd name="T0" fmla="*/ 2147483647 w 758"/>
              <a:gd name="T1" fmla="*/ 2147483647 h 795"/>
              <a:gd name="T2" fmla="*/ 2147483647 w 758"/>
              <a:gd name="T3" fmla="*/ 2147483647 h 795"/>
              <a:gd name="T4" fmla="*/ 2147483647 w 758"/>
              <a:gd name="T5" fmla="*/ 2147483647 h 795"/>
              <a:gd name="T6" fmla="*/ 2147483647 w 758"/>
              <a:gd name="T7" fmla="*/ 2147483647 h 795"/>
              <a:gd name="T8" fmla="*/ 2147483647 w 758"/>
              <a:gd name="T9" fmla="*/ 2147483647 h 795"/>
              <a:gd name="T10" fmla="*/ 2147483647 w 758"/>
              <a:gd name="T11" fmla="*/ 2147483647 h 795"/>
              <a:gd name="T12" fmla="*/ 2147483647 w 758"/>
              <a:gd name="T13" fmla="*/ 2147483647 h 795"/>
              <a:gd name="T14" fmla="*/ 2147483647 w 758"/>
              <a:gd name="T15" fmla="*/ 2147483647 h 795"/>
              <a:gd name="T16" fmla="*/ 2147483647 w 758"/>
              <a:gd name="T17" fmla="*/ 2147483647 h 795"/>
              <a:gd name="T18" fmla="*/ 2147483647 w 758"/>
              <a:gd name="T19" fmla="*/ 2147483647 h 795"/>
              <a:gd name="T20" fmla="*/ 2147483647 w 758"/>
              <a:gd name="T21" fmla="*/ 2147483647 h 795"/>
              <a:gd name="T22" fmla="*/ 2147483647 w 758"/>
              <a:gd name="T23" fmla="*/ 2147483647 h 795"/>
              <a:gd name="T24" fmla="*/ 2147483647 w 758"/>
              <a:gd name="T25" fmla="*/ 2147483647 h 795"/>
              <a:gd name="T26" fmla="*/ 2147483647 w 758"/>
              <a:gd name="T27" fmla="*/ 2147483647 h 795"/>
              <a:gd name="T28" fmla="*/ 2147483647 w 758"/>
              <a:gd name="T29" fmla="*/ 2147483647 h 795"/>
              <a:gd name="T30" fmla="*/ 2147483647 w 758"/>
              <a:gd name="T31" fmla="*/ 2147483647 h 795"/>
              <a:gd name="T32" fmla="*/ 2147483647 w 758"/>
              <a:gd name="T33" fmla="*/ 2147483647 h 795"/>
              <a:gd name="T34" fmla="*/ 2147483647 w 758"/>
              <a:gd name="T35" fmla="*/ 2147483647 h 795"/>
              <a:gd name="T36" fmla="*/ 2147483647 w 758"/>
              <a:gd name="T37" fmla="*/ 2147483647 h 795"/>
              <a:gd name="T38" fmla="*/ 2147483647 w 758"/>
              <a:gd name="T39" fmla="*/ 2147483647 h 795"/>
              <a:gd name="T40" fmla="*/ 2147483647 w 758"/>
              <a:gd name="T41" fmla="*/ 2147483647 h 795"/>
              <a:gd name="T42" fmla="*/ 2147483647 w 758"/>
              <a:gd name="T43" fmla="*/ 2147483647 h 795"/>
              <a:gd name="T44" fmla="*/ 2147483647 w 758"/>
              <a:gd name="T45" fmla="*/ 2147483647 h 795"/>
              <a:gd name="T46" fmla="*/ 2147483647 w 758"/>
              <a:gd name="T47" fmla="*/ 2147483647 h 795"/>
              <a:gd name="T48" fmla="*/ 2147483647 w 758"/>
              <a:gd name="T49" fmla="*/ 2147483647 h 795"/>
              <a:gd name="T50" fmla="*/ 2147483647 w 758"/>
              <a:gd name="T51" fmla="*/ 2147483647 h 795"/>
              <a:gd name="T52" fmla="*/ 2147483647 w 758"/>
              <a:gd name="T53" fmla="*/ 2147483647 h 795"/>
              <a:gd name="T54" fmla="*/ 2147483647 w 758"/>
              <a:gd name="T55" fmla="*/ 2147483647 h 795"/>
              <a:gd name="T56" fmla="*/ 2147483647 w 758"/>
              <a:gd name="T57" fmla="*/ 2147483647 h 795"/>
              <a:gd name="T58" fmla="*/ 2147483647 w 758"/>
              <a:gd name="T59" fmla="*/ 2147483647 h 795"/>
              <a:gd name="T60" fmla="*/ 2147483647 w 758"/>
              <a:gd name="T61" fmla="*/ 2147483647 h 795"/>
              <a:gd name="T62" fmla="*/ 2147483647 w 758"/>
              <a:gd name="T63" fmla="*/ 2147483647 h 795"/>
              <a:gd name="T64" fmla="*/ 2147483647 w 758"/>
              <a:gd name="T65" fmla="*/ 2147483647 h 795"/>
              <a:gd name="T66" fmla="*/ 2147483647 w 758"/>
              <a:gd name="T67" fmla="*/ 2147483647 h 795"/>
              <a:gd name="T68" fmla="*/ 2147483647 w 758"/>
              <a:gd name="T69" fmla="*/ 2147483647 h 795"/>
              <a:gd name="T70" fmla="*/ 2147483647 w 758"/>
              <a:gd name="T71" fmla="*/ 2147483647 h 795"/>
              <a:gd name="T72" fmla="*/ 2147483647 w 758"/>
              <a:gd name="T73" fmla="*/ 2147483647 h 795"/>
              <a:gd name="T74" fmla="*/ 2147483647 w 758"/>
              <a:gd name="T75" fmla="*/ 2147483647 h 795"/>
              <a:gd name="T76" fmla="*/ 2147483647 w 758"/>
              <a:gd name="T77" fmla="*/ 2147483647 h 795"/>
              <a:gd name="T78" fmla="*/ 2147483647 w 758"/>
              <a:gd name="T79" fmla="*/ 2147483647 h 795"/>
              <a:gd name="T80" fmla="*/ 2147483647 w 758"/>
              <a:gd name="T81" fmla="*/ 2147483647 h 795"/>
              <a:gd name="T82" fmla="*/ 2147483647 w 758"/>
              <a:gd name="T83" fmla="*/ 2147483647 h 795"/>
              <a:gd name="T84" fmla="*/ 2147483647 w 758"/>
              <a:gd name="T85" fmla="*/ 2147483647 h 795"/>
              <a:gd name="T86" fmla="*/ 2147483647 w 758"/>
              <a:gd name="T87" fmla="*/ 2147483647 h 795"/>
              <a:gd name="T88" fmla="*/ 2147483647 w 758"/>
              <a:gd name="T89" fmla="*/ 2147483647 h 795"/>
              <a:gd name="T90" fmla="*/ 2147483647 w 758"/>
              <a:gd name="T91" fmla="*/ 2147483647 h 795"/>
              <a:gd name="T92" fmla="*/ 2147483647 w 758"/>
              <a:gd name="T93" fmla="*/ 2147483647 h 795"/>
              <a:gd name="T94" fmla="*/ 2147483647 w 758"/>
              <a:gd name="T95" fmla="*/ 2147483647 h 795"/>
              <a:gd name="T96" fmla="*/ 2147483647 w 758"/>
              <a:gd name="T97" fmla="*/ 2147483647 h 795"/>
              <a:gd name="T98" fmla="*/ 2147483647 w 758"/>
              <a:gd name="T99" fmla="*/ 2147483647 h 795"/>
              <a:gd name="T100" fmla="*/ 2147483647 w 758"/>
              <a:gd name="T101" fmla="*/ 2147483647 h 795"/>
              <a:gd name="T102" fmla="*/ 2147483647 w 758"/>
              <a:gd name="T103" fmla="*/ 2147483647 h 795"/>
              <a:gd name="T104" fmla="*/ 2147483647 w 758"/>
              <a:gd name="T105" fmla="*/ 2147483647 h 795"/>
              <a:gd name="T106" fmla="*/ 2147483647 w 758"/>
              <a:gd name="T107" fmla="*/ 2147483647 h 795"/>
              <a:gd name="T108" fmla="*/ 2147483647 w 758"/>
              <a:gd name="T109" fmla="*/ 2147483647 h 795"/>
              <a:gd name="T110" fmla="*/ 2147483647 w 758"/>
              <a:gd name="T111" fmla="*/ 2147483647 h 795"/>
              <a:gd name="T112" fmla="*/ 2147483647 w 758"/>
              <a:gd name="T113" fmla="*/ 2147483647 h 795"/>
              <a:gd name="T114" fmla="*/ 2147483647 w 758"/>
              <a:gd name="T115" fmla="*/ 2147483647 h 795"/>
              <a:gd name="T116" fmla="*/ 2147483647 w 758"/>
              <a:gd name="T117" fmla="*/ 2147483647 h 795"/>
              <a:gd name="T118" fmla="*/ 0 w 758"/>
              <a:gd name="T119" fmla="*/ 2147483647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143" name="Freeform 163"/>
          <p:cNvSpPr>
            <a:spLocks/>
          </p:cNvSpPr>
          <p:nvPr>
            <p:custDataLst>
              <p:tags r:id="rId94"/>
            </p:custDataLst>
          </p:nvPr>
        </p:nvSpPr>
        <p:spPr bwMode="auto">
          <a:xfrm>
            <a:off x="2479675" y="3411538"/>
            <a:ext cx="119063" cy="215900"/>
          </a:xfrm>
          <a:custGeom>
            <a:avLst/>
            <a:gdLst>
              <a:gd name="T0" fmla="*/ 2147483647 w 273"/>
              <a:gd name="T1" fmla="*/ 2147483647 h 414"/>
              <a:gd name="T2" fmla="*/ 2147483647 w 273"/>
              <a:gd name="T3" fmla="*/ 2147483647 h 414"/>
              <a:gd name="T4" fmla="*/ 2147483647 w 273"/>
              <a:gd name="T5" fmla="*/ 2147483647 h 414"/>
              <a:gd name="T6" fmla="*/ 2147483647 w 273"/>
              <a:gd name="T7" fmla="*/ 2147483647 h 414"/>
              <a:gd name="T8" fmla="*/ 2147483647 w 273"/>
              <a:gd name="T9" fmla="*/ 2147483647 h 414"/>
              <a:gd name="T10" fmla="*/ 2147483647 w 273"/>
              <a:gd name="T11" fmla="*/ 2147483647 h 414"/>
              <a:gd name="T12" fmla="*/ 2147483647 w 273"/>
              <a:gd name="T13" fmla="*/ 2147483647 h 414"/>
              <a:gd name="T14" fmla="*/ 2147483647 w 273"/>
              <a:gd name="T15" fmla="*/ 2147483647 h 414"/>
              <a:gd name="T16" fmla="*/ 2147483647 w 273"/>
              <a:gd name="T17" fmla="*/ 2147483647 h 414"/>
              <a:gd name="T18" fmla="*/ 2147483647 w 273"/>
              <a:gd name="T19" fmla="*/ 2147483647 h 414"/>
              <a:gd name="T20" fmla="*/ 2147483647 w 273"/>
              <a:gd name="T21" fmla="*/ 2147483647 h 414"/>
              <a:gd name="T22" fmla="*/ 2147483647 w 273"/>
              <a:gd name="T23" fmla="*/ 2147483647 h 414"/>
              <a:gd name="T24" fmla="*/ 2147483647 w 273"/>
              <a:gd name="T25" fmla="*/ 2147483647 h 414"/>
              <a:gd name="T26" fmla="*/ 2147483647 w 273"/>
              <a:gd name="T27" fmla="*/ 2147483647 h 414"/>
              <a:gd name="T28" fmla="*/ 2147483647 w 273"/>
              <a:gd name="T29" fmla="*/ 2147483647 h 414"/>
              <a:gd name="T30" fmla="*/ 2147483647 w 273"/>
              <a:gd name="T31" fmla="*/ 2147483647 h 414"/>
              <a:gd name="T32" fmla="*/ 2147483647 w 273"/>
              <a:gd name="T33" fmla="*/ 2147483647 h 414"/>
              <a:gd name="T34" fmla="*/ 2147483647 w 273"/>
              <a:gd name="T35" fmla="*/ 2147483647 h 414"/>
              <a:gd name="T36" fmla="*/ 2147483647 w 273"/>
              <a:gd name="T37" fmla="*/ 2147483647 h 414"/>
              <a:gd name="T38" fmla="*/ 2147483647 w 273"/>
              <a:gd name="T39" fmla="*/ 2147483647 h 414"/>
              <a:gd name="T40" fmla="*/ 2147483647 w 273"/>
              <a:gd name="T41" fmla="*/ 2147483647 h 414"/>
              <a:gd name="T42" fmla="*/ 2147483647 w 273"/>
              <a:gd name="T43" fmla="*/ 2147483647 h 414"/>
              <a:gd name="T44" fmla="*/ 2147483647 w 273"/>
              <a:gd name="T45" fmla="*/ 2147483647 h 414"/>
              <a:gd name="T46" fmla="*/ 2147483647 w 273"/>
              <a:gd name="T47" fmla="*/ 2147483647 h 414"/>
              <a:gd name="T48" fmla="*/ 2147483647 w 273"/>
              <a:gd name="T49" fmla="*/ 2147483647 h 414"/>
              <a:gd name="T50" fmla="*/ 2147483647 w 273"/>
              <a:gd name="T51" fmla="*/ 2147483647 h 414"/>
              <a:gd name="T52" fmla="*/ 2147483647 w 273"/>
              <a:gd name="T53" fmla="*/ 2147483647 h 414"/>
              <a:gd name="T54" fmla="*/ 2147483647 w 273"/>
              <a:gd name="T55" fmla="*/ 2147483647 h 414"/>
              <a:gd name="T56" fmla="*/ 2147483647 w 273"/>
              <a:gd name="T57" fmla="*/ 2147483647 h 414"/>
              <a:gd name="T58" fmla="*/ 2147483647 w 273"/>
              <a:gd name="T59" fmla="*/ 2147483647 h 414"/>
              <a:gd name="T60" fmla="*/ 2147483647 w 273"/>
              <a:gd name="T61" fmla="*/ 2147483647 h 414"/>
              <a:gd name="T62" fmla="*/ 2147483647 w 273"/>
              <a:gd name="T63" fmla="*/ 2147483647 h 414"/>
              <a:gd name="T64" fmla="*/ 2147483647 w 273"/>
              <a:gd name="T65" fmla="*/ 2147483647 h 414"/>
              <a:gd name="T66" fmla="*/ 2147483647 w 273"/>
              <a:gd name="T67" fmla="*/ 2147483647 h 414"/>
              <a:gd name="T68" fmla="*/ 2147483647 w 273"/>
              <a:gd name="T69" fmla="*/ 2147483647 h 414"/>
              <a:gd name="T70" fmla="*/ 2147483647 w 273"/>
              <a:gd name="T71" fmla="*/ 2147483647 h 414"/>
              <a:gd name="T72" fmla="*/ 2147483647 w 273"/>
              <a:gd name="T73" fmla="*/ 2147483647 h 414"/>
              <a:gd name="T74" fmla="*/ 2147483647 w 273"/>
              <a:gd name="T75" fmla="*/ 2147483647 h 414"/>
              <a:gd name="T76" fmla="*/ 2147483647 w 273"/>
              <a:gd name="T77" fmla="*/ 2147483647 h 414"/>
              <a:gd name="T78" fmla="*/ 2147483647 w 273"/>
              <a:gd name="T79" fmla="*/ 2147483647 h 414"/>
              <a:gd name="T80" fmla="*/ 2147483647 w 273"/>
              <a:gd name="T81" fmla="*/ 2147483647 h 414"/>
              <a:gd name="T82" fmla="*/ 2147483647 w 273"/>
              <a:gd name="T83" fmla="*/ 2147483647 h 414"/>
              <a:gd name="T84" fmla="*/ 2147483647 w 273"/>
              <a:gd name="T85" fmla="*/ 2147483647 h 414"/>
              <a:gd name="T86" fmla="*/ 2147483647 w 273"/>
              <a:gd name="T87" fmla="*/ 2147483647 h 414"/>
              <a:gd name="T88" fmla="*/ 2147483647 w 273"/>
              <a:gd name="T89" fmla="*/ 2147483647 h 414"/>
              <a:gd name="T90" fmla="*/ 2147483647 w 273"/>
              <a:gd name="T91" fmla="*/ 2147483647 h 414"/>
              <a:gd name="T92" fmla="*/ 2147483647 w 273"/>
              <a:gd name="T93" fmla="*/ 2147483647 h 414"/>
              <a:gd name="T94" fmla="*/ 2147483647 w 273"/>
              <a:gd name="T95" fmla="*/ 2147483647 h 414"/>
              <a:gd name="T96" fmla="*/ 2147483647 w 273"/>
              <a:gd name="T97" fmla="*/ 2147483647 h 414"/>
              <a:gd name="T98" fmla="*/ 2147483647 w 273"/>
              <a:gd name="T99" fmla="*/ 2147483647 h 414"/>
              <a:gd name="T100" fmla="*/ 2147483647 w 273"/>
              <a:gd name="T101" fmla="*/ 2147483647 h 414"/>
              <a:gd name="T102" fmla="*/ 2147483647 w 273"/>
              <a:gd name="T103" fmla="*/ 2147483647 h 414"/>
              <a:gd name="T104" fmla="*/ 2147483647 w 273"/>
              <a:gd name="T105" fmla="*/ 2147483647 h 414"/>
              <a:gd name="T106" fmla="*/ 2147483647 w 273"/>
              <a:gd name="T107" fmla="*/ 2147483647 h 414"/>
              <a:gd name="T108" fmla="*/ 2147483647 w 273"/>
              <a:gd name="T109" fmla="*/ 2147483647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grpSp>
        <p:nvGrpSpPr>
          <p:cNvPr id="2144" name="Group 164"/>
          <p:cNvGrpSpPr>
            <a:grpSpLocks/>
          </p:cNvGrpSpPr>
          <p:nvPr>
            <p:custDataLst>
              <p:tags r:id="rId95"/>
            </p:custDataLst>
          </p:nvPr>
        </p:nvGrpSpPr>
        <p:grpSpPr bwMode="auto">
          <a:xfrm>
            <a:off x="2193925" y="3246438"/>
            <a:ext cx="323850" cy="401637"/>
            <a:chOff x="1486" y="2412"/>
            <a:chExt cx="244" cy="256"/>
          </a:xfrm>
        </p:grpSpPr>
        <p:sp>
          <p:nvSpPr>
            <p:cNvPr id="2572" name="Freeform 165"/>
            <p:cNvSpPr>
              <a:spLocks/>
            </p:cNvSpPr>
            <p:nvPr/>
          </p:nvSpPr>
          <p:spPr bwMode="auto">
            <a:xfrm>
              <a:off x="1639" y="2457"/>
              <a:ext cx="18" cy="7"/>
            </a:xfrm>
            <a:custGeom>
              <a:avLst/>
              <a:gdLst>
                <a:gd name="T0" fmla="*/ 0 w 54"/>
                <a:gd name="T1" fmla="*/ 0 h 22"/>
                <a:gd name="T2" fmla="*/ 0 w 54"/>
                <a:gd name="T3" fmla="*/ 0 h 22"/>
                <a:gd name="T4" fmla="*/ 0 w 54"/>
                <a:gd name="T5" fmla="*/ 0 h 22"/>
                <a:gd name="T6" fmla="*/ 0 w 54"/>
                <a:gd name="T7" fmla="*/ 0 h 22"/>
                <a:gd name="T8" fmla="*/ 0 w 54"/>
                <a:gd name="T9" fmla="*/ 0 h 22"/>
                <a:gd name="T10" fmla="*/ 0 w 54"/>
                <a:gd name="T11" fmla="*/ 0 h 22"/>
                <a:gd name="T12" fmla="*/ 0 w 54"/>
                <a:gd name="T13" fmla="*/ 0 h 22"/>
                <a:gd name="T14" fmla="*/ 0 w 54"/>
                <a:gd name="T15" fmla="*/ 0 h 22"/>
                <a:gd name="T16" fmla="*/ 0 w 54"/>
                <a:gd name="T17" fmla="*/ 0 h 22"/>
                <a:gd name="T18" fmla="*/ 0 w 54"/>
                <a:gd name="T19" fmla="*/ 0 h 22"/>
                <a:gd name="T20" fmla="*/ 0 w 54"/>
                <a:gd name="T21" fmla="*/ 0 h 22"/>
                <a:gd name="T22" fmla="*/ 1 w 54"/>
                <a:gd name="T23" fmla="*/ 0 h 22"/>
                <a:gd name="T24" fmla="*/ 1 w 54"/>
                <a:gd name="T25" fmla="*/ 0 h 22"/>
                <a:gd name="T26" fmla="*/ 1 w 54"/>
                <a:gd name="T27" fmla="*/ 0 h 22"/>
                <a:gd name="T28" fmla="*/ 0 w 54"/>
                <a:gd name="T29" fmla="*/ 0 h 22"/>
                <a:gd name="T30" fmla="*/ 0 w 54"/>
                <a:gd name="T31" fmla="*/ 0 h 22"/>
                <a:gd name="T32" fmla="*/ 0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573" name="Freeform 166"/>
            <p:cNvSpPr>
              <a:spLocks/>
            </p:cNvSpPr>
            <p:nvPr/>
          </p:nvSpPr>
          <p:spPr bwMode="auto">
            <a:xfrm>
              <a:off x="1526" y="2412"/>
              <a:ext cx="2" cy="8"/>
            </a:xfrm>
            <a:custGeom>
              <a:avLst/>
              <a:gdLst>
                <a:gd name="T0" fmla="*/ 0 w 6"/>
                <a:gd name="T1" fmla="*/ 0 h 24"/>
                <a:gd name="T2" fmla="*/ 0 w 6"/>
                <a:gd name="T3" fmla="*/ 0 h 24"/>
                <a:gd name="T4" fmla="*/ 0 w 6"/>
                <a:gd name="T5" fmla="*/ 0 h 24"/>
                <a:gd name="T6" fmla="*/ 0 w 6"/>
                <a:gd name="T7" fmla="*/ 0 h 24"/>
                <a:gd name="T8" fmla="*/ 0 w 6"/>
                <a:gd name="T9" fmla="*/ 0 h 24"/>
                <a:gd name="T10" fmla="*/ 0 w 6"/>
                <a:gd name="T11" fmla="*/ 0 h 24"/>
                <a:gd name="T12" fmla="*/ 0 w 6"/>
                <a:gd name="T13" fmla="*/ 0 h 24"/>
                <a:gd name="T14" fmla="*/ 0 w 6"/>
                <a:gd name="T15" fmla="*/ 0 h 24"/>
                <a:gd name="T16" fmla="*/ 0 w 6"/>
                <a:gd name="T17" fmla="*/ 0 h 24"/>
                <a:gd name="T18" fmla="*/ 0 w 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574" name="Freeform 167"/>
            <p:cNvSpPr>
              <a:spLocks/>
            </p:cNvSpPr>
            <p:nvPr/>
          </p:nvSpPr>
          <p:spPr bwMode="auto">
            <a:xfrm>
              <a:off x="1557" y="2438"/>
              <a:ext cx="8" cy="4"/>
            </a:xfrm>
            <a:custGeom>
              <a:avLst/>
              <a:gdLst>
                <a:gd name="T0" fmla="*/ 0 w 27"/>
                <a:gd name="T1" fmla="*/ 0 h 12"/>
                <a:gd name="T2" fmla="*/ 0 w 27"/>
                <a:gd name="T3" fmla="*/ 0 h 12"/>
                <a:gd name="T4" fmla="*/ 0 w 27"/>
                <a:gd name="T5" fmla="*/ 0 h 12"/>
                <a:gd name="T6" fmla="*/ 0 w 27"/>
                <a:gd name="T7" fmla="*/ 0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12">
                  <a:moveTo>
                    <a:pt x="0" y="12"/>
                  </a:moveTo>
                  <a:lnTo>
                    <a:pt x="27" y="12"/>
                  </a:lnTo>
                  <a:lnTo>
                    <a:pt x="14" y="0"/>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575" name="Freeform 168"/>
            <p:cNvSpPr>
              <a:spLocks/>
            </p:cNvSpPr>
            <p:nvPr/>
          </p:nvSpPr>
          <p:spPr bwMode="auto">
            <a:xfrm>
              <a:off x="1486" y="2444"/>
              <a:ext cx="244" cy="224"/>
            </a:xfrm>
            <a:custGeom>
              <a:avLst/>
              <a:gdLst>
                <a:gd name="T0" fmla="*/ 0 w 743"/>
                <a:gd name="T1" fmla="*/ 3 h 672"/>
                <a:gd name="T2" fmla="*/ 1 w 743"/>
                <a:gd name="T3" fmla="*/ 3 h 672"/>
                <a:gd name="T4" fmla="*/ 1 w 743"/>
                <a:gd name="T5" fmla="*/ 4 h 672"/>
                <a:gd name="T6" fmla="*/ 2 w 743"/>
                <a:gd name="T7" fmla="*/ 4 h 672"/>
                <a:gd name="T8" fmla="*/ 2 w 743"/>
                <a:gd name="T9" fmla="*/ 4 h 672"/>
                <a:gd name="T10" fmla="*/ 4 w 743"/>
                <a:gd name="T11" fmla="*/ 5 h 672"/>
                <a:gd name="T12" fmla="*/ 3 w 743"/>
                <a:gd name="T13" fmla="*/ 5 h 672"/>
                <a:gd name="T14" fmla="*/ 4 w 743"/>
                <a:gd name="T15" fmla="*/ 6 h 672"/>
                <a:gd name="T16" fmla="*/ 4 w 743"/>
                <a:gd name="T17" fmla="*/ 7 h 672"/>
                <a:gd name="T18" fmla="*/ 4 w 743"/>
                <a:gd name="T19" fmla="*/ 7 h 672"/>
                <a:gd name="T20" fmla="*/ 4 w 743"/>
                <a:gd name="T21" fmla="*/ 8 h 672"/>
                <a:gd name="T22" fmla="*/ 4 w 743"/>
                <a:gd name="T23" fmla="*/ 8 h 672"/>
                <a:gd name="T24" fmla="*/ 5 w 743"/>
                <a:gd name="T25" fmla="*/ 8 h 672"/>
                <a:gd name="T26" fmla="*/ 5 w 743"/>
                <a:gd name="T27" fmla="*/ 8 h 672"/>
                <a:gd name="T28" fmla="*/ 6 w 743"/>
                <a:gd name="T29" fmla="*/ 8 h 672"/>
                <a:gd name="T30" fmla="*/ 6 w 743"/>
                <a:gd name="T31" fmla="*/ 7 h 672"/>
                <a:gd name="T32" fmla="*/ 6 w 743"/>
                <a:gd name="T33" fmla="*/ 6 h 672"/>
                <a:gd name="T34" fmla="*/ 7 w 743"/>
                <a:gd name="T35" fmla="*/ 6 h 672"/>
                <a:gd name="T36" fmla="*/ 7 w 743"/>
                <a:gd name="T37" fmla="*/ 6 h 672"/>
                <a:gd name="T38" fmla="*/ 8 w 743"/>
                <a:gd name="T39" fmla="*/ 5 h 672"/>
                <a:gd name="T40" fmla="*/ 8 w 743"/>
                <a:gd name="T41" fmla="*/ 5 h 672"/>
                <a:gd name="T42" fmla="*/ 8 w 743"/>
                <a:gd name="T43" fmla="*/ 5 h 672"/>
                <a:gd name="T44" fmla="*/ 8 w 743"/>
                <a:gd name="T45" fmla="*/ 4 h 672"/>
                <a:gd name="T46" fmla="*/ 8 w 743"/>
                <a:gd name="T47" fmla="*/ 4 h 672"/>
                <a:gd name="T48" fmla="*/ 8 w 743"/>
                <a:gd name="T49" fmla="*/ 3 h 672"/>
                <a:gd name="T50" fmla="*/ 9 w 743"/>
                <a:gd name="T51" fmla="*/ 3 h 672"/>
                <a:gd name="T52" fmla="*/ 9 w 743"/>
                <a:gd name="T53" fmla="*/ 3 h 672"/>
                <a:gd name="T54" fmla="*/ 8 w 743"/>
                <a:gd name="T55" fmla="*/ 2 h 672"/>
                <a:gd name="T56" fmla="*/ 8 w 743"/>
                <a:gd name="T57" fmla="*/ 2 h 672"/>
                <a:gd name="T58" fmla="*/ 8 w 743"/>
                <a:gd name="T59" fmla="*/ 2 h 672"/>
                <a:gd name="T60" fmla="*/ 8 w 743"/>
                <a:gd name="T61" fmla="*/ 2 h 672"/>
                <a:gd name="T62" fmla="*/ 7 w 743"/>
                <a:gd name="T63" fmla="*/ 2 h 672"/>
                <a:gd name="T64" fmla="*/ 7 w 743"/>
                <a:gd name="T65" fmla="*/ 1 h 672"/>
                <a:gd name="T66" fmla="*/ 7 w 743"/>
                <a:gd name="T67" fmla="*/ 1 h 672"/>
                <a:gd name="T68" fmla="*/ 6 w 743"/>
                <a:gd name="T69" fmla="*/ 1 h 672"/>
                <a:gd name="T70" fmla="*/ 6 w 743"/>
                <a:gd name="T71" fmla="*/ 1 h 672"/>
                <a:gd name="T72" fmla="*/ 6 w 743"/>
                <a:gd name="T73" fmla="*/ 1 h 672"/>
                <a:gd name="T74" fmla="*/ 5 w 743"/>
                <a:gd name="T75" fmla="*/ 1 h 672"/>
                <a:gd name="T76" fmla="*/ 5 w 743"/>
                <a:gd name="T77" fmla="*/ 1 h 672"/>
                <a:gd name="T78" fmla="*/ 5 w 743"/>
                <a:gd name="T79" fmla="*/ 1 h 672"/>
                <a:gd name="T80" fmla="*/ 4 w 743"/>
                <a:gd name="T81" fmla="*/ 1 h 672"/>
                <a:gd name="T82" fmla="*/ 4 w 743"/>
                <a:gd name="T83" fmla="*/ 1 h 672"/>
                <a:gd name="T84" fmla="*/ 4 w 743"/>
                <a:gd name="T85" fmla="*/ 1 h 672"/>
                <a:gd name="T86" fmla="*/ 3 w 743"/>
                <a:gd name="T87" fmla="*/ 1 h 672"/>
                <a:gd name="T88" fmla="*/ 3 w 743"/>
                <a:gd name="T89" fmla="*/ 1 h 672"/>
                <a:gd name="T90" fmla="*/ 2 w 743"/>
                <a:gd name="T91" fmla="*/ 0 h 672"/>
                <a:gd name="T92" fmla="*/ 2 w 743"/>
                <a:gd name="T93" fmla="*/ 0 h 672"/>
                <a:gd name="T94" fmla="*/ 2 w 743"/>
                <a:gd name="T95" fmla="*/ 1 h 672"/>
                <a:gd name="T96" fmla="*/ 1 w 743"/>
                <a:gd name="T97" fmla="*/ 1 h 672"/>
                <a:gd name="T98" fmla="*/ 1 w 743"/>
                <a:gd name="T99" fmla="*/ 2 h 672"/>
                <a:gd name="T100" fmla="*/ 1 w 743"/>
                <a:gd name="T101" fmla="*/ 2 h 672"/>
                <a:gd name="T102" fmla="*/ 1 w 743"/>
                <a:gd name="T103" fmla="*/ 2 h 672"/>
                <a:gd name="T104" fmla="*/ 1 w 743"/>
                <a:gd name="T105" fmla="*/ 2 h 672"/>
                <a:gd name="T106" fmla="*/ 1 w 743"/>
                <a:gd name="T107" fmla="*/ 2 h 672"/>
                <a:gd name="T108" fmla="*/ 1 w 743"/>
                <a:gd name="T109" fmla="*/ 1 h 672"/>
                <a:gd name="T110" fmla="*/ 1 w 743"/>
                <a:gd name="T111" fmla="*/ 1 h 672"/>
                <a:gd name="T112" fmla="*/ 1 w 743"/>
                <a:gd name="T113" fmla="*/ 0 h 672"/>
                <a:gd name="T114" fmla="*/ 1 w 743"/>
                <a:gd name="T115" fmla="*/ 0 h 672"/>
                <a:gd name="T116" fmla="*/ 0 w 743"/>
                <a:gd name="T117" fmla="*/ 1 h 672"/>
                <a:gd name="T118" fmla="*/ 0 w 743"/>
                <a:gd name="T119" fmla="*/ 1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grpSp>
      <p:sp>
        <p:nvSpPr>
          <p:cNvPr id="2145" name="Freeform 169"/>
          <p:cNvSpPr>
            <a:spLocks/>
          </p:cNvSpPr>
          <p:nvPr>
            <p:custDataLst>
              <p:tags r:id="rId96"/>
            </p:custDataLst>
          </p:nvPr>
        </p:nvSpPr>
        <p:spPr bwMode="auto">
          <a:xfrm>
            <a:off x="7215188" y="4786313"/>
            <a:ext cx="31750" cy="11112"/>
          </a:xfrm>
          <a:custGeom>
            <a:avLst/>
            <a:gdLst>
              <a:gd name="T0" fmla="*/ 0 w 79"/>
              <a:gd name="T1" fmla="*/ 2147483647 h 23"/>
              <a:gd name="T2" fmla="*/ 2147483647 w 79"/>
              <a:gd name="T3" fmla="*/ 2147483647 h 23"/>
              <a:gd name="T4" fmla="*/ 2147483647 w 79"/>
              <a:gd name="T5" fmla="*/ 2147483647 h 23"/>
              <a:gd name="T6" fmla="*/ 2147483647 w 79"/>
              <a:gd name="T7" fmla="*/ 2147483647 h 23"/>
              <a:gd name="T8" fmla="*/ 2147483647 w 79"/>
              <a:gd name="T9" fmla="*/ 0 h 23"/>
              <a:gd name="T10" fmla="*/ 2147483647 w 79"/>
              <a:gd name="T11" fmla="*/ 0 h 23"/>
              <a:gd name="T12" fmla="*/ 2147483647 w 79"/>
              <a:gd name="T13" fmla="*/ 2147483647 h 23"/>
              <a:gd name="T14" fmla="*/ 2147483647 w 79"/>
              <a:gd name="T15" fmla="*/ 2147483647 h 23"/>
              <a:gd name="T16" fmla="*/ 2147483647 w 79"/>
              <a:gd name="T17" fmla="*/ 2147483647 h 23"/>
              <a:gd name="T18" fmla="*/ 2147483647 w 79"/>
              <a:gd name="T19" fmla="*/ 2147483647 h 23"/>
              <a:gd name="T20" fmla="*/ 2147483647 w 79"/>
              <a:gd name="T21" fmla="*/ 2147483647 h 23"/>
              <a:gd name="T22" fmla="*/ 2147483647 w 79"/>
              <a:gd name="T23" fmla="*/ 2147483647 h 23"/>
              <a:gd name="T24" fmla="*/ 2147483647 w 79"/>
              <a:gd name="T25" fmla="*/ 2147483647 h 23"/>
              <a:gd name="T26" fmla="*/ 2147483647 w 79"/>
              <a:gd name="T27" fmla="*/ 2147483647 h 23"/>
              <a:gd name="T28" fmla="*/ 2147483647 w 79"/>
              <a:gd name="T29" fmla="*/ 2147483647 h 23"/>
              <a:gd name="T30" fmla="*/ 2147483647 w 79"/>
              <a:gd name="T31" fmla="*/ 2147483647 h 23"/>
              <a:gd name="T32" fmla="*/ 2147483647 w 79"/>
              <a:gd name="T33" fmla="*/ 2147483647 h 23"/>
              <a:gd name="T34" fmla="*/ 2147483647 w 79"/>
              <a:gd name="T35" fmla="*/ 2147483647 h 23"/>
              <a:gd name="T36" fmla="*/ 2147483647 w 79"/>
              <a:gd name="T37" fmla="*/ 2147483647 h 23"/>
              <a:gd name="T38" fmla="*/ 2147483647 w 79"/>
              <a:gd name="T39" fmla="*/ 2147483647 h 23"/>
              <a:gd name="T40" fmla="*/ 2147483647 w 79"/>
              <a:gd name="T41" fmla="*/ 2147483647 h 23"/>
              <a:gd name="T42" fmla="*/ 2147483647 w 79"/>
              <a:gd name="T43" fmla="*/ 2147483647 h 23"/>
              <a:gd name="T44" fmla="*/ 2147483647 w 79"/>
              <a:gd name="T45" fmla="*/ 2147483647 h 23"/>
              <a:gd name="T46" fmla="*/ 2147483647 w 79"/>
              <a:gd name="T47" fmla="*/ 2147483647 h 23"/>
              <a:gd name="T48" fmla="*/ 0 w 79"/>
              <a:gd name="T49" fmla="*/ 2147483647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mpd="sng">
            <a:solidFill>
              <a:srgbClr val="FFFFFF"/>
            </a:solidFill>
            <a:prstDash val="solid"/>
            <a:round/>
            <a:headEnd/>
            <a:tailEnd/>
          </a:ln>
        </p:spPr>
        <p:txBody>
          <a:bodyPr/>
          <a:lstStyle/>
          <a:p>
            <a:endParaRPr lang="en-AU"/>
          </a:p>
        </p:txBody>
      </p:sp>
      <p:sp>
        <p:nvSpPr>
          <p:cNvPr id="2146" name="Freeform 170"/>
          <p:cNvSpPr>
            <a:spLocks/>
          </p:cNvSpPr>
          <p:nvPr>
            <p:custDataLst>
              <p:tags r:id="rId97"/>
            </p:custDataLst>
          </p:nvPr>
        </p:nvSpPr>
        <p:spPr bwMode="auto">
          <a:xfrm>
            <a:off x="7331075" y="4919663"/>
            <a:ext cx="1588" cy="4762"/>
          </a:xfrm>
          <a:custGeom>
            <a:avLst/>
            <a:gdLst>
              <a:gd name="T0" fmla="*/ 0 w 1588"/>
              <a:gd name="T1" fmla="*/ 0 h 6"/>
              <a:gd name="T2" fmla="*/ 0 w 1588"/>
              <a:gd name="T3" fmla="*/ 2147483647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solidFill>
            <a:srgbClr val="C0C0C0"/>
          </a:solidFill>
          <a:ln w="9525" cmpd="sng">
            <a:solidFill>
              <a:srgbClr val="FFFFFF"/>
            </a:solidFill>
            <a:prstDash val="solid"/>
            <a:round/>
            <a:headEnd/>
            <a:tailEnd/>
          </a:ln>
        </p:spPr>
        <p:txBody>
          <a:bodyPr/>
          <a:lstStyle/>
          <a:p>
            <a:endParaRPr lang="en-AU"/>
          </a:p>
        </p:txBody>
      </p:sp>
      <p:sp>
        <p:nvSpPr>
          <p:cNvPr id="2147" name="Line 171"/>
          <p:cNvSpPr>
            <a:spLocks noChangeShapeType="1"/>
          </p:cNvSpPr>
          <p:nvPr>
            <p:custDataLst>
              <p:tags r:id="rId98"/>
            </p:custDataLst>
          </p:nvPr>
        </p:nvSpPr>
        <p:spPr bwMode="auto">
          <a:xfrm flipV="1">
            <a:off x="7421563" y="4918075"/>
            <a:ext cx="1587" cy="12700"/>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AU"/>
          </a:p>
        </p:txBody>
      </p:sp>
      <p:sp>
        <p:nvSpPr>
          <p:cNvPr id="2148" name="Freeform 172"/>
          <p:cNvSpPr>
            <a:spLocks/>
          </p:cNvSpPr>
          <p:nvPr>
            <p:custDataLst>
              <p:tags r:id="rId99"/>
            </p:custDataLst>
          </p:nvPr>
        </p:nvSpPr>
        <p:spPr bwMode="auto">
          <a:xfrm>
            <a:off x="7421563" y="4918075"/>
            <a:ext cx="3175" cy="15875"/>
          </a:xfrm>
          <a:custGeom>
            <a:avLst/>
            <a:gdLst>
              <a:gd name="T0" fmla="*/ 0 w 5"/>
              <a:gd name="T1" fmla="*/ 0 h 30"/>
              <a:gd name="T2" fmla="*/ 2147483647 w 5"/>
              <a:gd name="T3" fmla="*/ 2147483647 h 30"/>
              <a:gd name="T4" fmla="*/ 2147483647 w 5"/>
              <a:gd name="T5" fmla="*/ 2147483647 h 30"/>
              <a:gd name="T6" fmla="*/ 2147483647 w 5"/>
              <a:gd name="T7" fmla="*/ 2147483647 h 30"/>
              <a:gd name="T8" fmla="*/ 2147483647 w 5"/>
              <a:gd name="T9" fmla="*/ 2147483647 h 30"/>
              <a:gd name="T10" fmla="*/ 2147483647 w 5"/>
              <a:gd name="T11" fmla="*/ 2147483647 h 30"/>
              <a:gd name="T12" fmla="*/ 2147483647 w 5"/>
              <a:gd name="T13" fmla="*/ 2147483647 h 30"/>
              <a:gd name="T14" fmla="*/ 2147483647 w 5"/>
              <a:gd name="T15" fmla="*/ 2147483647 h 30"/>
              <a:gd name="T16" fmla="*/ 0 w 5"/>
              <a:gd name="T17" fmla="*/ 2147483647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mpd="sng">
            <a:solidFill>
              <a:srgbClr val="FFFFFF"/>
            </a:solidFill>
            <a:prstDash val="solid"/>
            <a:round/>
            <a:headEnd/>
            <a:tailEnd/>
          </a:ln>
        </p:spPr>
        <p:txBody>
          <a:bodyPr/>
          <a:lstStyle/>
          <a:p>
            <a:endParaRPr lang="en-AU"/>
          </a:p>
        </p:txBody>
      </p:sp>
      <p:sp>
        <p:nvSpPr>
          <p:cNvPr id="2149" name="Freeform 173"/>
          <p:cNvSpPr>
            <a:spLocks/>
          </p:cNvSpPr>
          <p:nvPr>
            <p:custDataLst>
              <p:tags r:id="rId100"/>
            </p:custDataLst>
          </p:nvPr>
        </p:nvSpPr>
        <p:spPr bwMode="auto">
          <a:xfrm>
            <a:off x="7720013" y="4387850"/>
            <a:ext cx="22225" cy="28575"/>
          </a:xfrm>
          <a:custGeom>
            <a:avLst/>
            <a:gdLst>
              <a:gd name="T0" fmla="*/ 0 w 53"/>
              <a:gd name="T1" fmla="*/ 2147483647 h 55"/>
              <a:gd name="T2" fmla="*/ 2147483647 w 53"/>
              <a:gd name="T3" fmla="*/ 2147483647 h 55"/>
              <a:gd name="T4" fmla="*/ 2147483647 w 53"/>
              <a:gd name="T5" fmla="*/ 2147483647 h 55"/>
              <a:gd name="T6" fmla="*/ 2147483647 w 53"/>
              <a:gd name="T7" fmla="*/ 2147483647 h 55"/>
              <a:gd name="T8" fmla="*/ 2147483647 w 53"/>
              <a:gd name="T9" fmla="*/ 2147483647 h 55"/>
              <a:gd name="T10" fmla="*/ 2147483647 w 53"/>
              <a:gd name="T11" fmla="*/ 2147483647 h 55"/>
              <a:gd name="T12" fmla="*/ 2147483647 w 53"/>
              <a:gd name="T13" fmla="*/ 2147483647 h 55"/>
              <a:gd name="T14" fmla="*/ 2147483647 w 53"/>
              <a:gd name="T15" fmla="*/ 2147483647 h 55"/>
              <a:gd name="T16" fmla="*/ 2147483647 w 53"/>
              <a:gd name="T17" fmla="*/ 2147483647 h 55"/>
              <a:gd name="T18" fmla="*/ 2147483647 w 53"/>
              <a:gd name="T19" fmla="*/ 2147483647 h 55"/>
              <a:gd name="T20" fmla="*/ 2147483647 w 53"/>
              <a:gd name="T21" fmla="*/ 2147483647 h 55"/>
              <a:gd name="T22" fmla="*/ 2147483647 w 53"/>
              <a:gd name="T23" fmla="*/ 2147483647 h 55"/>
              <a:gd name="T24" fmla="*/ 2147483647 w 53"/>
              <a:gd name="T25" fmla="*/ 2147483647 h 55"/>
              <a:gd name="T26" fmla="*/ 2147483647 w 53"/>
              <a:gd name="T27" fmla="*/ 0 h 55"/>
              <a:gd name="T28" fmla="*/ 2147483647 w 53"/>
              <a:gd name="T29" fmla="*/ 2147483647 h 55"/>
              <a:gd name="T30" fmla="*/ 0 w 53"/>
              <a:gd name="T31" fmla="*/ 2147483647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mpd="sng">
            <a:solidFill>
              <a:srgbClr val="FFFFFF"/>
            </a:solidFill>
            <a:prstDash val="solid"/>
            <a:round/>
            <a:headEnd/>
            <a:tailEnd/>
          </a:ln>
        </p:spPr>
        <p:txBody>
          <a:bodyPr/>
          <a:lstStyle/>
          <a:p>
            <a:endParaRPr lang="en-AU"/>
          </a:p>
        </p:txBody>
      </p:sp>
      <p:sp>
        <p:nvSpPr>
          <p:cNvPr id="2150" name="Freeform 174"/>
          <p:cNvSpPr>
            <a:spLocks/>
          </p:cNvSpPr>
          <p:nvPr>
            <p:custDataLst>
              <p:tags r:id="rId101"/>
            </p:custDataLst>
          </p:nvPr>
        </p:nvSpPr>
        <p:spPr bwMode="auto">
          <a:xfrm>
            <a:off x="7726363" y="4314825"/>
            <a:ext cx="26987" cy="39688"/>
          </a:xfrm>
          <a:custGeom>
            <a:avLst/>
            <a:gdLst>
              <a:gd name="T0" fmla="*/ 0 w 65"/>
              <a:gd name="T1" fmla="*/ 2147483647 h 75"/>
              <a:gd name="T2" fmla="*/ 2147483647 w 65"/>
              <a:gd name="T3" fmla="*/ 2147483647 h 75"/>
              <a:gd name="T4" fmla="*/ 2147483647 w 65"/>
              <a:gd name="T5" fmla="*/ 2147483647 h 75"/>
              <a:gd name="T6" fmla="*/ 2147483647 w 65"/>
              <a:gd name="T7" fmla="*/ 2147483647 h 75"/>
              <a:gd name="T8" fmla="*/ 2147483647 w 65"/>
              <a:gd name="T9" fmla="*/ 2147483647 h 75"/>
              <a:gd name="T10" fmla="*/ 2147483647 w 65"/>
              <a:gd name="T11" fmla="*/ 2147483647 h 75"/>
              <a:gd name="T12" fmla="*/ 2147483647 w 65"/>
              <a:gd name="T13" fmla="*/ 2147483647 h 75"/>
              <a:gd name="T14" fmla="*/ 2147483647 w 65"/>
              <a:gd name="T15" fmla="*/ 2147483647 h 75"/>
              <a:gd name="T16" fmla="*/ 2147483647 w 65"/>
              <a:gd name="T17" fmla="*/ 2147483647 h 75"/>
              <a:gd name="T18" fmla="*/ 2147483647 w 65"/>
              <a:gd name="T19" fmla="*/ 2147483647 h 75"/>
              <a:gd name="T20" fmla="*/ 2147483647 w 65"/>
              <a:gd name="T21" fmla="*/ 2147483647 h 75"/>
              <a:gd name="T22" fmla="*/ 2147483647 w 65"/>
              <a:gd name="T23" fmla="*/ 2147483647 h 75"/>
              <a:gd name="T24" fmla="*/ 2147483647 w 65"/>
              <a:gd name="T25" fmla="*/ 2147483647 h 75"/>
              <a:gd name="T26" fmla="*/ 2147483647 w 65"/>
              <a:gd name="T27" fmla="*/ 2147483647 h 75"/>
              <a:gd name="T28" fmla="*/ 2147483647 w 65"/>
              <a:gd name="T29" fmla="*/ 2147483647 h 75"/>
              <a:gd name="T30" fmla="*/ 2147483647 w 65"/>
              <a:gd name="T31" fmla="*/ 2147483647 h 75"/>
              <a:gd name="T32" fmla="*/ 2147483647 w 65"/>
              <a:gd name="T33" fmla="*/ 2147483647 h 75"/>
              <a:gd name="T34" fmla="*/ 2147483647 w 65"/>
              <a:gd name="T35" fmla="*/ 2147483647 h 75"/>
              <a:gd name="T36" fmla="*/ 2147483647 w 65"/>
              <a:gd name="T37" fmla="*/ 0 h 75"/>
              <a:gd name="T38" fmla="*/ 2147483647 w 65"/>
              <a:gd name="T39" fmla="*/ 0 h 75"/>
              <a:gd name="T40" fmla="*/ 2147483647 w 65"/>
              <a:gd name="T41" fmla="*/ 0 h 75"/>
              <a:gd name="T42" fmla="*/ 2147483647 w 65"/>
              <a:gd name="T43" fmla="*/ 2147483647 h 75"/>
              <a:gd name="T44" fmla="*/ 2147483647 w 65"/>
              <a:gd name="T45" fmla="*/ 2147483647 h 75"/>
              <a:gd name="T46" fmla="*/ 2147483647 w 65"/>
              <a:gd name="T47" fmla="*/ 2147483647 h 75"/>
              <a:gd name="T48" fmla="*/ 2147483647 w 65"/>
              <a:gd name="T49" fmla="*/ 2147483647 h 75"/>
              <a:gd name="T50" fmla="*/ 2147483647 w 65"/>
              <a:gd name="T51" fmla="*/ 2147483647 h 75"/>
              <a:gd name="T52" fmla="*/ 2147483647 w 65"/>
              <a:gd name="T53" fmla="*/ 2147483647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mpd="sng">
            <a:solidFill>
              <a:srgbClr val="FFFFFF"/>
            </a:solidFill>
            <a:prstDash val="solid"/>
            <a:round/>
            <a:headEnd/>
            <a:tailEnd/>
          </a:ln>
        </p:spPr>
        <p:txBody>
          <a:bodyPr/>
          <a:lstStyle/>
          <a:p>
            <a:endParaRPr lang="en-AU"/>
          </a:p>
        </p:txBody>
      </p:sp>
      <p:sp>
        <p:nvSpPr>
          <p:cNvPr id="2151" name="Freeform 175"/>
          <p:cNvSpPr>
            <a:spLocks/>
          </p:cNvSpPr>
          <p:nvPr>
            <p:custDataLst>
              <p:tags r:id="rId102"/>
            </p:custDataLst>
          </p:nvPr>
        </p:nvSpPr>
        <p:spPr bwMode="auto">
          <a:xfrm>
            <a:off x="7702550" y="4291013"/>
            <a:ext cx="17463" cy="30162"/>
          </a:xfrm>
          <a:custGeom>
            <a:avLst/>
            <a:gdLst>
              <a:gd name="T0" fmla="*/ 0 w 40"/>
              <a:gd name="T1" fmla="*/ 2147483647 h 62"/>
              <a:gd name="T2" fmla="*/ 2147483647 w 40"/>
              <a:gd name="T3" fmla="*/ 2147483647 h 62"/>
              <a:gd name="T4" fmla="*/ 2147483647 w 40"/>
              <a:gd name="T5" fmla="*/ 2147483647 h 62"/>
              <a:gd name="T6" fmla="*/ 2147483647 w 40"/>
              <a:gd name="T7" fmla="*/ 2147483647 h 62"/>
              <a:gd name="T8" fmla="*/ 2147483647 w 40"/>
              <a:gd name="T9" fmla="*/ 2147483647 h 62"/>
              <a:gd name="T10" fmla="*/ 2147483647 w 40"/>
              <a:gd name="T11" fmla="*/ 2147483647 h 62"/>
              <a:gd name="T12" fmla="*/ 2147483647 w 40"/>
              <a:gd name="T13" fmla="*/ 2147483647 h 62"/>
              <a:gd name="T14" fmla="*/ 2147483647 w 40"/>
              <a:gd name="T15" fmla="*/ 2147483647 h 62"/>
              <a:gd name="T16" fmla="*/ 2147483647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mpd="sng">
            <a:solidFill>
              <a:srgbClr val="FFFFFF"/>
            </a:solidFill>
            <a:prstDash val="solid"/>
            <a:round/>
            <a:headEnd/>
            <a:tailEnd/>
          </a:ln>
        </p:spPr>
        <p:txBody>
          <a:bodyPr/>
          <a:lstStyle/>
          <a:p>
            <a:endParaRPr lang="en-AU"/>
          </a:p>
        </p:txBody>
      </p:sp>
      <p:sp>
        <p:nvSpPr>
          <p:cNvPr id="2152" name="Freeform 176"/>
          <p:cNvSpPr>
            <a:spLocks/>
          </p:cNvSpPr>
          <p:nvPr>
            <p:custDataLst>
              <p:tags r:id="rId103"/>
            </p:custDataLst>
          </p:nvPr>
        </p:nvSpPr>
        <p:spPr bwMode="auto">
          <a:xfrm>
            <a:off x="7621588" y="4168775"/>
            <a:ext cx="68262" cy="138113"/>
          </a:xfrm>
          <a:custGeom>
            <a:avLst/>
            <a:gdLst>
              <a:gd name="T0" fmla="*/ 2147483647 w 159"/>
              <a:gd name="T1" fmla="*/ 2147483647 h 259"/>
              <a:gd name="T2" fmla="*/ 2147483647 w 159"/>
              <a:gd name="T3" fmla="*/ 2147483647 h 259"/>
              <a:gd name="T4" fmla="*/ 2147483647 w 159"/>
              <a:gd name="T5" fmla="*/ 2147483647 h 259"/>
              <a:gd name="T6" fmla="*/ 2147483647 w 159"/>
              <a:gd name="T7" fmla="*/ 2147483647 h 259"/>
              <a:gd name="T8" fmla="*/ 2147483647 w 159"/>
              <a:gd name="T9" fmla="*/ 2147483647 h 259"/>
              <a:gd name="T10" fmla="*/ 2147483647 w 159"/>
              <a:gd name="T11" fmla="*/ 2147483647 h 259"/>
              <a:gd name="T12" fmla="*/ 2147483647 w 159"/>
              <a:gd name="T13" fmla="*/ 2147483647 h 259"/>
              <a:gd name="T14" fmla="*/ 2147483647 w 159"/>
              <a:gd name="T15" fmla="*/ 2147483647 h 259"/>
              <a:gd name="T16" fmla="*/ 2147483647 w 159"/>
              <a:gd name="T17" fmla="*/ 2147483647 h 259"/>
              <a:gd name="T18" fmla="*/ 2147483647 w 159"/>
              <a:gd name="T19" fmla="*/ 2147483647 h 259"/>
              <a:gd name="T20" fmla="*/ 2147483647 w 159"/>
              <a:gd name="T21" fmla="*/ 2147483647 h 259"/>
              <a:gd name="T22" fmla="*/ 2147483647 w 159"/>
              <a:gd name="T23" fmla="*/ 2147483647 h 259"/>
              <a:gd name="T24" fmla="*/ 2147483647 w 159"/>
              <a:gd name="T25" fmla="*/ 2147483647 h 259"/>
              <a:gd name="T26" fmla="*/ 2147483647 w 159"/>
              <a:gd name="T27" fmla="*/ 2147483647 h 259"/>
              <a:gd name="T28" fmla="*/ 2147483647 w 159"/>
              <a:gd name="T29" fmla="*/ 2147483647 h 259"/>
              <a:gd name="T30" fmla="*/ 2147483647 w 159"/>
              <a:gd name="T31" fmla="*/ 2147483647 h 259"/>
              <a:gd name="T32" fmla="*/ 2147483647 w 159"/>
              <a:gd name="T33" fmla="*/ 2147483647 h 259"/>
              <a:gd name="T34" fmla="*/ 2147483647 w 159"/>
              <a:gd name="T35" fmla="*/ 2147483647 h 259"/>
              <a:gd name="T36" fmla="*/ 2147483647 w 159"/>
              <a:gd name="T37" fmla="*/ 2147483647 h 259"/>
              <a:gd name="T38" fmla="*/ 2147483647 w 159"/>
              <a:gd name="T39" fmla="*/ 2147483647 h 259"/>
              <a:gd name="T40" fmla="*/ 2147483647 w 159"/>
              <a:gd name="T41" fmla="*/ 2147483647 h 259"/>
              <a:gd name="T42" fmla="*/ 2147483647 w 159"/>
              <a:gd name="T43" fmla="*/ 2147483647 h 259"/>
              <a:gd name="T44" fmla="*/ 2147483647 w 159"/>
              <a:gd name="T45" fmla="*/ 2147483647 h 259"/>
              <a:gd name="T46" fmla="*/ 2147483647 w 159"/>
              <a:gd name="T47" fmla="*/ 2147483647 h 259"/>
              <a:gd name="T48" fmla="*/ 2147483647 w 159"/>
              <a:gd name="T49" fmla="*/ 2147483647 h 259"/>
              <a:gd name="T50" fmla="*/ 2147483647 w 159"/>
              <a:gd name="T51" fmla="*/ 2147483647 h 259"/>
              <a:gd name="T52" fmla="*/ 2147483647 w 159"/>
              <a:gd name="T53" fmla="*/ 2147483647 h 259"/>
              <a:gd name="T54" fmla="*/ 2147483647 w 159"/>
              <a:gd name="T55" fmla="*/ 2147483647 h 259"/>
              <a:gd name="T56" fmla="*/ 2147483647 w 159"/>
              <a:gd name="T57" fmla="*/ 2147483647 h 259"/>
              <a:gd name="T58" fmla="*/ 2147483647 w 159"/>
              <a:gd name="T59" fmla="*/ 2147483647 h 259"/>
              <a:gd name="T60" fmla="*/ 2147483647 w 159"/>
              <a:gd name="T61" fmla="*/ 2147483647 h 259"/>
              <a:gd name="T62" fmla="*/ 2147483647 w 159"/>
              <a:gd name="T63" fmla="*/ 2147483647 h 259"/>
              <a:gd name="T64" fmla="*/ 2147483647 w 159"/>
              <a:gd name="T65" fmla="*/ 2147483647 h 259"/>
              <a:gd name="T66" fmla="*/ 2147483647 w 159"/>
              <a:gd name="T67" fmla="*/ 2147483647 h 259"/>
              <a:gd name="T68" fmla="*/ 2147483647 w 159"/>
              <a:gd name="T69" fmla="*/ 2147483647 h 259"/>
              <a:gd name="T70" fmla="*/ 0 w 159"/>
              <a:gd name="T71" fmla="*/ 2147483647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mpd="sng">
            <a:solidFill>
              <a:srgbClr val="FFFFFF"/>
            </a:solidFill>
            <a:prstDash val="solid"/>
            <a:round/>
            <a:headEnd/>
            <a:tailEnd/>
          </a:ln>
        </p:spPr>
        <p:txBody>
          <a:bodyPr/>
          <a:lstStyle/>
          <a:p>
            <a:endParaRPr lang="en-AU"/>
          </a:p>
        </p:txBody>
      </p:sp>
      <p:sp>
        <p:nvSpPr>
          <p:cNvPr id="2153" name="Line 177"/>
          <p:cNvSpPr>
            <a:spLocks noChangeShapeType="1"/>
          </p:cNvSpPr>
          <p:nvPr>
            <p:custDataLst>
              <p:tags r:id="rId104"/>
            </p:custDataLst>
          </p:nvPr>
        </p:nvSpPr>
        <p:spPr bwMode="auto">
          <a:xfrm flipH="1" flipV="1">
            <a:off x="7615238" y="4135438"/>
            <a:ext cx="6350" cy="33337"/>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AU"/>
          </a:p>
        </p:txBody>
      </p:sp>
      <p:sp>
        <p:nvSpPr>
          <p:cNvPr id="2154" name="Freeform 178"/>
          <p:cNvSpPr>
            <a:spLocks/>
          </p:cNvSpPr>
          <p:nvPr>
            <p:custDataLst>
              <p:tags r:id="rId105"/>
            </p:custDataLst>
          </p:nvPr>
        </p:nvSpPr>
        <p:spPr bwMode="auto">
          <a:xfrm>
            <a:off x="7615238" y="4119563"/>
            <a:ext cx="6350" cy="15875"/>
          </a:xfrm>
          <a:custGeom>
            <a:avLst/>
            <a:gdLst>
              <a:gd name="T0" fmla="*/ 0 w 13"/>
              <a:gd name="T1" fmla="*/ 2147483647 h 25"/>
              <a:gd name="T2" fmla="*/ 2147483647 w 13"/>
              <a:gd name="T3" fmla="*/ 2147483647 h 25"/>
              <a:gd name="T4" fmla="*/ 2147483647 w 13"/>
              <a:gd name="T5" fmla="*/ 2147483647 h 25"/>
              <a:gd name="T6" fmla="*/ 2147483647 w 13"/>
              <a:gd name="T7" fmla="*/ 2147483647 h 25"/>
              <a:gd name="T8" fmla="*/ 2147483647 w 13"/>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5">
                <a:moveTo>
                  <a:pt x="0" y="25"/>
                </a:moveTo>
                <a:lnTo>
                  <a:pt x="1" y="19"/>
                </a:lnTo>
                <a:lnTo>
                  <a:pt x="4" y="13"/>
                </a:lnTo>
                <a:lnTo>
                  <a:pt x="8" y="6"/>
                </a:lnTo>
                <a:lnTo>
                  <a:pt x="13" y="0"/>
                </a:lnTo>
              </a:path>
            </a:pathLst>
          </a:custGeom>
          <a:solidFill>
            <a:srgbClr val="C0C0C0"/>
          </a:solidFill>
          <a:ln w="9525" cmpd="sng">
            <a:solidFill>
              <a:srgbClr val="FFFFFF"/>
            </a:solidFill>
            <a:prstDash val="solid"/>
            <a:round/>
            <a:headEnd/>
            <a:tailEnd/>
          </a:ln>
        </p:spPr>
        <p:txBody>
          <a:bodyPr/>
          <a:lstStyle/>
          <a:p>
            <a:endParaRPr lang="en-AU"/>
          </a:p>
        </p:txBody>
      </p:sp>
      <p:sp>
        <p:nvSpPr>
          <p:cNvPr id="2155" name="Line 179"/>
          <p:cNvSpPr>
            <a:spLocks noChangeShapeType="1"/>
          </p:cNvSpPr>
          <p:nvPr>
            <p:custDataLst>
              <p:tags r:id="rId106"/>
            </p:custDataLst>
          </p:nvPr>
        </p:nvSpPr>
        <p:spPr bwMode="auto">
          <a:xfrm flipV="1">
            <a:off x="7621588" y="4106863"/>
            <a:ext cx="0" cy="12700"/>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AU"/>
          </a:p>
        </p:txBody>
      </p:sp>
      <p:sp>
        <p:nvSpPr>
          <p:cNvPr id="2156" name="Freeform 180"/>
          <p:cNvSpPr>
            <a:spLocks/>
          </p:cNvSpPr>
          <p:nvPr>
            <p:custDataLst>
              <p:tags r:id="rId107"/>
            </p:custDataLst>
          </p:nvPr>
        </p:nvSpPr>
        <p:spPr bwMode="auto">
          <a:xfrm>
            <a:off x="7575550" y="4040188"/>
            <a:ext cx="46038" cy="66675"/>
          </a:xfrm>
          <a:custGeom>
            <a:avLst/>
            <a:gdLst>
              <a:gd name="T0" fmla="*/ 2147483647 w 100"/>
              <a:gd name="T1" fmla="*/ 2147483647 h 123"/>
              <a:gd name="T2" fmla="*/ 2147483647 w 100"/>
              <a:gd name="T3" fmla="*/ 2147483647 h 123"/>
              <a:gd name="T4" fmla="*/ 2147483647 w 100"/>
              <a:gd name="T5" fmla="*/ 2147483647 h 123"/>
              <a:gd name="T6" fmla="*/ 2147483647 w 100"/>
              <a:gd name="T7" fmla="*/ 2147483647 h 123"/>
              <a:gd name="T8" fmla="*/ 2147483647 w 100"/>
              <a:gd name="T9" fmla="*/ 2147483647 h 123"/>
              <a:gd name="T10" fmla="*/ 2147483647 w 100"/>
              <a:gd name="T11" fmla="*/ 2147483647 h 123"/>
              <a:gd name="T12" fmla="*/ 2147483647 w 100"/>
              <a:gd name="T13" fmla="*/ 2147483647 h 123"/>
              <a:gd name="T14" fmla="*/ 2147483647 w 100"/>
              <a:gd name="T15" fmla="*/ 2147483647 h 123"/>
              <a:gd name="T16" fmla="*/ 2147483647 w 100"/>
              <a:gd name="T17" fmla="*/ 2147483647 h 123"/>
              <a:gd name="T18" fmla="*/ 2147483647 w 100"/>
              <a:gd name="T19" fmla="*/ 2147483647 h 123"/>
              <a:gd name="T20" fmla="*/ 2147483647 w 100"/>
              <a:gd name="T21" fmla="*/ 2147483647 h 123"/>
              <a:gd name="T22" fmla="*/ 2147483647 w 100"/>
              <a:gd name="T23" fmla="*/ 2147483647 h 123"/>
              <a:gd name="T24" fmla="*/ 0 w 100"/>
              <a:gd name="T25" fmla="*/ 2147483647 h 123"/>
              <a:gd name="T26" fmla="*/ 2147483647 w 100"/>
              <a:gd name="T27" fmla="*/ 2147483647 h 123"/>
              <a:gd name="T28" fmla="*/ 2147483647 w 100"/>
              <a:gd name="T29" fmla="*/ 2147483647 h 123"/>
              <a:gd name="T30" fmla="*/ 2147483647 w 100"/>
              <a:gd name="T31" fmla="*/ 2147483647 h 123"/>
              <a:gd name="T32" fmla="*/ 2147483647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mpd="sng">
            <a:solidFill>
              <a:srgbClr val="FFFFFF"/>
            </a:solidFill>
            <a:prstDash val="solid"/>
            <a:round/>
            <a:headEnd/>
            <a:tailEnd/>
          </a:ln>
        </p:spPr>
        <p:txBody>
          <a:bodyPr/>
          <a:lstStyle/>
          <a:p>
            <a:endParaRPr lang="en-AU"/>
          </a:p>
        </p:txBody>
      </p:sp>
      <p:sp>
        <p:nvSpPr>
          <p:cNvPr id="2157" name="Freeform 181"/>
          <p:cNvSpPr>
            <a:spLocks/>
          </p:cNvSpPr>
          <p:nvPr>
            <p:custDataLst>
              <p:tags r:id="rId108"/>
            </p:custDataLst>
          </p:nvPr>
        </p:nvSpPr>
        <p:spPr bwMode="auto">
          <a:xfrm>
            <a:off x="7589838" y="3983038"/>
            <a:ext cx="1587" cy="50800"/>
          </a:xfrm>
          <a:custGeom>
            <a:avLst/>
            <a:gdLst>
              <a:gd name="T0" fmla="*/ 2147483647 w 5"/>
              <a:gd name="T1" fmla="*/ 0 h 99"/>
              <a:gd name="T2" fmla="*/ 2147483647 w 5"/>
              <a:gd name="T3" fmla="*/ 2147483647 h 99"/>
              <a:gd name="T4" fmla="*/ 2147483647 w 5"/>
              <a:gd name="T5" fmla="*/ 2147483647 h 99"/>
              <a:gd name="T6" fmla="*/ 0 w 5"/>
              <a:gd name="T7" fmla="*/ 2147483647 h 99"/>
              <a:gd name="T8" fmla="*/ 0 w 5"/>
              <a:gd name="T9" fmla="*/ 2147483647 h 99"/>
              <a:gd name="T10" fmla="*/ 2147483647 w 5"/>
              <a:gd name="T11" fmla="*/ 2147483647 h 99"/>
              <a:gd name="T12" fmla="*/ 2147483647 w 5"/>
              <a:gd name="T13" fmla="*/ 2147483647 h 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99">
                <a:moveTo>
                  <a:pt x="5" y="0"/>
                </a:moveTo>
                <a:lnTo>
                  <a:pt x="4" y="34"/>
                </a:lnTo>
                <a:lnTo>
                  <a:pt x="1" y="59"/>
                </a:lnTo>
                <a:lnTo>
                  <a:pt x="0" y="69"/>
                </a:lnTo>
                <a:lnTo>
                  <a:pt x="0" y="78"/>
                </a:lnTo>
                <a:lnTo>
                  <a:pt x="2" y="87"/>
                </a:lnTo>
                <a:lnTo>
                  <a:pt x="5" y="99"/>
                </a:lnTo>
              </a:path>
            </a:pathLst>
          </a:custGeom>
          <a:solidFill>
            <a:srgbClr val="C0C0C0"/>
          </a:solidFill>
          <a:ln w="9525" cmpd="sng">
            <a:solidFill>
              <a:srgbClr val="FFFFFF"/>
            </a:solidFill>
            <a:prstDash val="solid"/>
            <a:round/>
            <a:headEnd/>
            <a:tailEnd/>
          </a:ln>
        </p:spPr>
        <p:txBody>
          <a:bodyPr/>
          <a:lstStyle/>
          <a:p>
            <a:endParaRPr lang="en-AU"/>
          </a:p>
        </p:txBody>
      </p:sp>
      <p:sp>
        <p:nvSpPr>
          <p:cNvPr id="2158" name="Freeform 182"/>
          <p:cNvSpPr>
            <a:spLocks/>
          </p:cNvSpPr>
          <p:nvPr>
            <p:custDataLst>
              <p:tags r:id="rId109"/>
            </p:custDataLst>
          </p:nvPr>
        </p:nvSpPr>
        <p:spPr bwMode="auto">
          <a:xfrm>
            <a:off x="7596188" y="3976688"/>
            <a:ext cx="7937" cy="36512"/>
          </a:xfrm>
          <a:custGeom>
            <a:avLst/>
            <a:gdLst>
              <a:gd name="T0" fmla="*/ 2147483647 w 14"/>
              <a:gd name="T1" fmla="*/ 0 h 68"/>
              <a:gd name="T2" fmla="*/ 2147483647 w 14"/>
              <a:gd name="T3" fmla="*/ 2147483647 h 68"/>
              <a:gd name="T4" fmla="*/ 2147483647 w 14"/>
              <a:gd name="T5" fmla="*/ 2147483647 h 68"/>
              <a:gd name="T6" fmla="*/ 2147483647 w 14"/>
              <a:gd name="T7" fmla="*/ 2147483647 h 68"/>
              <a:gd name="T8" fmla="*/ 0 w 14"/>
              <a:gd name="T9" fmla="*/ 2147483647 h 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68">
                <a:moveTo>
                  <a:pt x="14" y="0"/>
                </a:moveTo>
                <a:lnTo>
                  <a:pt x="8" y="16"/>
                </a:lnTo>
                <a:lnTo>
                  <a:pt x="4" y="33"/>
                </a:lnTo>
                <a:lnTo>
                  <a:pt x="2" y="52"/>
                </a:lnTo>
                <a:lnTo>
                  <a:pt x="0" y="68"/>
                </a:lnTo>
              </a:path>
            </a:pathLst>
          </a:custGeom>
          <a:solidFill>
            <a:srgbClr val="C0C0C0"/>
          </a:solidFill>
          <a:ln w="9525" cmpd="sng">
            <a:solidFill>
              <a:srgbClr val="FFFFFF"/>
            </a:solidFill>
            <a:prstDash val="solid"/>
            <a:round/>
            <a:headEnd/>
            <a:tailEnd/>
          </a:ln>
        </p:spPr>
        <p:txBody>
          <a:bodyPr/>
          <a:lstStyle/>
          <a:p>
            <a:endParaRPr lang="en-AU"/>
          </a:p>
        </p:txBody>
      </p:sp>
      <p:sp>
        <p:nvSpPr>
          <p:cNvPr id="2159" name="Freeform 183"/>
          <p:cNvSpPr>
            <a:spLocks/>
          </p:cNvSpPr>
          <p:nvPr>
            <p:custDataLst>
              <p:tags r:id="rId110"/>
            </p:custDataLst>
          </p:nvPr>
        </p:nvSpPr>
        <p:spPr bwMode="auto">
          <a:xfrm>
            <a:off x="7612063" y="3957638"/>
            <a:ext cx="1587" cy="22225"/>
          </a:xfrm>
          <a:custGeom>
            <a:avLst/>
            <a:gdLst>
              <a:gd name="T0" fmla="*/ 0 w 1587"/>
              <a:gd name="T1" fmla="*/ 0 h 43"/>
              <a:gd name="T2" fmla="*/ 0 w 1587"/>
              <a:gd name="T3" fmla="*/ 2147483647 h 43"/>
              <a:gd name="T4" fmla="*/ 0 w 1587"/>
              <a:gd name="T5" fmla="*/ 2147483647 h 43"/>
              <a:gd name="T6" fmla="*/ 0 w 1587"/>
              <a:gd name="T7" fmla="*/ 2147483647 h 43"/>
              <a:gd name="T8" fmla="*/ 0 w 1587"/>
              <a:gd name="T9" fmla="*/ 2147483647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43">
                <a:moveTo>
                  <a:pt x="0" y="0"/>
                </a:moveTo>
                <a:lnTo>
                  <a:pt x="0" y="13"/>
                </a:lnTo>
                <a:lnTo>
                  <a:pt x="0" y="26"/>
                </a:lnTo>
                <a:lnTo>
                  <a:pt x="0" y="37"/>
                </a:lnTo>
                <a:lnTo>
                  <a:pt x="0" y="43"/>
                </a:lnTo>
              </a:path>
            </a:pathLst>
          </a:custGeom>
          <a:solidFill>
            <a:srgbClr val="C0C0C0"/>
          </a:solidFill>
          <a:ln w="9525" cmpd="sng">
            <a:solidFill>
              <a:srgbClr val="FFFFFF"/>
            </a:solidFill>
            <a:prstDash val="solid"/>
            <a:round/>
            <a:headEnd/>
            <a:tailEnd/>
          </a:ln>
        </p:spPr>
        <p:txBody>
          <a:bodyPr/>
          <a:lstStyle/>
          <a:p>
            <a:endParaRPr lang="en-AU"/>
          </a:p>
        </p:txBody>
      </p:sp>
      <p:sp>
        <p:nvSpPr>
          <p:cNvPr id="2160" name="Line 184"/>
          <p:cNvSpPr>
            <a:spLocks noChangeShapeType="1"/>
          </p:cNvSpPr>
          <p:nvPr>
            <p:custDataLst>
              <p:tags r:id="rId111"/>
            </p:custDataLst>
          </p:nvPr>
        </p:nvSpPr>
        <p:spPr bwMode="auto">
          <a:xfrm flipV="1">
            <a:off x="7612063" y="3976688"/>
            <a:ext cx="1587" cy="3175"/>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AU"/>
          </a:p>
        </p:txBody>
      </p:sp>
      <p:sp>
        <p:nvSpPr>
          <p:cNvPr id="2161" name="Freeform 185"/>
          <p:cNvSpPr>
            <a:spLocks/>
          </p:cNvSpPr>
          <p:nvPr>
            <p:custDataLst>
              <p:tags r:id="rId112"/>
            </p:custDataLst>
          </p:nvPr>
        </p:nvSpPr>
        <p:spPr bwMode="auto">
          <a:xfrm>
            <a:off x="7596188" y="3960813"/>
            <a:ext cx="1587" cy="15875"/>
          </a:xfrm>
          <a:custGeom>
            <a:avLst/>
            <a:gdLst>
              <a:gd name="T0" fmla="*/ 0 w 1587"/>
              <a:gd name="T1" fmla="*/ 2147483647 h 31"/>
              <a:gd name="T2" fmla="*/ 0 w 1587"/>
              <a:gd name="T3" fmla="*/ 2147483647 h 31"/>
              <a:gd name="T4" fmla="*/ 0 w 1587"/>
              <a:gd name="T5" fmla="*/ 2147483647 h 31"/>
              <a:gd name="T6" fmla="*/ 0 w 1587"/>
              <a:gd name="T7" fmla="*/ 2147483647 h 31"/>
              <a:gd name="T8" fmla="*/ 0 w 158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31">
                <a:moveTo>
                  <a:pt x="0" y="31"/>
                </a:moveTo>
                <a:lnTo>
                  <a:pt x="0" y="22"/>
                </a:lnTo>
                <a:lnTo>
                  <a:pt x="0"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AU"/>
          </a:p>
        </p:txBody>
      </p:sp>
      <p:sp>
        <p:nvSpPr>
          <p:cNvPr id="2162" name="Freeform 186"/>
          <p:cNvSpPr>
            <a:spLocks/>
          </p:cNvSpPr>
          <p:nvPr>
            <p:custDataLst>
              <p:tags r:id="rId113"/>
            </p:custDataLst>
          </p:nvPr>
        </p:nvSpPr>
        <p:spPr bwMode="auto">
          <a:xfrm>
            <a:off x="7316788" y="4949825"/>
            <a:ext cx="96837" cy="87313"/>
          </a:xfrm>
          <a:custGeom>
            <a:avLst/>
            <a:gdLst>
              <a:gd name="T0" fmla="*/ 2147483647 w 225"/>
              <a:gd name="T1" fmla="*/ 2147483647 h 167"/>
              <a:gd name="T2" fmla="*/ 2147483647 w 225"/>
              <a:gd name="T3" fmla="*/ 2147483647 h 167"/>
              <a:gd name="T4" fmla="*/ 0 w 225"/>
              <a:gd name="T5" fmla="*/ 2147483647 h 167"/>
              <a:gd name="T6" fmla="*/ 2147483647 w 225"/>
              <a:gd name="T7" fmla="*/ 2147483647 h 167"/>
              <a:gd name="T8" fmla="*/ 2147483647 w 225"/>
              <a:gd name="T9" fmla="*/ 2147483647 h 167"/>
              <a:gd name="T10" fmla="*/ 2147483647 w 225"/>
              <a:gd name="T11" fmla="*/ 2147483647 h 167"/>
              <a:gd name="T12" fmla="*/ 2147483647 w 225"/>
              <a:gd name="T13" fmla="*/ 2147483647 h 167"/>
              <a:gd name="T14" fmla="*/ 2147483647 w 225"/>
              <a:gd name="T15" fmla="*/ 2147483647 h 167"/>
              <a:gd name="T16" fmla="*/ 2147483647 w 225"/>
              <a:gd name="T17" fmla="*/ 2147483647 h 167"/>
              <a:gd name="T18" fmla="*/ 2147483647 w 225"/>
              <a:gd name="T19" fmla="*/ 2147483647 h 167"/>
              <a:gd name="T20" fmla="*/ 2147483647 w 225"/>
              <a:gd name="T21" fmla="*/ 2147483647 h 167"/>
              <a:gd name="T22" fmla="*/ 2147483647 w 225"/>
              <a:gd name="T23" fmla="*/ 2147483647 h 167"/>
              <a:gd name="T24" fmla="*/ 2147483647 w 225"/>
              <a:gd name="T25" fmla="*/ 2147483647 h 167"/>
              <a:gd name="T26" fmla="*/ 2147483647 w 225"/>
              <a:gd name="T27" fmla="*/ 2147483647 h 167"/>
              <a:gd name="T28" fmla="*/ 2147483647 w 225"/>
              <a:gd name="T29" fmla="*/ 2147483647 h 167"/>
              <a:gd name="T30" fmla="*/ 2147483647 w 225"/>
              <a:gd name="T31" fmla="*/ 2147483647 h 167"/>
              <a:gd name="T32" fmla="*/ 2147483647 w 225"/>
              <a:gd name="T33" fmla="*/ 2147483647 h 167"/>
              <a:gd name="T34" fmla="*/ 2147483647 w 225"/>
              <a:gd name="T35" fmla="*/ 0 h 167"/>
              <a:gd name="T36" fmla="*/ 2147483647 w 225"/>
              <a:gd name="T37" fmla="*/ 2147483647 h 167"/>
              <a:gd name="T38" fmla="*/ 2147483647 w 225"/>
              <a:gd name="T39" fmla="*/ 2147483647 h 167"/>
              <a:gd name="T40" fmla="*/ 2147483647 w 225"/>
              <a:gd name="T41" fmla="*/ 2147483647 h 167"/>
              <a:gd name="T42" fmla="*/ 2147483647 w 225"/>
              <a:gd name="T43" fmla="*/ 2147483647 h 167"/>
              <a:gd name="T44" fmla="*/ 2147483647 w 225"/>
              <a:gd name="T45" fmla="*/ 2147483647 h 167"/>
              <a:gd name="T46" fmla="*/ 2147483647 w 225"/>
              <a:gd name="T47" fmla="*/ 2147483647 h 167"/>
              <a:gd name="T48" fmla="*/ 2147483647 w 225"/>
              <a:gd name="T49" fmla="*/ 2147483647 h 167"/>
              <a:gd name="T50" fmla="*/ 2147483647 w 225"/>
              <a:gd name="T51" fmla="*/ 2147483647 h 167"/>
              <a:gd name="T52" fmla="*/ 2147483647 w 225"/>
              <a:gd name="T53" fmla="*/ 2147483647 h 167"/>
              <a:gd name="T54" fmla="*/ 2147483647 w 225"/>
              <a:gd name="T55" fmla="*/ 2147483647 h 167"/>
              <a:gd name="T56" fmla="*/ 2147483647 w 225"/>
              <a:gd name="T57" fmla="*/ 2147483647 h 167"/>
              <a:gd name="T58" fmla="*/ 2147483647 w 225"/>
              <a:gd name="T59" fmla="*/ 2147483647 h 167"/>
              <a:gd name="T60" fmla="*/ 2147483647 w 225"/>
              <a:gd name="T61" fmla="*/ 2147483647 h 167"/>
              <a:gd name="T62" fmla="*/ 2147483647 w 225"/>
              <a:gd name="T63" fmla="*/ 2147483647 h 167"/>
              <a:gd name="T64" fmla="*/ 2147483647 w 225"/>
              <a:gd name="T65" fmla="*/ 2147483647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FF0000"/>
          </a:solidFill>
          <a:ln w="9525" cmpd="sng">
            <a:solidFill>
              <a:srgbClr val="FFFFFF"/>
            </a:solidFill>
            <a:prstDash val="solid"/>
            <a:round/>
            <a:headEnd/>
            <a:tailEnd/>
          </a:ln>
        </p:spPr>
        <p:txBody>
          <a:bodyPr/>
          <a:lstStyle/>
          <a:p>
            <a:endParaRPr lang="en-AU"/>
          </a:p>
        </p:txBody>
      </p:sp>
      <p:sp>
        <p:nvSpPr>
          <p:cNvPr id="2163" name="Freeform 187"/>
          <p:cNvSpPr>
            <a:spLocks/>
          </p:cNvSpPr>
          <p:nvPr>
            <p:custDataLst>
              <p:tags r:id="rId114"/>
            </p:custDataLst>
          </p:nvPr>
        </p:nvSpPr>
        <p:spPr bwMode="auto">
          <a:xfrm>
            <a:off x="7454900" y="4168775"/>
            <a:ext cx="3175" cy="17463"/>
          </a:xfrm>
          <a:custGeom>
            <a:avLst/>
            <a:gdLst>
              <a:gd name="T0" fmla="*/ 0 w 7"/>
              <a:gd name="T1" fmla="*/ 2147483647 h 31"/>
              <a:gd name="T2" fmla="*/ 2147483647 w 7"/>
              <a:gd name="T3" fmla="*/ 2147483647 h 31"/>
              <a:gd name="T4" fmla="*/ 2147483647 w 7"/>
              <a:gd name="T5" fmla="*/ 2147483647 h 31"/>
              <a:gd name="T6" fmla="*/ 2147483647 w 7"/>
              <a:gd name="T7" fmla="*/ 2147483647 h 31"/>
              <a:gd name="T8" fmla="*/ 2147483647 w 7"/>
              <a:gd name="T9" fmla="*/ 0 h 31"/>
              <a:gd name="T10" fmla="*/ 2147483647 w 7"/>
              <a:gd name="T11" fmla="*/ 2147483647 h 31"/>
              <a:gd name="T12" fmla="*/ 2147483647 w 7"/>
              <a:gd name="T13" fmla="*/ 2147483647 h 31"/>
              <a:gd name="T14" fmla="*/ 2147483647 w 7"/>
              <a:gd name="T15" fmla="*/ 2147483647 h 31"/>
              <a:gd name="T16" fmla="*/ 0 w 7"/>
              <a:gd name="T17" fmla="*/ 2147483647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mpd="sng">
            <a:solidFill>
              <a:srgbClr val="FFFFFF"/>
            </a:solidFill>
            <a:prstDash val="solid"/>
            <a:round/>
            <a:headEnd/>
            <a:tailEnd/>
          </a:ln>
        </p:spPr>
        <p:txBody>
          <a:bodyPr/>
          <a:lstStyle/>
          <a:p>
            <a:endParaRPr lang="en-AU"/>
          </a:p>
        </p:txBody>
      </p:sp>
      <p:sp>
        <p:nvSpPr>
          <p:cNvPr id="2164" name="Freeform 188"/>
          <p:cNvSpPr>
            <a:spLocks/>
          </p:cNvSpPr>
          <p:nvPr>
            <p:custDataLst>
              <p:tags r:id="rId115"/>
            </p:custDataLst>
          </p:nvPr>
        </p:nvSpPr>
        <p:spPr bwMode="auto">
          <a:xfrm>
            <a:off x="7388225" y="4090988"/>
            <a:ext cx="15875" cy="15875"/>
          </a:xfrm>
          <a:custGeom>
            <a:avLst/>
            <a:gdLst>
              <a:gd name="T0" fmla="*/ 2147483647 w 33"/>
              <a:gd name="T1" fmla="*/ 2147483647 h 31"/>
              <a:gd name="T2" fmla="*/ 2147483647 w 33"/>
              <a:gd name="T3" fmla="*/ 0 h 31"/>
              <a:gd name="T4" fmla="*/ 2147483647 w 33"/>
              <a:gd name="T5" fmla="*/ 0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2147483647 h 31"/>
              <a:gd name="T18" fmla="*/ 0 w 33"/>
              <a:gd name="T19" fmla="*/ 2147483647 h 31"/>
              <a:gd name="T20" fmla="*/ 2147483647 w 33"/>
              <a:gd name="T21" fmla="*/ 2147483647 h 31"/>
              <a:gd name="T22" fmla="*/ 2147483647 w 33"/>
              <a:gd name="T23" fmla="*/ 2147483647 h 31"/>
              <a:gd name="T24" fmla="*/ 2147483647 w 33"/>
              <a:gd name="T25" fmla="*/ 2147483647 h 31"/>
              <a:gd name="T26" fmla="*/ 2147483647 w 33"/>
              <a:gd name="T27" fmla="*/ 2147483647 h 31"/>
              <a:gd name="T28" fmla="*/ 2147483647 w 33"/>
              <a:gd name="T29" fmla="*/ 2147483647 h 31"/>
              <a:gd name="T30" fmla="*/ 2147483647 w 33"/>
              <a:gd name="T31" fmla="*/ 2147483647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mpd="sng">
            <a:solidFill>
              <a:srgbClr val="FFFFFF"/>
            </a:solidFill>
            <a:prstDash val="solid"/>
            <a:round/>
            <a:headEnd/>
            <a:tailEnd/>
          </a:ln>
        </p:spPr>
        <p:txBody>
          <a:bodyPr/>
          <a:lstStyle/>
          <a:p>
            <a:endParaRPr lang="en-AU"/>
          </a:p>
        </p:txBody>
      </p:sp>
      <p:sp>
        <p:nvSpPr>
          <p:cNvPr id="2165" name="Freeform 189"/>
          <p:cNvSpPr>
            <a:spLocks/>
          </p:cNvSpPr>
          <p:nvPr>
            <p:custDataLst>
              <p:tags r:id="rId116"/>
            </p:custDataLst>
          </p:nvPr>
        </p:nvSpPr>
        <p:spPr bwMode="auto">
          <a:xfrm>
            <a:off x="7404100" y="4003675"/>
            <a:ext cx="3175" cy="9525"/>
          </a:xfrm>
          <a:custGeom>
            <a:avLst/>
            <a:gdLst>
              <a:gd name="T0" fmla="*/ 0 w 13"/>
              <a:gd name="T1" fmla="*/ 2147483647 h 19"/>
              <a:gd name="T2" fmla="*/ 2147483647 w 13"/>
              <a:gd name="T3" fmla="*/ 2147483647 h 19"/>
              <a:gd name="T4" fmla="*/ 2147483647 w 13"/>
              <a:gd name="T5" fmla="*/ 2147483647 h 19"/>
              <a:gd name="T6" fmla="*/ 2147483647 w 13"/>
              <a:gd name="T7" fmla="*/ 2147483647 h 19"/>
              <a:gd name="T8" fmla="*/ 2147483647 w 13"/>
              <a:gd name="T9" fmla="*/ 2147483647 h 19"/>
              <a:gd name="T10" fmla="*/ 2147483647 w 13"/>
              <a:gd name="T11" fmla="*/ 2147483647 h 19"/>
              <a:gd name="T12" fmla="*/ 2147483647 w 13"/>
              <a:gd name="T13" fmla="*/ 0 h 19"/>
              <a:gd name="T14" fmla="*/ 0 w 13"/>
              <a:gd name="T15" fmla="*/ 2147483647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cmpd="sng">
            <a:solidFill>
              <a:srgbClr val="FFFFFF"/>
            </a:solidFill>
            <a:prstDash val="solid"/>
            <a:round/>
            <a:headEnd/>
            <a:tailEnd/>
          </a:ln>
        </p:spPr>
        <p:txBody>
          <a:bodyPr/>
          <a:lstStyle/>
          <a:p>
            <a:endParaRPr lang="en-AU"/>
          </a:p>
        </p:txBody>
      </p:sp>
      <p:sp>
        <p:nvSpPr>
          <p:cNvPr id="2166" name="Freeform 190"/>
          <p:cNvSpPr>
            <a:spLocks/>
          </p:cNvSpPr>
          <p:nvPr>
            <p:custDataLst>
              <p:tags r:id="rId117"/>
            </p:custDataLst>
          </p:nvPr>
        </p:nvSpPr>
        <p:spPr bwMode="auto">
          <a:xfrm>
            <a:off x="7243763" y="4006850"/>
            <a:ext cx="36512" cy="22225"/>
          </a:xfrm>
          <a:custGeom>
            <a:avLst/>
            <a:gdLst>
              <a:gd name="T0" fmla="*/ 2147483647 w 87"/>
              <a:gd name="T1" fmla="*/ 2147483647 h 42"/>
              <a:gd name="T2" fmla="*/ 2147483647 w 87"/>
              <a:gd name="T3" fmla="*/ 2147483647 h 42"/>
              <a:gd name="T4" fmla="*/ 2147483647 w 87"/>
              <a:gd name="T5" fmla="*/ 2147483647 h 42"/>
              <a:gd name="T6" fmla="*/ 2147483647 w 87"/>
              <a:gd name="T7" fmla="*/ 2147483647 h 42"/>
              <a:gd name="T8" fmla="*/ 2147483647 w 87"/>
              <a:gd name="T9" fmla="*/ 2147483647 h 42"/>
              <a:gd name="T10" fmla="*/ 2147483647 w 87"/>
              <a:gd name="T11" fmla="*/ 2147483647 h 42"/>
              <a:gd name="T12" fmla="*/ 2147483647 w 87"/>
              <a:gd name="T13" fmla="*/ 2147483647 h 42"/>
              <a:gd name="T14" fmla="*/ 2147483647 w 87"/>
              <a:gd name="T15" fmla="*/ 2147483647 h 42"/>
              <a:gd name="T16" fmla="*/ 2147483647 w 87"/>
              <a:gd name="T17" fmla="*/ 2147483647 h 42"/>
              <a:gd name="T18" fmla="*/ 2147483647 w 87"/>
              <a:gd name="T19" fmla="*/ 2147483647 h 42"/>
              <a:gd name="T20" fmla="*/ 2147483647 w 87"/>
              <a:gd name="T21" fmla="*/ 2147483647 h 42"/>
              <a:gd name="T22" fmla="*/ 2147483647 w 87"/>
              <a:gd name="T23" fmla="*/ 2147483647 h 42"/>
              <a:gd name="T24" fmla="*/ 2147483647 w 87"/>
              <a:gd name="T25" fmla="*/ 0 h 42"/>
              <a:gd name="T26" fmla="*/ 2147483647 w 87"/>
              <a:gd name="T27" fmla="*/ 0 h 42"/>
              <a:gd name="T28" fmla="*/ 2147483647 w 87"/>
              <a:gd name="T29" fmla="*/ 0 h 42"/>
              <a:gd name="T30" fmla="*/ 2147483647 w 87"/>
              <a:gd name="T31" fmla="*/ 0 h 42"/>
              <a:gd name="T32" fmla="*/ 2147483647 w 87"/>
              <a:gd name="T33" fmla="*/ 2147483647 h 42"/>
              <a:gd name="T34" fmla="*/ 2147483647 w 87"/>
              <a:gd name="T35" fmla="*/ 2147483647 h 42"/>
              <a:gd name="T36" fmla="*/ 2147483647 w 87"/>
              <a:gd name="T37" fmla="*/ 2147483647 h 42"/>
              <a:gd name="T38" fmla="*/ 2147483647 w 87"/>
              <a:gd name="T39" fmla="*/ 2147483647 h 42"/>
              <a:gd name="T40" fmla="*/ 0 w 87"/>
              <a:gd name="T41" fmla="*/ 2147483647 h 42"/>
              <a:gd name="T42" fmla="*/ 2147483647 w 87"/>
              <a:gd name="T43" fmla="*/ 2147483647 h 42"/>
              <a:gd name="T44" fmla="*/ 2147483647 w 87"/>
              <a:gd name="T45" fmla="*/ 2147483647 h 42"/>
              <a:gd name="T46" fmla="*/ 2147483647 w 87"/>
              <a:gd name="T47" fmla="*/ 2147483647 h 42"/>
              <a:gd name="T48" fmla="*/ 2147483647 w 87"/>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mpd="sng">
            <a:solidFill>
              <a:srgbClr val="FFFFFF"/>
            </a:solidFill>
            <a:prstDash val="solid"/>
            <a:round/>
            <a:headEnd/>
            <a:tailEnd/>
          </a:ln>
        </p:spPr>
        <p:txBody>
          <a:bodyPr/>
          <a:lstStyle/>
          <a:p>
            <a:endParaRPr lang="en-AU"/>
          </a:p>
        </p:txBody>
      </p:sp>
      <p:sp>
        <p:nvSpPr>
          <p:cNvPr id="2167" name="Freeform 191"/>
          <p:cNvSpPr>
            <a:spLocks/>
          </p:cNvSpPr>
          <p:nvPr>
            <p:custDataLst>
              <p:tags r:id="rId118"/>
            </p:custDataLst>
          </p:nvPr>
        </p:nvSpPr>
        <p:spPr bwMode="auto">
          <a:xfrm>
            <a:off x="7488238" y="4470400"/>
            <a:ext cx="1587" cy="14288"/>
          </a:xfrm>
          <a:custGeom>
            <a:avLst/>
            <a:gdLst>
              <a:gd name="T0" fmla="*/ 0 w 7"/>
              <a:gd name="T1" fmla="*/ 0 h 31"/>
              <a:gd name="T2" fmla="*/ 2147483647 w 7"/>
              <a:gd name="T3" fmla="*/ 0 h 31"/>
              <a:gd name="T4" fmla="*/ 2147483647 w 7"/>
              <a:gd name="T5" fmla="*/ 2147483647 h 31"/>
              <a:gd name="T6" fmla="*/ 0 w 7"/>
              <a:gd name="T7" fmla="*/ 2147483647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solidFill>
            <a:srgbClr val="C0C0C0"/>
          </a:solidFill>
          <a:ln w="9525" cmpd="sng">
            <a:solidFill>
              <a:srgbClr val="FFFFFF"/>
            </a:solidFill>
            <a:prstDash val="solid"/>
            <a:round/>
            <a:headEnd/>
            <a:tailEnd/>
          </a:ln>
        </p:spPr>
        <p:txBody>
          <a:bodyPr/>
          <a:lstStyle/>
          <a:p>
            <a:endParaRPr lang="en-AU"/>
          </a:p>
        </p:txBody>
      </p:sp>
      <p:sp>
        <p:nvSpPr>
          <p:cNvPr id="2168" name="Freeform 192"/>
          <p:cNvSpPr>
            <a:spLocks/>
          </p:cNvSpPr>
          <p:nvPr>
            <p:custDataLst>
              <p:tags r:id="rId119"/>
            </p:custDataLst>
          </p:nvPr>
        </p:nvSpPr>
        <p:spPr bwMode="auto">
          <a:xfrm>
            <a:off x="6724650" y="3976688"/>
            <a:ext cx="1019175" cy="908050"/>
          </a:xfrm>
          <a:custGeom>
            <a:avLst/>
            <a:gdLst>
              <a:gd name="T0" fmla="*/ 2147483647 w 2332"/>
              <a:gd name="T1" fmla="*/ 2147483647 h 1731"/>
              <a:gd name="T2" fmla="*/ 2147483647 w 2332"/>
              <a:gd name="T3" fmla="*/ 2147483647 h 1731"/>
              <a:gd name="T4" fmla="*/ 2147483647 w 2332"/>
              <a:gd name="T5" fmla="*/ 2147483647 h 1731"/>
              <a:gd name="T6" fmla="*/ 2147483647 w 2332"/>
              <a:gd name="T7" fmla="*/ 2147483647 h 1731"/>
              <a:gd name="T8" fmla="*/ 2147483647 w 2332"/>
              <a:gd name="T9" fmla="*/ 2147483647 h 1731"/>
              <a:gd name="T10" fmla="*/ 2147483647 w 2332"/>
              <a:gd name="T11" fmla="*/ 2147483647 h 1731"/>
              <a:gd name="T12" fmla="*/ 2147483647 w 2332"/>
              <a:gd name="T13" fmla="*/ 2147483647 h 1731"/>
              <a:gd name="T14" fmla="*/ 2147483647 w 2332"/>
              <a:gd name="T15" fmla="*/ 2147483647 h 1731"/>
              <a:gd name="T16" fmla="*/ 2147483647 w 2332"/>
              <a:gd name="T17" fmla="*/ 2147483647 h 1731"/>
              <a:gd name="T18" fmla="*/ 2147483647 w 2332"/>
              <a:gd name="T19" fmla="*/ 2147483647 h 1731"/>
              <a:gd name="T20" fmla="*/ 2147483647 w 2332"/>
              <a:gd name="T21" fmla="*/ 2147483647 h 1731"/>
              <a:gd name="T22" fmla="*/ 2147483647 w 2332"/>
              <a:gd name="T23" fmla="*/ 2147483647 h 1731"/>
              <a:gd name="T24" fmla="*/ 2147483647 w 2332"/>
              <a:gd name="T25" fmla="*/ 2147483647 h 1731"/>
              <a:gd name="T26" fmla="*/ 2147483647 w 2332"/>
              <a:gd name="T27" fmla="*/ 2147483647 h 1731"/>
              <a:gd name="T28" fmla="*/ 2147483647 w 2332"/>
              <a:gd name="T29" fmla="*/ 2147483647 h 1731"/>
              <a:gd name="T30" fmla="*/ 2147483647 w 2332"/>
              <a:gd name="T31" fmla="*/ 2147483647 h 1731"/>
              <a:gd name="T32" fmla="*/ 2147483647 w 2332"/>
              <a:gd name="T33" fmla="*/ 2147483647 h 1731"/>
              <a:gd name="T34" fmla="*/ 2147483647 w 2332"/>
              <a:gd name="T35" fmla="*/ 2147483647 h 1731"/>
              <a:gd name="T36" fmla="*/ 2147483647 w 2332"/>
              <a:gd name="T37" fmla="*/ 2147483647 h 1731"/>
              <a:gd name="T38" fmla="*/ 2147483647 w 2332"/>
              <a:gd name="T39" fmla="*/ 2147483647 h 1731"/>
              <a:gd name="T40" fmla="*/ 2147483647 w 2332"/>
              <a:gd name="T41" fmla="*/ 2147483647 h 1731"/>
              <a:gd name="T42" fmla="*/ 2147483647 w 2332"/>
              <a:gd name="T43" fmla="*/ 2147483647 h 1731"/>
              <a:gd name="T44" fmla="*/ 2147483647 w 2332"/>
              <a:gd name="T45" fmla="*/ 2147483647 h 1731"/>
              <a:gd name="T46" fmla="*/ 2147483647 w 2332"/>
              <a:gd name="T47" fmla="*/ 2147483647 h 1731"/>
              <a:gd name="T48" fmla="*/ 2147483647 w 2332"/>
              <a:gd name="T49" fmla="*/ 2147483647 h 1731"/>
              <a:gd name="T50" fmla="*/ 2147483647 w 2332"/>
              <a:gd name="T51" fmla="*/ 2147483647 h 1731"/>
              <a:gd name="T52" fmla="*/ 2147483647 w 2332"/>
              <a:gd name="T53" fmla="*/ 2147483647 h 1731"/>
              <a:gd name="T54" fmla="*/ 2147483647 w 2332"/>
              <a:gd name="T55" fmla="*/ 2147483647 h 1731"/>
              <a:gd name="T56" fmla="*/ 2147483647 w 2332"/>
              <a:gd name="T57" fmla="*/ 2147483647 h 1731"/>
              <a:gd name="T58" fmla="*/ 2147483647 w 2332"/>
              <a:gd name="T59" fmla="*/ 2147483647 h 1731"/>
              <a:gd name="T60" fmla="*/ 2147483647 w 2332"/>
              <a:gd name="T61" fmla="*/ 2147483647 h 1731"/>
              <a:gd name="T62" fmla="*/ 2147483647 w 2332"/>
              <a:gd name="T63" fmla="*/ 2147483647 h 1731"/>
              <a:gd name="T64" fmla="*/ 2147483647 w 2332"/>
              <a:gd name="T65" fmla="*/ 2147483647 h 1731"/>
              <a:gd name="T66" fmla="*/ 2147483647 w 2332"/>
              <a:gd name="T67" fmla="*/ 2147483647 h 1731"/>
              <a:gd name="T68" fmla="*/ 2147483647 w 2332"/>
              <a:gd name="T69" fmla="*/ 2147483647 h 1731"/>
              <a:gd name="T70" fmla="*/ 2147483647 w 2332"/>
              <a:gd name="T71" fmla="*/ 2147483647 h 1731"/>
              <a:gd name="T72" fmla="*/ 2147483647 w 2332"/>
              <a:gd name="T73" fmla="*/ 2147483647 h 1731"/>
              <a:gd name="T74" fmla="*/ 2147483647 w 2332"/>
              <a:gd name="T75" fmla="*/ 2147483647 h 1731"/>
              <a:gd name="T76" fmla="*/ 2147483647 w 2332"/>
              <a:gd name="T77" fmla="*/ 2147483647 h 1731"/>
              <a:gd name="T78" fmla="*/ 2147483647 w 2332"/>
              <a:gd name="T79" fmla="*/ 2147483647 h 1731"/>
              <a:gd name="T80" fmla="*/ 2147483647 w 2332"/>
              <a:gd name="T81" fmla="*/ 2147483647 h 1731"/>
              <a:gd name="T82" fmla="*/ 2147483647 w 2332"/>
              <a:gd name="T83" fmla="*/ 2147483647 h 1731"/>
              <a:gd name="T84" fmla="*/ 2147483647 w 2332"/>
              <a:gd name="T85" fmla="*/ 2147483647 h 1731"/>
              <a:gd name="T86" fmla="*/ 2147483647 w 2332"/>
              <a:gd name="T87" fmla="*/ 2147483647 h 1731"/>
              <a:gd name="T88" fmla="*/ 2147483647 w 2332"/>
              <a:gd name="T89" fmla="*/ 2147483647 h 1731"/>
              <a:gd name="T90" fmla="*/ 2147483647 w 2332"/>
              <a:gd name="T91" fmla="*/ 2147483647 h 1731"/>
              <a:gd name="T92" fmla="*/ 2147483647 w 2332"/>
              <a:gd name="T93" fmla="*/ 2147483647 h 1731"/>
              <a:gd name="T94" fmla="*/ 2147483647 w 2332"/>
              <a:gd name="T95" fmla="*/ 2147483647 h 1731"/>
              <a:gd name="T96" fmla="*/ 2147483647 w 2332"/>
              <a:gd name="T97" fmla="*/ 2147483647 h 1731"/>
              <a:gd name="T98" fmla="*/ 2147483647 w 2332"/>
              <a:gd name="T99" fmla="*/ 2147483647 h 1731"/>
              <a:gd name="T100" fmla="*/ 2147483647 w 2332"/>
              <a:gd name="T101" fmla="*/ 2147483647 h 1731"/>
              <a:gd name="T102" fmla="*/ 2147483647 w 2332"/>
              <a:gd name="T103" fmla="*/ 2147483647 h 1731"/>
              <a:gd name="T104" fmla="*/ 2147483647 w 2332"/>
              <a:gd name="T105" fmla="*/ 2147483647 h 1731"/>
              <a:gd name="T106" fmla="*/ 2147483647 w 2332"/>
              <a:gd name="T107" fmla="*/ 2147483647 h 1731"/>
              <a:gd name="T108" fmla="*/ 2147483647 w 2332"/>
              <a:gd name="T109" fmla="*/ 2147483647 h 1731"/>
              <a:gd name="T110" fmla="*/ 2147483647 w 2332"/>
              <a:gd name="T111" fmla="*/ 2147483647 h 1731"/>
              <a:gd name="T112" fmla="*/ 2147483647 w 2332"/>
              <a:gd name="T113" fmla="*/ 2147483647 h 1731"/>
              <a:gd name="T114" fmla="*/ 2147483647 w 2332"/>
              <a:gd name="T115" fmla="*/ 2147483647 h 1731"/>
              <a:gd name="T116" fmla="*/ 2147483647 w 2332"/>
              <a:gd name="T117" fmla="*/ 2147483647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FF0000"/>
          </a:solidFill>
          <a:ln w="9525" cmpd="sng">
            <a:solidFill>
              <a:srgbClr val="FFFFFF"/>
            </a:solidFill>
            <a:prstDash val="solid"/>
            <a:round/>
            <a:headEnd/>
            <a:tailEnd/>
          </a:ln>
        </p:spPr>
        <p:txBody>
          <a:bodyPr/>
          <a:lstStyle/>
          <a:p>
            <a:endParaRPr lang="en-AU"/>
          </a:p>
        </p:txBody>
      </p:sp>
      <p:sp>
        <p:nvSpPr>
          <p:cNvPr id="2169" name="Freeform 193"/>
          <p:cNvSpPr>
            <a:spLocks/>
          </p:cNvSpPr>
          <p:nvPr>
            <p:custDataLst>
              <p:tags r:id="rId120"/>
            </p:custDataLst>
          </p:nvPr>
        </p:nvSpPr>
        <p:spPr bwMode="auto">
          <a:xfrm>
            <a:off x="1211263" y="2643188"/>
            <a:ext cx="668337" cy="581025"/>
          </a:xfrm>
          <a:custGeom>
            <a:avLst/>
            <a:gdLst>
              <a:gd name="T0" fmla="*/ 2147483647 w 1535"/>
              <a:gd name="T1" fmla="*/ 2147483647 h 1109"/>
              <a:gd name="T2" fmla="*/ 2147483647 w 1535"/>
              <a:gd name="T3" fmla="*/ 2147483647 h 1109"/>
              <a:gd name="T4" fmla="*/ 2147483647 w 1535"/>
              <a:gd name="T5" fmla="*/ 2147483647 h 1109"/>
              <a:gd name="T6" fmla="*/ 2147483647 w 1535"/>
              <a:gd name="T7" fmla="*/ 2147483647 h 1109"/>
              <a:gd name="T8" fmla="*/ 2147483647 w 1535"/>
              <a:gd name="T9" fmla="*/ 2147483647 h 1109"/>
              <a:gd name="T10" fmla="*/ 2147483647 w 1535"/>
              <a:gd name="T11" fmla="*/ 2147483647 h 1109"/>
              <a:gd name="T12" fmla="*/ 2147483647 w 1535"/>
              <a:gd name="T13" fmla="*/ 2147483647 h 1109"/>
              <a:gd name="T14" fmla="*/ 2147483647 w 1535"/>
              <a:gd name="T15" fmla="*/ 2147483647 h 1109"/>
              <a:gd name="T16" fmla="*/ 2147483647 w 1535"/>
              <a:gd name="T17" fmla="*/ 2147483647 h 1109"/>
              <a:gd name="T18" fmla="*/ 2147483647 w 1535"/>
              <a:gd name="T19" fmla="*/ 2147483647 h 1109"/>
              <a:gd name="T20" fmla="*/ 2147483647 w 1535"/>
              <a:gd name="T21" fmla="*/ 2147483647 h 1109"/>
              <a:gd name="T22" fmla="*/ 2147483647 w 1535"/>
              <a:gd name="T23" fmla="*/ 2147483647 h 1109"/>
              <a:gd name="T24" fmla="*/ 2147483647 w 1535"/>
              <a:gd name="T25" fmla="*/ 2147483647 h 1109"/>
              <a:gd name="T26" fmla="*/ 2147483647 w 1535"/>
              <a:gd name="T27" fmla="*/ 2147483647 h 1109"/>
              <a:gd name="T28" fmla="*/ 2147483647 w 1535"/>
              <a:gd name="T29" fmla="*/ 2147483647 h 1109"/>
              <a:gd name="T30" fmla="*/ 2147483647 w 1535"/>
              <a:gd name="T31" fmla="*/ 2147483647 h 1109"/>
              <a:gd name="T32" fmla="*/ 2147483647 w 1535"/>
              <a:gd name="T33" fmla="*/ 2147483647 h 1109"/>
              <a:gd name="T34" fmla="*/ 2147483647 w 1535"/>
              <a:gd name="T35" fmla="*/ 2147483647 h 1109"/>
              <a:gd name="T36" fmla="*/ 2147483647 w 1535"/>
              <a:gd name="T37" fmla="*/ 2147483647 h 1109"/>
              <a:gd name="T38" fmla="*/ 2147483647 w 1535"/>
              <a:gd name="T39" fmla="*/ 2147483647 h 1109"/>
              <a:gd name="T40" fmla="*/ 2147483647 w 1535"/>
              <a:gd name="T41" fmla="*/ 2147483647 h 1109"/>
              <a:gd name="T42" fmla="*/ 2147483647 w 1535"/>
              <a:gd name="T43" fmla="*/ 2147483647 h 1109"/>
              <a:gd name="T44" fmla="*/ 2147483647 w 1535"/>
              <a:gd name="T45" fmla="*/ 2147483647 h 1109"/>
              <a:gd name="T46" fmla="*/ 2147483647 w 1535"/>
              <a:gd name="T47" fmla="*/ 2147483647 h 1109"/>
              <a:gd name="T48" fmla="*/ 2147483647 w 1535"/>
              <a:gd name="T49" fmla="*/ 2147483647 h 1109"/>
              <a:gd name="T50" fmla="*/ 2147483647 w 1535"/>
              <a:gd name="T51" fmla="*/ 2147483647 h 1109"/>
              <a:gd name="T52" fmla="*/ 2147483647 w 1535"/>
              <a:gd name="T53" fmla="*/ 2147483647 h 1109"/>
              <a:gd name="T54" fmla="*/ 2147483647 w 1535"/>
              <a:gd name="T55" fmla="*/ 2147483647 h 1109"/>
              <a:gd name="T56" fmla="*/ 2147483647 w 1535"/>
              <a:gd name="T57" fmla="*/ 2147483647 h 1109"/>
              <a:gd name="T58" fmla="*/ 2147483647 w 1535"/>
              <a:gd name="T59" fmla="*/ 2147483647 h 1109"/>
              <a:gd name="T60" fmla="*/ 2147483647 w 1535"/>
              <a:gd name="T61" fmla="*/ 2147483647 h 1109"/>
              <a:gd name="T62" fmla="*/ 2147483647 w 1535"/>
              <a:gd name="T63" fmla="*/ 2147483647 h 1109"/>
              <a:gd name="T64" fmla="*/ 2147483647 w 1535"/>
              <a:gd name="T65" fmla="*/ 2147483647 h 1109"/>
              <a:gd name="T66" fmla="*/ 2147483647 w 1535"/>
              <a:gd name="T67" fmla="*/ 2147483647 h 1109"/>
              <a:gd name="T68" fmla="*/ 2147483647 w 1535"/>
              <a:gd name="T69" fmla="*/ 2147483647 h 1109"/>
              <a:gd name="T70" fmla="*/ 2147483647 w 1535"/>
              <a:gd name="T71" fmla="*/ 2147483647 h 1109"/>
              <a:gd name="T72" fmla="*/ 2147483647 w 1535"/>
              <a:gd name="T73" fmla="*/ 2147483647 h 1109"/>
              <a:gd name="T74" fmla="*/ 2147483647 w 1535"/>
              <a:gd name="T75" fmla="*/ 2147483647 h 1109"/>
              <a:gd name="T76" fmla="*/ 2147483647 w 1535"/>
              <a:gd name="T77" fmla="*/ 2147483647 h 1109"/>
              <a:gd name="T78" fmla="*/ 2147483647 w 1535"/>
              <a:gd name="T79" fmla="*/ 2147483647 h 1109"/>
              <a:gd name="T80" fmla="*/ 2147483647 w 1535"/>
              <a:gd name="T81" fmla="*/ 2147483647 h 1109"/>
              <a:gd name="T82" fmla="*/ 2147483647 w 1535"/>
              <a:gd name="T83" fmla="*/ 2147483647 h 1109"/>
              <a:gd name="T84" fmla="*/ 2147483647 w 1535"/>
              <a:gd name="T85" fmla="*/ 2147483647 h 1109"/>
              <a:gd name="T86" fmla="*/ 2147483647 w 1535"/>
              <a:gd name="T87" fmla="*/ 2147483647 h 1109"/>
              <a:gd name="T88" fmla="*/ 2147483647 w 1535"/>
              <a:gd name="T89" fmla="*/ 2147483647 h 1109"/>
              <a:gd name="T90" fmla="*/ 2147483647 w 1535"/>
              <a:gd name="T91" fmla="*/ 2147483647 h 1109"/>
              <a:gd name="T92" fmla="*/ 2147483647 w 1535"/>
              <a:gd name="T93" fmla="*/ 2147483647 h 1109"/>
              <a:gd name="T94" fmla="*/ 2147483647 w 1535"/>
              <a:gd name="T95" fmla="*/ 2147483647 h 1109"/>
              <a:gd name="T96" fmla="*/ 2147483647 w 1535"/>
              <a:gd name="T97" fmla="*/ 2147483647 h 1109"/>
              <a:gd name="T98" fmla="*/ 2147483647 w 1535"/>
              <a:gd name="T99" fmla="*/ 2147483647 h 1109"/>
              <a:gd name="T100" fmla="*/ 2147483647 w 1535"/>
              <a:gd name="T101" fmla="*/ 2147483647 h 1109"/>
              <a:gd name="T102" fmla="*/ 2147483647 w 1535"/>
              <a:gd name="T103" fmla="*/ 2147483647 h 1109"/>
              <a:gd name="T104" fmla="*/ 2147483647 w 1535"/>
              <a:gd name="T105" fmla="*/ 2147483647 h 1109"/>
              <a:gd name="T106" fmla="*/ 2147483647 w 1535"/>
              <a:gd name="T107" fmla="*/ 2147483647 h 1109"/>
              <a:gd name="T108" fmla="*/ 2147483647 w 1535"/>
              <a:gd name="T109" fmla="*/ 2147483647 h 1109"/>
              <a:gd name="T110" fmla="*/ 2147483647 w 1535"/>
              <a:gd name="T111" fmla="*/ 2147483647 h 1109"/>
              <a:gd name="T112" fmla="*/ 2147483647 w 1535"/>
              <a:gd name="T113" fmla="*/ 2147483647 h 1109"/>
              <a:gd name="T114" fmla="*/ 2147483647 w 1535"/>
              <a:gd name="T115" fmla="*/ 2147483647 h 1109"/>
              <a:gd name="T116" fmla="*/ 2147483647 w 1535"/>
              <a:gd name="T117" fmla="*/ 2147483647 h 1109"/>
              <a:gd name="T118" fmla="*/ 2147483647 w 1535"/>
              <a:gd name="T119" fmla="*/ 2147483647 h 1109"/>
              <a:gd name="T120" fmla="*/ 2147483647 w 1535"/>
              <a:gd name="T121" fmla="*/ 2147483647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FF0000"/>
          </a:solidFill>
          <a:ln w="9525" cap="flat" cmpd="sng">
            <a:solidFill>
              <a:srgbClr val="FFFFFF"/>
            </a:solidFill>
            <a:prstDash val="solid"/>
            <a:round/>
            <a:headEnd type="none" w="med" len="med"/>
            <a:tailEnd type="none" w="med" len="med"/>
          </a:ln>
        </p:spPr>
        <p:txBody>
          <a:bodyPr/>
          <a:lstStyle/>
          <a:p>
            <a:endParaRPr lang="en-AU"/>
          </a:p>
        </p:txBody>
      </p:sp>
      <p:sp>
        <p:nvSpPr>
          <p:cNvPr id="2170" name="Freeform 194"/>
          <p:cNvSpPr>
            <a:spLocks/>
          </p:cNvSpPr>
          <p:nvPr>
            <p:custDataLst>
              <p:tags r:id="rId121"/>
            </p:custDataLst>
          </p:nvPr>
        </p:nvSpPr>
        <p:spPr bwMode="auto">
          <a:xfrm>
            <a:off x="2486025" y="4283075"/>
            <a:ext cx="211138" cy="265113"/>
          </a:xfrm>
          <a:custGeom>
            <a:avLst/>
            <a:gdLst>
              <a:gd name="T0" fmla="*/ 2147483647 w 486"/>
              <a:gd name="T1" fmla="*/ 2147483647 h 505"/>
              <a:gd name="T2" fmla="*/ 2147483647 w 486"/>
              <a:gd name="T3" fmla="*/ 2147483647 h 505"/>
              <a:gd name="T4" fmla="*/ 2147483647 w 486"/>
              <a:gd name="T5" fmla="*/ 2147483647 h 505"/>
              <a:gd name="T6" fmla="*/ 2147483647 w 486"/>
              <a:gd name="T7" fmla="*/ 2147483647 h 505"/>
              <a:gd name="T8" fmla="*/ 2147483647 w 486"/>
              <a:gd name="T9" fmla="*/ 2147483647 h 505"/>
              <a:gd name="T10" fmla="*/ 2147483647 w 486"/>
              <a:gd name="T11" fmla="*/ 2147483647 h 505"/>
              <a:gd name="T12" fmla="*/ 2147483647 w 486"/>
              <a:gd name="T13" fmla="*/ 2147483647 h 505"/>
              <a:gd name="T14" fmla="*/ 2147483647 w 486"/>
              <a:gd name="T15" fmla="*/ 2147483647 h 505"/>
              <a:gd name="T16" fmla="*/ 2147483647 w 486"/>
              <a:gd name="T17" fmla="*/ 2147483647 h 505"/>
              <a:gd name="T18" fmla="*/ 2147483647 w 486"/>
              <a:gd name="T19" fmla="*/ 2147483647 h 505"/>
              <a:gd name="T20" fmla="*/ 2147483647 w 486"/>
              <a:gd name="T21" fmla="*/ 2147483647 h 505"/>
              <a:gd name="T22" fmla="*/ 2147483647 w 486"/>
              <a:gd name="T23" fmla="*/ 2147483647 h 505"/>
              <a:gd name="T24" fmla="*/ 2147483647 w 486"/>
              <a:gd name="T25" fmla="*/ 2147483647 h 505"/>
              <a:gd name="T26" fmla="*/ 2147483647 w 486"/>
              <a:gd name="T27" fmla="*/ 2147483647 h 505"/>
              <a:gd name="T28" fmla="*/ 2147483647 w 486"/>
              <a:gd name="T29" fmla="*/ 2147483647 h 505"/>
              <a:gd name="T30" fmla="*/ 2147483647 w 486"/>
              <a:gd name="T31" fmla="*/ 2147483647 h 505"/>
              <a:gd name="T32" fmla="*/ 2147483647 w 486"/>
              <a:gd name="T33" fmla="*/ 2147483647 h 505"/>
              <a:gd name="T34" fmla="*/ 2147483647 w 486"/>
              <a:gd name="T35" fmla="*/ 2147483647 h 505"/>
              <a:gd name="T36" fmla="*/ 2147483647 w 486"/>
              <a:gd name="T37" fmla="*/ 2147483647 h 505"/>
              <a:gd name="T38" fmla="*/ 2147483647 w 486"/>
              <a:gd name="T39" fmla="*/ 2147483647 h 505"/>
              <a:gd name="T40" fmla="*/ 2147483647 w 486"/>
              <a:gd name="T41" fmla="*/ 2147483647 h 505"/>
              <a:gd name="T42" fmla="*/ 2147483647 w 486"/>
              <a:gd name="T43" fmla="*/ 2147483647 h 505"/>
              <a:gd name="T44" fmla="*/ 2147483647 w 486"/>
              <a:gd name="T45" fmla="*/ 2147483647 h 505"/>
              <a:gd name="T46" fmla="*/ 2147483647 w 486"/>
              <a:gd name="T47" fmla="*/ 2147483647 h 505"/>
              <a:gd name="T48" fmla="*/ 2147483647 w 486"/>
              <a:gd name="T49" fmla="*/ 2147483647 h 505"/>
              <a:gd name="T50" fmla="*/ 2147483647 w 486"/>
              <a:gd name="T51" fmla="*/ 2147483647 h 505"/>
              <a:gd name="T52" fmla="*/ 2147483647 w 486"/>
              <a:gd name="T53" fmla="*/ 2147483647 h 505"/>
              <a:gd name="T54" fmla="*/ 2147483647 w 486"/>
              <a:gd name="T55" fmla="*/ 2147483647 h 505"/>
              <a:gd name="T56" fmla="*/ 2147483647 w 486"/>
              <a:gd name="T57" fmla="*/ 2147483647 h 505"/>
              <a:gd name="T58" fmla="*/ 2147483647 w 486"/>
              <a:gd name="T59" fmla="*/ 2147483647 h 505"/>
              <a:gd name="T60" fmla="*/ 2147483647 w 486"/>
              <a:gd name="T61" fmla="*/ 2147483647 h 505"/>
              <a:gd name="T62" fmla="*/ 2147483647 w 486"/>
              <a:gd name="T63" fmla="*/ 2147483647 h 505"/>
              <a:gd name="T64" fmla="*/ 2147483647 w 486"/>
              <a:gd name="T65" fmla="*/ 2147483647 h 505"/>
              <a:gd name="T66" fmla="*/ 2147483647 w 486"/>
              <a:gd name="T67" fmla="*/ 2147483647 h 505"/>
              <a:gd name="T68" fmla="*/ 2147483647 w 486"/>
              <a:gd name="T69" fmla="*/ 2147483647 h 505"/>
              <a:gd name="T70" fmla="*/ 2147483647 w 486"/>
              <a:gd name="T71" fmla="*/ 2147483647 h 505"/>
              <a:gd name="T72" fmla="*/ 2147483647 w 486"/>
              <a:gd name="T73" fmla="*/ 2147483647 h 505"/>
              <a:gd name="T74" fmla="*/ 2147483647 w 486"/>
              <a:gd name="T75" fmla="*/ 2147483647 h 505"/>
              <a:gd name="T76" fmla="*/ 2147483647 w 486"/>
              <a:gd name="T77" fmla="*/ 2147483647 h 505"/>
              <a:gd name="T78" fmla="*/ 2147483647 w 486"/>
              <a:gd name="T79" fmla="*/ 2147483647 h 505"/>
              <a:gd name="T80" fmla="*/ 2147483647 w 486"/>
              <a:gd name="T81" fmla="*/ 2147483647 h 505"/>
              <a:gd name="T82" fmla="*/ 2147483647 w 486"/>
              <a:gd name="T83" fmla="*/ 2147483647 h 505"/>
              <a:gd name="T84" fmla="*/ 2147483647 w 486"/>
              <a:gd name="T85" fmla="*/ 2147483647 h 505"/>
              <a:gd name="T86" fmla="*/ 2147483647 w 486"/>
              <a:gd name="T87" fmla="*/ 2147483647 h 505"/>
              <a:gd name="T88" fmla="*/ 2147483647 w 486"/>
              <a:gd name="T89" fmla="*/ 2147483647 h 505"/>
              <a:gd name="T90" fmla="*/ 2147483647 w 486"/>
              <a:gd name="T91" fmla="*/ 2147483647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171" name="Freeform 195"/>
          <p:cNvSpPr>
            <a:spLocks/>
          </p:cNvSpPr>
          <p:nvPr>
            <p:custDataLst>
              <p:tags r:id="rId122"/>
            </p:custDataLst>
          </p:nvPr>
        </p:nvSpPr>
        <p:spPr bwMode="auto">
          <a:xfrm>
            <a:off x="2655888" y="3487738"/>
            <a:ext cx="73025" cy="109537"/>
          </a:xfrm>
          <a:custGeom>
            <a:avLst/>
            <a:gdLst>
              <a:gd name="T0" fmla="*/ 2147483647 w 166"/>
              <a:gd name="T1" fmla="*/ 2147483647 h 208"/>
              <a:gd name="T2" fmla="*/ 2147483647 w 166"/>
              <a:gd name="T3" fmla="*/ 2147483647 h 208"/>
              <a:gd name="T4" fmla="*/ 2147483647 w 166"/>
              <a:gd name="T5" fmla="*/ 2147483647 h 208"/>
              <a:gd name="T6" fmla="*/ 2147483647 w 166"/>
              <a:gd name="T7" fmla="*/ 2147483647 h 208"/>
              <a:gd name="T8" fmla="*/ 2147483647 w 166"/>
              <a:gd name="T9" fmla="*/ 2147483647 h 208"/>
              <a:gd name="T10" fmla="*/ 2147483647 w 166"/>
              <a:gd name="T11" fmla="*/ 2147483647 h 208"/>
              <a:gd name="T12" fmla="*/ 2147483647 w 166"/>
              <a:gd name="T13" fmla="*/ 2147483647 h 208"/>
              <a:gd name="T14" fmla="*/ 2147483647 w 166"/>
              <a:gd name="T15" fmla="*/ 2147483647 h 208"/>
              <a:gd name="T16" fmla="*/ 2147483647 w 166"/>
              <a:gd name="T17" fmla="*/ 2147483647 h 208"/>
              <a:gd name="T18" fmla="*/ 2147483647 w 166"/>
              <a:gd name="T19" fmla="*/ 2147483647 h 208"/>
              <a:gd name="T20" fmla="*/ 2147483647 w 166"/>
              <a:gd name="T21" fmla="*/ 2147483647 h 208"/>
              <a:gd name="T22" fmla="*/ 2147483647 w 166"/>
              <a:gd name="T23" fmla="*/ 2147483647 h 208"/>
              <a:gd name="T24" fmla="*/ 2147483647 w 166"/>
              <a:gd name="T25" fmla="*/ 2147483647 h 208"/>
              <a:gd name="T26" fmla="*/ 2147483647 w 166"/>
              <a:gd name="T27" fmla="*/ 2147483647 h 208"/>
              <a:gd name="T28" fmla="*/ 2147483647 w 166"/>
              <a:gd name="T29" fmla="*/ 2147483647 h 208"/>
              <a:gd name="T30" fmla="*/ 2147483647 w 166"/>
              <a:gd name="T31" fmla="*/ 2147483647 h 208"/>
              <a:gd name="T32" fmla="*/ 2147483647 w 166"/>
              <a:gd name="T33" fmla="*/ 2147483647 h 208"/>
              <a:gd name="T34" fmla="*/ 2147483647 w 166"/>
              <a:gd name="T35" fmla="*/ 2147483647 h 208"/>
              <a:gd name="T36" fmla="*/ 2147483647 w 166"/>
              <a:gd name="T37" fmla="*/ 2147483647 h 208"/>
              <a:gd name="T38" fmla="*/ 2147483647 w 166"/>
              <a:gd name="T39" fmla="*/ 2147483647 h 208"/>
              <a:gd name="T40" fmla="*/ 2147483647 w 166"/>
              <a:gd name="T41" fmla="*/ 2147483647 h 208"/>
              <a:gd name="T42" fmla="*/ 2147483647 w 166"/>
              <a:gd name="T43" fmla="*/ 2147483647 h 208"/>
              <a:gd name="T44" fmla="*/ 2147483647 w 166"/>
              <a:gd name="T45" fmla="*/ 2147483647 h 208"/>
              <a:gd name="T46" fmla="*/ 2147483647 w 166"/>
              <a:gd name="T47" fmla="*/ 2147483647 h 208"/>
              <a:gd name="T48" fmla="*/ 2147483647 w 166"/>
              <a:gd name="T49" fmla="*/ 2147483647 h 208"/>
              <a:gd name="T50" fmla="*/ 2147483647 w 166"/>
              <a:gd name="T51" fmla="*/ 2147483647 h 208"/>
              <a:gd name="T52" fmla="*/ 2147483647 w 166"/>
              <a:gd name="T53" fmla="*/ 2147483647 h 208"/>
              <a:gd name="T54" fmla="*/ 2147483647 w 166"/>
              <a:gd name="T55" fmla="*/ 0 h 208"/>
              <a:gd name="T56" fmla="*/ 2147483647 w 166"/>
              <a:gd name="T57" fmla="*/ 2147483647 h 208"/>
              <a:gd name="T58" fmla="*/ 2147483647 w 166"/>
              <a:gd name="T59" fmla="*/ 2147483647 h 208"/>
              <a:gd name="T60" fmla="*/ 2147483647 w 166"/>
              <a:gd name="T61" fmla="*/ 2147483647 h 208"/>
              <a:gd name="T62" fmla="*/ 2147483647 w 166"/>
              <a:gd name="T63" fmla="*/ 2147483647 h 208"/>
              <a:gd name="T64" fmla="*/ 2147483647 w 166"/>
              <a:gd name="T65" fmla="*/ 2147483647 h 208"/>
              <a:gd name="T66" fmla="*/ 2147483647 w 166"/>
              <a:gd name="T67" fmla="*/ 2147483647 h 208"/>
              <a:gd name="T68" fmla="*/ 2147483647 w 166"/>
              <a:gd name="T69" fmla="*/ 2147483647 h 208"/>
              <a:gd name="T70" fmla="*/ 0 w 166"/>
              <a:gd name="T71" fmla="*/ 2147483647 h 208"/>
              <a:gd name="T72" fmla="*/ 0 w 166"/>
              <a:gd name="T73" fmla="*/ 2147483647 h 208"/>
              <a:gd name="T74" fmla="*/ 2147483647 w 166"/>
              <a:gd name="T75" fmla="*/ 2147483647 h 208"/>
              <a:gd name="T76" fmla="*/ 2147483647 w 166"/>
              <a:gd name="T77" fmla="*/ 2147483647 h 208"/>
              <a:gd name="T78" fmla="*/ 2147483647 w 166"/>
              <a:gd name="T79" fmla="*/ 2147483647 h 208"/>
              <a:gd name="T80" fmla="*/ 2147483647 w 166"/>
              <a:gd name="T81" fmla="*/ 2147483647 h 208"/>
              <a:gd name="T82" fmla="*/ 2147483647 w 166"/>
              <a:gd name="T83" fmla="*/ 2147483647 h 208"/>
              <a:gd name="T84" fmla="*/ 2147483647 w 166"/>
              <a:gd name="T85" fmla="*/ 2147483647 h 208"/>
              <a:gd name="T86" fmla="*/ 2147483647 w 166"/>
              <a:gd name="T87" fmla="*/ 2147483647 h 208"/>
              <a:gd name="T88" fmla="*/ 2147483647 w 166"/>
              <a:gd name="T89" fmla="*/ 2147483647 h 208"/>
              <a:gd name="T90" fmla="*/ 2147483647 w 166"/>
              <a:gd name="T91" fmla="*/ 2147483647 h 208"/>
              <a:gd name="T92" fmla="*/ 2147483647 w 166"/>
              <a:gd name="T93" fmla="*/ 2147483647 h 208"/>
              <a:gd name="T94" fmla="*/ 2147483647 w 166"/>
              <a:gd name="T95" fmla="*/ 2147483647 h 208"/>
              <a:gd name="T96" fmla="*/ 2147483647 w 166"/>
              <a:gd name="T97" fmla="*/ 2147483647 h 208"/>
              <a:gd name="T98" fmla="*/ 2147483647 w 166"/>
              <a:gd name="T99" fmla="*/ 2147483647 h 208"/>
              <a:gd name="T100" fmla="*/ 2147483647 w 166"/>
              <a:gd name="T101" fmla="*/ 2147483647 h 208"/>
              <a:gd name="T102" fmla="*/ 2147483647 w 166"/>
              <a:gd name="T103" fmla="*/ 2147483647 h 208"/>
              <a:gd name="T104" fmla="*/ 2147483647 w 166"/>
              <a:gd name="T105" fmla="*/ 2147483647 h 208"/>
              <a:gd name="T106" fmla="*/ 2147483647 w 166"/>
              <a:gd name="T107" fmla="*/ 2147483647 h 208"/>
              <a:gd name="T108" fmla="*/ 2147483647 w 166"/>
              <a:gd name="T109" fmla="*/ 2147483647 h 208"/>
              <a:gd name="T110" fmla="*/ 2147483647 w 166"/>
              <a:gd name="T111" fmla="*/ 2147483647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172" name="Freeform 196"/>
          <p:cNvSpPr>
            <a:spLocks/>
          </p:cNvSpPr>
          <p:nvPr>
            <p:custDataLst>
              <p:tags r:id="rId123"/>
            </p:custDataLst>
          </p:nvPr>
        </p:nvSpPr>
        <p:spPr bwMode="auto">
          <a:xfrm>
            <a:off x="2170113" y="3046413"/>
            <a:ext cx="69850" cy="58737"/>
          </a:xfrm>
          <a:custGeom>
            <a:avLst/>
            <a:gdLst>
              <a:gd name="T0" fmla="*/ 2147483647 w 164"/>
              <a:gd name="T1" fmla="*/ 2147483647 h 104"/>
              <a:gd name="T2" fmla="*/ 2147483647 w 164"/>
              <a:gd name="T3" fmla="*/ 2147483647 h 104"/>
              <a:gd name="T4" fmla="*/ 2147483647 w 164"/>
              <a:gd name="T5" fmla="*/ 2147483647 h 104"/>
              <a:gd name="T6" fmla="*/ 2147483647 w 164"/>
              <a:gd name="T7" fmla="*/ 2147483647 h 104"/>
              <a:gd name="T8" fmla="*/ 2147483647 w 164"/>
              <a:gd name="T9" fmla="*/ 2147483647 h 104"/>
              <a:gd name="T10" fmla="*/ 2147483647 w 164"/>
              <a:gd name="T11" fmla="*/ 2147483647 h 104"/>
              <a:gd name="T12" fmla="*/ 2147483647 w 164"/>
              <a:gd name="T13" fmla="*/ 2147483647 h 104"/>
              <a:gd name="T14" fmla="*/ 2147483647 w 164"/>
              <a:gd name="T15" fmla="*/ 2147483647 h 104"/>
              <a:gd name="T16" fmla="*/ 2147483647 w 164"/>
              <a:gd name="T17" fmla="*/ 2147483647 h 104"/>
              <a:gd name="T18" fmla="*/ 2147483647 w 164"/>
              <a:gd name="T19" fmla="*/ 2147483647 h 104"/>
              <a:gd name="T20" fmla="*/ 2147483647 w 164"/>
              <a:gd name="T21" fmla="*/ 2147483647 h 104"/>
              <a:gd name="T22" fmla="*/ 2147483647 w 164"/>
              <a:gd name="T23" fmla="*/ 2147483647 h 104"/>
              <a:gd name="T24" fmla="*/ 2147483647 w 164"/>
              <a:gd name="T25" fmla="*/ 2147483647 h 104"/>
              <a:gd name="T26" fmla="*/ 2147483647 w 164"/>
              <a:gd name="T27" fmla="*/ 2147483647 h 104"/>
              <a:gd name="T28" fmla="*/ 2147483647 w 164"/>
              <a:gd name="T29" fmla="*/ 2147483647 h 104"/>
              <a:gd name="T30" fmla="*/ 2147483647 w 164"/>
              <a:gd name="T31" fmla="*/ 2147483647 h 104"/>
              <a:gd name="T32" fmla="*/ 2147483647 w 164"/>
              <a:gd name="T33" fmla="*/ 2147483647 h 104"/>
              <a:gd name="T34" fmla="*/ 0 w 164"/>
              <a:gd name="T35" fmla="*/ 2147483647 h 104"/>
              <a:gd name="T36" fmla="*/ 0 w 164"/>
              <a:gd name="T37" fmla="*/ 2147483647 h 104"/>
              <a:gd name="T38" fmla="*/ 0 w 164"/>
              <a:gd name="T39" fmla="*/ 2147483647 h 104"/>
              <a:gd name="T40" fmla="*/ 2147483647 w 164"/>
              <a:gd name="T41" fmla="*/ 2147483647 h 104"/>
              <a:gd name="T42" fmla="*/ 2147483647 w 164"/>
              <a:gd name="T43" fmla="*/ 2147483647 h 104"/>
              <a:gd name="T44" fmla="*/ 2147483647 w 164"/>
              <a:gd name="T45" fmla="*/ 2147483647 h 104"/>
              <a:gd name="T46" fmla="*/ 2147483647 w 164"/>
              <a:gd name="T47" fmla="*/ 2147483647 h 104"/>
              <a:gd name="T48" fmla="*/ 2147483647 w 164"/>
              <a:gd name="T49" fmla="*/ 2147483647 h 104"/>
              <a:gd name="T50" fmla="*/ 2147483647 w 164"/>
              <a:gd name="T51" fmla="*/ 2147483647 h 104"/>
              <a:gd name="T52" fmla="*/ 2147483647 w 164"/>
              <a:gd name="T53" fmla="*/ 2147483647 h 104"/>
              <a:gd name="T54" fmla="*/ 2147483647 w 164"/>
              <a:gd name="T55" fmla="*/ 2147483647 h 104"/>
              <a:gd name="T56" fmla="*/ 2147483647 w 164"/>
              <a:gd name="T57" fmla="*/ 2147483647 h 104"/>
              <a:gd name="T58" fmla="*/ 2147483647 w 164"/>
              <a:gd name="T59" fmla="*/ 2147483647 h 104"/>
              <a:gd name="T60" fmla="*/ 2147483647 w 164"/>
              <a:gd name="T61" fmla="*/ 2147483647 h 104"/>
              <a:gd name="T62" fmla="*/ 2147483647 w 164"/>
              <a:gd name="T63" fmla="*/ 2147483647 h 104"/>
              <a:gd name="T64" fmla="*/ 2147483647 w 164"/>
              <a:gd name="T65" fmla="*/ 2147483647 h 104"/>
              <a:gd name="T66" fmla="*/ 2147483647 w 164"/>
              <a:gd name="T67" fmla="*/ 2147483647 h 104"/>
              <a:gd name="T68" fmla="*/ 2147483647 w 164"/>
              <a:gd name="T69" fmla="*/ 2147483647 h 104"/>
              <a:gd name="T70" fmla="*/ 2147483647 w 164"/>
              <a:gd name="T71" fmla="*/ 2147483647 h 104"/>
              <a:gd name="T72" fmla="*/ 2147483647 w 164"/>
              <a:gd name="T73" fmla="*/ 2147483647 h 104"/>
              <a:gd name="T74" fmla="*/ 2147483647 w 164"/>
              <a:gd name="T75" fmla="*/ 2147483647 h 104"/>
              <a:gd name="T76" fmla="*/ 2147483647 w 164"/>
              <a:gd name="T77" fmla="*/ 2147483647 h 104"/>
              <a:gd name="T78" fmla="*/ 2147483647 w 164"/>
              <a:gd name="T79" fmla="*/ 2147483647 h 104"/>
              <a:gd name="T80" fmla="*/ 2147483647 w 164"/>
              <a:gd name="T81" fmla="*/ 0 h 104"/>
              <a:gd name="T82" fmla="*/ 2147483647 w 164"/>
              <a:gd name="T83" fmla="*/ 0 h 104"/>
              <a:gd name="T84" fmla="*/ 2147483647 w 164"/>
              <a:gd name="T85" fmla="*/ 2147483647 h 104"/>
              <a:gd name="T86" fmla="*/ 2147483647 w 164"/>
              <a:gd name="T87" fmla="*/ 2147483647 h 104"/>
              <a:gd name="T88" fmla="*/ 2147483647 w 164"/>
              <a:gd name="T89" fmla="*/ 2147483647 h 104"/>
              <a:gd name="T90" fmla="*/ 2147483647 w 164"/>
              <a:gd name="T91" fmla="*/ 2147483647 h 104"/>
              <a:gd name="T92" fmla="*/ 2147483647 w 164"/>
              <a:gd name="T93" fmla="*/ 2147483647 h 104"/>
              <a:gd name="T94" fmla="*/ 2147483647 w 164"/>
              <a:gd name="T95" fmla="*/ 2147483647 h 104"/>
              <a:gd name="T96" fmla="*/ 2147483647 w 164"/>
              <a:gd name="T97" fmla="*/ 2147483647 h 104"/>
              <a:gd name="T98" fmla="*/ 2147483647 w 164"/>
              <a:gd name="T99" fmla="*/ 2147483647 h 104"/>
              <a:gd name="T100" fmla="*/ 2147483647 w 164"/>
              <a:gd name="T101" fmla="*/ 2147483647 h 104"/>
              <a:gd name="T102" fmla="*/ 2147483647 w 164"/>
              <a:gd name="T103" fmla="*/ 2147483647 h 104"/>
              <a:gd name="T104" fmla="*/ 2147483647 w 164"/>
              <a:gd name="T105" fmla="*/ 2147483647 h 104"/>
              <a:gd name="T106" fmla="*/ 2147483647 w 164"/>
              <a:gd name="T107" fmla="*/ 2147483647 h 104"/>
              <a:gd name="T108" fmla="*/ 2147483647 w 164"/>
              <a:gd name="T109" fmla="*/ 214748364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mpd="sng">
            <a:solidFill>
              <a:srgbClr val="FFFFFF"/>
            </a:solidFill>
            <a:prstDash val="solid"/>
            <a:round/>
            <a:headEnd/>
            <a:tailEnd/>
          </a:ln>
        </p:spPr>
        <p:txBody>
          <a:bodyPr/>
          <a:lstStyle/>
          <a:p>
            <a:endParaRPr lang="en-AU"/>
          </a:p>
        </p:txBody>
      </p:sp>
      <p:sp>
        <p:nvSpPr>
          <p:cNvPr id="2173" name="Freeform 197"/>
          <p:cNvSpPr>
            <a:spLocks/>
          </p:cNvSpPr>
          <p:nvPr>
            <p:custDataLst>
              <p:tags r:id="rId124"/>
            </p:custDataLst>
          </p:nvPr>
        </p:nvSpPr>
        <p:spPr bwMode="auto">
          <a:xfrm>
            <a:off x="2536825" y="5400675"/>
            <a:ext cx="23813" cy="57150"/>
          </a:xfrm>
          <a:custGeom>
            <a:avLst/>
            <a:gdLst>
              <a:gd name="T0" fmla="*/ 0 w 53"/>
              <a:gd name="T1" fmla="*/ 2147483647 h 19"/>
              <a:gd name="T2" fmla="*/ 2147483647 w 53"/>
              <a:gd name="T3" fmla="*/ 2147483647 h 19"/>
              <a:gd name="T4" fmla="*/ 2147483647 w 53"/>
              <a:gd name="T5" fmla="*/ 2147483647 h 19"/>
              <a:gd name="T6" fmla="*/ 2147483647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2147483647 w 53"/>
              <a:gd name="T27" fmla="*/ 0 h 19"/>
              <a:gd name="T28" fmla="*/ 2147483647 w 53"/>
              <a:gd name="T29" fmla="*/ 2147483647 h 19"/>
              <a:gd name="T30" fmla="*/ 2147483647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AU"/>
          </a:p>
        </p:txBody>
      </p:sp>
      <p:sp>
        <p:nvSpPr>
          <p:cNvPr id="2174" name="Freeform 198"/>
          <p:cNvSpPr>
            <a:spLocks/>
          </p:cNvSpPr>
          <p:nvPr>
            <p:custDataLst>
              <p:tags r:id="rId125"/>
            </p:custDataLst>
          </p:nvPr>
        </p:nvSpPr>
        <p:spPr bwMode="auto">
          <a:xfrm>
            <a:off x="2501900" y="5380038"/>
            <a:ext cx="34925" cy="58737"/>
          </a:xfrm>
          <a:custGeom>
            <a:avLst/>
            <a:gdLst>
              <a:gd name="T0" fmla="*/ 0 w 80"/>
              <a:gd name="T1" fmla="*/ 0 h 18"/>
              <a:gd name="T2" fmla="*/ 2147483647 w 80"/>
              <a:gd name="T3" fmla="*/ 2147483647 h 18"/>
              <a:gd name="T4" fmla="*/ 2147483647 w 80"/>
              <a:gd name="T5" fmla="*/ 2147483647 h 18"/>
              <a:gd name="T6" fmla="*/ 2147483647 w 80"/>
              <a:gd name="T7" fmla="*/ 2147483647 h 18"/>
              <a:gd name="T8" fmla="*/ 2147483647 w 80"/>
              <a:gd name="T9" fmla="*/ 2147483647 h 18"/>
              <a:gd name="T10" fmla="*/ 2147483647 w 80"/>
              <a:gd name="T11" fmla="*/ 2147483647 h 18"/>
              <a:gd name="T12" fmla="*/ 2147483647 w 80"/>
              <a:gd name="T13" fmla="*/ 2147483647 h 18"/>
              <a:gd name="T14" fmla="*/ 2147483647 w 80"/>
              <a:gd name="T15" fmla="*/ 2147483647 h 18"/>
              <a:gd name="T16" fmla="*/ 2147483647 w 80"/>
              <a:gd name="T17" fmla="*/ 2147483647 h 18"/>
              <a:gd name="T18" fmla="*/ 2147483647 w 80"/>
              <a:gd name="T19" fmla="*/ 2147483647 h 18"/>
              <a:gd name="T20" fmla="*/ 2147483647 w 80"/>
              <a:gd name="T21" fmla="*/ 2147483647 h 18"/>
              <a:gd name="T22" fmla="*/ 2147483647 w 80"/>
              <a:gd name="T23" fmla="*/ 2147483647 h 18"/>
              <a:gd name="T24" fmla="*/ 2147483647 w 80"/>
              <a:gd name="T25" fmla="*/ 2147483647 h 18"/>
              <a:gd name="T26" fmla="*/ 2147483647 w 80"/>
              <a:gd name="T27" fmla="*/ 2147483647 h 18"/>
              <a:gd name="T28" fmla="*/ 2147483647 w 80"/>
              <a:gd name="T29" fmla="*/ 2147483647 h 18"/>
              <a:gd name="T30" fmla="*/ 2147483647 w 80"/>
              <a:gd name="T31" fmla="*/ 2147483647 h 18"/>
              <a:gd name="T32" fmla="*/ 2147483647 w 80"/>
              <a:gd name="T33" fmla="*/ 2147483647 h 18"/>
              <a:gd name="T34" fmla="*/ 2147483647 w 80"/>
              <a:gd name="T35" fmla="*/ 2147483647 h 18"/>
              <a:gd name="T36" fmla="*/ 2147483647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mpd="sng">
            <a:solidFill>
              <a:srgbClr val="FFFFFF"/>
            </a:solidFill>
            <a:prstDash val="solid"/>
            <a:round/>
            <a:headEnd/>
            <a:tailEnd/>
          </a:ln>
        </p:spPr>
        <p:txBody>
          <a:bodyPr/>
          <a:lstStyle/>
          <a:p>
            <a:endParaRPr lang="en-AU"/>
          </a:p>
        </p:txBody>
      </p:sp>
      <p:sp>
        <p:nvSpPr>
          <p:cNvPr id="2175" name="Freeform 199"/>
          <p:cNvSpPr>
            <a:spLocks/>
          </p:cNvSpPr>
          <p:nvPr>
            <p:custDataLst>
              <p:tags r:id="rId126"/>
            </p:custDataLst>
          </p:nvPr>
        </p:nvSpPr>
        <p:spPr bwMode="auto">
          <a:xfrm>
            <a:off x="2501900" y="5359400"/>
            <a:ext cx="22225" cy="60325"/>
          </a:xfrm>
          <a:custGeom>
            <a:avLst/>
            <a:gdLst>
              <a:gd name="T0" fmla="*/ 2147483647 w 46"/>
              <a:gd name="T1" fmla="*/ 0 h 27"/>
              <a:gd name="T2" fmla="*/ 0 w 46"/>
              <a:gd name="T3" fmla="*/ 2147483647 h 27"/>
              <a:gd name="T4" fmla="*/ 2147483647 w 46"/>
              <a:gd name="T5" fmla="*/ 2147483647 h 27"/>
              <a:gd name="T6" fmla="*/ 2147483647 w 46"/>
              <a:gd name="T7" fmla="*/ 2147483647 h 27"/>
              <a:gd name="T8" fmla="*/ 2147483647 w 46"/>
              <a:gd name="T9" fmla="*/ 2147483647 h 27"/>
              <a:gd name="T10" fmla="*/ 2147483647 w 46"/>
              <a:gd name="T11" fmla="*/ 2147483647 h 27"/>
              <a:gd name="T12" fmla="*/ 2147483647 w 46"/>
              <a:gd name="T13" fmla="*/ 2147483647 h 27"/>
              <a:gd name="T14" fmla="*/ 2147483647 w 46"/>
              <a:gd name="T15" fmla="*/ 2147483647 h 27"/>
              <a:gd name="T16" fmla="*/ 2147483647 w 46"/>
              <a:gd name="T17" fmla="*/ 2147483647 h 27"/>
              <a:gd name="T18" fmla="*/ 2147483647 w 46"/>
              <a:gd name="T19" fmla="*/ 2147483647 h 27"/>
              <a:gd name="T20" fmla="*/ 2147483647 w 46"/>
              <a:gd name="T21" fmla="*/ 2147483647 h 27"/>
              <a:gd name="T22" fmla="*/ 2147483647 w 46"/>
              <a:gd name="T23" fmla="*/ 2147483647 h 27"/>
              <a:gd name="T24" fmla="*/ 2147483647 w 46"/>
              <a:gd name="T25" fmla="*/ 2147483647 h 27"/>
              <a:gd name="T26" fmla="*/ 2147483647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mpd="sng">
            <a:solidFill>
              <a:srgbClr val="FFFFFF"/>
            </a:solidFill>
            <a:prstDash val="solid"/>
            <a:round/>
            <a:headEnd/>
            <a:tailEnd/>
          </a:ln>
        </p:spPr>
        <p:txBody>
          <a:bodyPr/>
          <a:lstStyle/>
          <a:p>
            <a:endParaRPr lang="en-AU"/>
          </a:p>
        </p:txBody>
      </p:sp>
      <p:sp>
        <p:nvSpPr>
          <p:cNvPr id="2176" name="Freeform 200"/>
          <p:cNvSpPr>
            <a:spLocks/>
          </p:cNvSpPr>
          <p:nvPr>
            <p:custDataLst>
              <p:tags r:id="rId127"/>
            </p:custDataLst>
          </p:nvPr>
        </p:nvSpPr>
        <p:spPr bwMode="auto">
          <a:xfrm>
            <a:off x="2471738" y="5353050"/>
            <a:ext cx="25400" cy="60325"/>
          </a:xfrm>
          <a:custGeom>
            <a:avLst/>
            <a:gdLst>
              <a:gd name="T0" fmla="*/ 2147483647 w 54"/>
              <a:gd name="T1" fmla="*/ 0 h 39"/>
              <a:gd name="T2" fmla="*/ 2147483647 w 54"/>
              <a:gd name="T3" fmla="*/ 2147483647 h 39"/>
              <a:gd name="T4" fmla="*/ 2147483647 w 54"/>
              <a:gd name="T5" fmla="*/ 2147483647 h 39"/>
              <a:gd name="T6" fmla="*/ 2147483647 w 54"/>
              <a:gd name="T7" fmla="*/ 2147483647 h 39"/>
              <a:gd name="T8" fmla="*/ 2147483647 w 54"/>
              <a:gd name="T9" fmla="*/ 2147483647 h 39"/>
              <a:gd name="T10" fmla="*/ 2147483647 w 54"/>
              <a:gd name="T11" fmla="*/ 2147483647 h 39"/>
              <a:gd name="T12" fmla="*/ 0 w 54"/>
              <a:gd name="T13" fmla="*/ 2147483647 h 39"/>
              <a:gd name="T14" fmla="*/ 2147483647 w 54"/>
              <a:gd name="T15" fmla="*/ 2147483647 h 39"/>
              <a:gd name="T16" fmla="*/ 2147483647 w 54"/>
              <a:gd name="T17" fmla="*/ 2147483647 h 39"/>
              <a:gd name="T18" fmla="*/ 2147483647 w 54"/>
              <a:gd name="T19" fmla="*/ 2147483647 h 39"/>
              <a:gd name="T20" fmla="*/ 2147483647 w 54"/>
              <a:gd name="T21" fmla="*/ 2147483647 h 39"/>
              <a:gd name="T22" fmla="*/ 2147483647 w 54"/>
              <a:gd name="T23" fmla="*/ 2147483647 h 39"/>
              <a:gd name="T24" fmla="*/ 2147483647 w 54"/>
              <a:gd name="T25" fmla="*/ 2147483647 h 39"/>
              <a:gd name="T26" fmla="*/ 2147483647 w 54"/>
              <a:gd name="T27" fmla="*/ 2147483647 h 39"/>
              <a:gd name="T28" fmla="*/ 2147483647 w 54"/>
              <a:gd name="T29" fmla="*/ 2147483647 h 39"/>
              <a:gd name="T30" fmla="*/ 2147483647 w 54"/>
              <a:gd name="T31" fmla="*/ 2147483647 h 39"/>
              <a:gd name="T32" fmla="*/ 2147483647 w 54"/>
              <a:gd name="T33" fmla="*/ 2147483647 h 39"/>
              <a:gd name="T34" fmla="*/ 2147483647 w 54"/>
              <a:gd name="T35" fmla="*/ 2147483647 h 39"/>
              <a:gd name="T36" fmla="*/ 2147483647 w 54"/>
              <a:gd name="T37" fmla="*/ 2147483647 h 39"/>
              <a:gd name="T38" fmla="*/ 2147483647 w 54"/>
              <a:gd name="T39" fmla="*/ 2147483647 h 39"/>
              <a:gd name="T40" fmla="*/ 2147483647 w 54"/>
              <a:gd name="T41" fmla="*/ 2147483647 h 39"/>
              <a:gd name="T42" fmla="*/ 2147483647 w 54"/>
              <a:gd name="T43" fmla="*/ 2147483647 h 39"/>
              <a:gd name="T44" fmla="*/ 2147483647 w 54"/>
              <a:gd name="T45" fmla="*/ 2147483647 h 39"/>
              <a:gd name="T46" fmla="*/ 2147483647 w 54"/>
              <a:gd name="T47" fmla="*/ 2147483647 h 39"/>
              <a:gd name="T48" fmla="*/ 2147483647 w 54"/>
              <a:gd name="T49" fmla="*/ 2147483647 h 39"/>
              <a:gd name="T50" fmla="*/ 2147483647 w 54"/>
              <a:gd name="T51" fmla="*/ 2147483647 h 39"/>
              <a:gd name="T52" fmla="*/ 2147483647 w 54"/>
              <a:gd name="T53" fmla="*/ 2147483647 h 39"/>
              <a:gd name="T54" fmla="*/ 2147483647 w 54"/>
              <a:gd name="T55" fmla="*/ 2147483647 h 39"/>
              <a:gd name="T56" fmla="*/ 2147483647 w 54"/>
              <a:gd name="T57" fmla="*/ 2147483647 h 39"/>
              <a:gd name="T58" fmla="*/ 2147483647 w 54"/>
              <a:gd name="T59" fmla="*/ 2147483647 h 39"/>
              <a:gd name="T60" fmla="*/ 2147483647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mpd="sng">
            <a:solidFill>
              <a:srgbClr val="FFFFFF"/>
            </a:solidFill>
            <a:prstDash val="solid"/>
            <a:round/>
            <a:headEnd/>
            <a:tailEnd/>
          </a:ln>
        </p:spPr>
        <p:txBody>
          <a:bodyPr/>
          <a:lstStyle/>
          <a:p>
            <a:endParaRPr lang="en-AU"/>
          </a:p>
        </p:txBody>
      </p:sp>
      <p:sp>
        <p:nvSpPr>
          <p:cNvPr id="2177" name="Freeform 201"/>
          <p:cNvSpPr>
            <a:spLocks/>
          </p:cNvSpPr>
          <p:nvPr>
            <p:custDataLst>
              <p:tags r:id="rId128"/>
            </p:custDataLst>
          </p:nvPr>
        </p:nvSpPr>
        <p:spPr bwMode="auto">
          <a:xfrm>
            <a:off x="2446338" y="5343525"/>
            <a:ext cx="28575" cy="58738"/>
          </a:xfrm>
          <a:custGeom>
            <a:avLst/>
            <a:gdLst>
              <a:gd name="T0" fmla="*/ 0 w 60"/>
              <a:gd name="T1" fmla="*/ 2147483647 h 15"/>
              <a:gd name="T2" fmla="*/ 2147483647 w 60"/>
              <a:gd name="T3" fmla="*/ 2147483647 h 15"/>
              <a:gd name="T4" fmla="*/ 2147483647 w 60"/>
              <a:gd name="T5" fmla="*/ 2147483647 h 15"/>
              <a:gd name="T6" fmla="*/ 2147483647 w 60"/>
              <a:gd name="T7" fmla="*/ 2147483647 h 15"/>
              <a:gd name="T8" fmla="*/ 2147483647 w 60"/>
              <a:gd name="T9" fmla="*/ 2147483647 h 15"/>
              <a:gd name="T10" fmla="*/ 2147483647 w 60"/>
              <a:gd name="T11" fmla="*/ 2147483647 h 15"/>
              <a:gd name="T12" fmla="*/ 2147483647 w 60"/>
              <a:gd name="T13" fmla="*/ 2147483647 h 15"/>
              <a:gd name="T14" fmla="*/ 2147483647 w 60"/>
              <a:gd name="T15" fmla="*/ 2147483647 h 15"/>
              <a:gd name="T16" fmla="*/ 2147483647 w 60"/>
              <a:gd name="T17" fmla="*/ 2147483647 h 15"/>
              <a:gd name="T18" fmla="*/ 2147483647 w 60"/>
              <a:gd name="T19" fmla="*/ 2147483647 h 15"/>
              <a:gd name="T20" fmla="*/ 2147483647 w 60"/>
              <a:gd name="T21" fmla="*/ 0 h 15"/>
              <a:gd name="T22" fmla="*/ 2147483647 w 60"/>
              <a:gd name="T23" fmla="*/ 0 h 15"/>
              <a:gd name="T24" fmla="*/ 2147483647 w 60"/>
              <a:gd name="T25" fmla="*/ 0 h 15"/>
              <a:gd name="T26" fmla="*/ 2147483647 w 60"/>
              <a:gd name="T27" fmla="*/ 0 h 15"/>
              <a:gd name="T28" fmla="*/ 2147483647 w 60"/>
              <a:gd name="T29" fmla="*/ 2147483647 h 15"/>
              <a:gd name="T30" fmla="*/ 2147483647 w 60"/>
              <a:gd name="T31" fmla="*/ 2147483647 h 15"/>
              <a:gd name="T32" fmla="*/ 2147483647 w 60"/>
              <a:gd name="T33" fmla="*/ 2147483647 h 15"/>
              <a:gd name="T34" fmla="*/ 2147483647 w 60"/>
              <a:gd name="T35" fmla="*/ 2147483647 h 15"/>
              <a:gd name="T36" fmla="*/ 0 w 60"/>
              <a:gd name="T37" fmla="*/ 214748364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mpd="sng">
            <a:solidFill>
              <a:srgbClr val="FFFFFF"/>
            </a:solidFill>
            <a:prstDash val="solid"/>
            <a:round/>
            <a:headEnd/>
            <a:tailEnd/>
          </a:ln>
        </p:spPr>
        <p:txBody>
          <a:bodyPr/>
          <a:lstStyle/>
          <a:p>
            <a:endParaRPr lang="en-AU"/>
          </a:p>
        </p:txBody>
      </p:sp>
      <p:sp>
        <p:nvSpPr>
          <p:cNvPr id="2178" name="Freeform 202"/>
          <p:cNvSpPr>
            <a:spLocks/>
          </p:cNvSpPr>
          <p:nvPr>
            <p:custDataLst>
              <p:tags r:id="rId129"/>
            </p:custDataLst>
          </p:nvPr>
        </p:nvSpPr>
        <p:spPr bwMode="auto">
          <a:xfrm>
            <a:off x="2422525" y="5330825"/>
            <a:ext cx="33338" cy="57150"/>
          </a:xfrm>
          <a:custGeom>
            <a:avLst/>
            <a:gdLst>
              <a:gd name="T0" fmla="*/ 2147483647 w 79"/>
              <a:gd name="T1" fmla="*/ 0 h 32"/>
              <a:gd name="T2" fmla="*/ 2147483647 w 79"/>
              <a:gd name="T3" fmla="*/ 2147483647 h 32"/>
              <a:gd name="T4" fmla="*/ 2147483647 w 79"/>
              <a:gd name="T5" fmla="*/ 2147483647 h 32"/>
              <a:gd name="T6" fmla="*/ 2147483647 w 79"/>
              <a:gd name="T7" fmla="*/ 2147483647 h 32"/>
              <a:gd name="T8" fmla="*/ 2147483647 w 79"/>
              <a:gd name="T9" fmla="*/ 2147483647 h 32"/>
              <a:gd name="T10" fmla="*/ 2147483647 w 79"/>
              <a:gd name="T11" fmla="*/ 2147483647 h 32"/>
              <a:gd name="T12" fmla="*/ 2147483647 w 79"/>
              <a:gd name="T13" fmla="*/ 2147483647 h 32"/>
              <a:gd name="T14" fmla="*/ 2147483647 w 79"/>
              <a:gd name="T15" fmla="*/ 2147483647 h 32"/>
              <a:gd name="T16" fmla="*/ 0 w 79"/>
              <a:gd name="T17" fmla="*/ 2147483647 h 32"/>
              <a:gd name="T18" fmla="*/ 2147483647 w 79"/>
              <a:gd name="T19" fmla="*/ 2147483647 h 32"/>
              <a:gd name="T20" fmla="*/ 2147483647 w 79"/>
              <a:gd name="T21" fmla="*/ 2147483647 h 32"/>
              <a:gd name="T22" fmla="*/ 2147483647 w 79"/>
              <a:gd name="T23" fmla="*/ 2147483647 h 32"/>
              <a:gd name="T24" fmla="*/ 2147483647 w 79"/>
              <a:gd name="T25" fmla="*/ 2147483647 h 32"/>
              <a:gd name="T26" fmla="*/ 2147483647 w 79"/>
              <a:gd name="T27" fmla="*/ 2147483647 h 32"/>
              <a:gd name="T28" fmla="*/ 2147483647 w 79"/>
              <a:gd name="T29" fmla="*/ 2147483647 h 32"/>
              <a:gd name="T30" fmla="*/ 2147483647 w 79"/>
              <a:gd name="T31" fmla="*/ 2147483647 h 32"/>
              <a:gd name="T32" fmla="*/ 2147483647 w 79"/>
              <a:gd name="T33" fmla="*/ 2147483647 h 32"/>
              <a:gd name="T34" fmla="*/ 2147483647 w 79"/>
              <a:gd name="T35" fmla="*/ 2147483647 h 32"/>
              <a:gd name="T36" fmla="*/ 2147483647 w 79"/>
              <a:gd name="T37" fmla="*/ 2147483647 h 32"/>
              <a:gd name="T38" fmla="*/ 2147483647 w 79"/>
              <a:gd name="T39" fmla="*/ 2147483647 h 32"/>
              <a:gd name="T40" fmla="*/ 2147483647 w 79"/>
              <a:gd name="T41" fmla="*/ 2147483647 h 32"/>
              <a:gd name="T42" fmla="*/ 2147483647 w 79"/>
              <a:gd name="T43" fmla="*/ 2147483647 h 32"/>
              <a:gd name="T44" fmla="*/ 2147483647 w 79"/>
              <a:gd name="T45" fmla="*/ 2147483647 h 32"/>
              <a:gd name="T46" fmla="*/ 2147483647 w 79"/>
              <a:gd name="T47" fmla="*/ 2147483647 h 32"/>
              <a:gd name="T48" fmla="*/ 2147483647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mpd="sng">
            <a:solidFill>
              <a:srgbClr val="FFFFFF"/>
            </a:solidFill>
            <a:prstDash val="solid"/>
            <a:round/>
            <a:headEnd/>
            <a:tailEnd/>
          </a:ln>
        </p:spPr>
        <p:txBody>
          <a:bodyPr/>
          <a:lstStyle/>
          <a:p>
            <a:endParaRPr lang="en-AU"/>
          </a:p>
        </p:txBody>
      </p:sp>
      <p:sp>
        <p:nvSpPr>
          <p:cNvPr id="2179" name="Freeform 203"/>
          <p:cNvSpPr>
            <a:spLocks/>
          </p:cNvSpPr>
          <p:nvPr>
            <p:custDataLst>
              <p:tags r:id="rId130"/>
            </p:custDataLst>
          </p:nvPr>
        </p:nvSpPr>
        <p:spPr bwMode="auto">
          <a:xfrm>
            <a:off x="2416175" y="5311775"/>
            <a:ext cx="30163" cy="57150"/>
          </a:xfrm>
          <a:custGeom>
            <a:avLst/>
            <a:gdLst>
              <a:gd name="T0" fmla="*/ 2147483647 w 66"/>
              <a:gd name="T1" fmla="*/ 0 h 19"/>
              <a:gd name="T2" fmla="*/ 2147483647 w 66"/>
              <a:gd name="T3" fmla="*/ 2147483647 h 19"/>
              <a:gd name="T4" fmla="*/ 2147483647 w 66"/>
              <a:gd name="T5" fmla="*/ 2147483647 h 19"/>
              <a:gd name="T6" fmla="*/ 2147483647 w 66"/>
              <a:gd name="T7" fmla="*/ 2147483647 h 19"/>
              <a:gd name="T8" fmla="*/ 2147483647 w 66"/>
              <a:gd name="T9" fmla="*/ 2147483647 h 19"/>
              <a:gd name="T10" fmla="*/ 2147483647 w 66"/>
              <a:gd name="T11" fmla="*/ 2147483647 h 19"/>
              <a:gd name="T12" fmla="*/ 2147483647 w 66"/>
              <a:gd name="T13" fmla="*/ 2147483647 h 19"/>
              <a:gd name="T14" fmla="*/ 0 w 66"/>
              <a:gd name="T15" fmla="*/ 2147483647 h 19"/>
              <a:gd name="T16" fmla="*/ 0 w 66"/>
              <a:gd name="T17" fmla="*/ 2147483647 h 19"/>
              <a:gd name="T18" fmla="*/ 2147483647 w 66"/>
              <a:gd name="T19" fmla="*/ 2147483647 h 19"/>
              <a:gd name="T20" fmla="*/ 2147483647 w 66"/>
              <a:gd name="T21" fmla="*/ 2147483647 h 19"/>
              <a:gd name="T22" fmla="*/ 2147483647 w 66"/>
              <a:gd name="T23" fmla="*/ 2147483647 h 19"/>
              <a:gd name="T24" fmla="*/ 2147483647 w 66"/>
              <a:gd name="T25" fmla="*/ 2147483647 h 19"/>
              <a:gd name="T26" fmla="*/ 2147483647 w 66"/>
              <a:gd name="T27" fmla="*/ 2147483647 h 19"/>
              <a:gd name="T28" fmla="*/ 2147483647 w 66"/>
              <a:gd name="T29" fmla="*/ 2147483647 h 19"/>
              <a:gd name="T30" fmla="*/ 2147483647 w 66"/>
              <a:gd name="T31" fmla="*/ 2147483647 h 19"/>
              <a:gd name="T32" fmla="*/ 2147483647 w 66"/>
              <a:gd name="T33" fmla="*/ 2147483647 h 19"/>
              <a:gd name="T34" fmla="*/ 2147483647 w 66"/>
              <a:gd name="T35" fmla="*/ 2147483647 h 19"/>
              <a:gd name="T36" fmla="*/ 2147483647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mpd="sng">
            <a:solidFill>
              <a:srgbClr val="FFFFFF"/>
            </a:solidFill>
            <a:prstDash val="solid"/>
            <a:round/>
            <a:headEnd/>
            <a:tailEnd/>
          </a:ln>
        </p:spPr>
        <p:txBody>
          <a:bodyPr/>
          <a:lstStyle/>
          <a:p>
            <a:endParaRPr lang="en-AU"/>
          </a:p>
        </p:txBody>
      </p:sp>
      <p:sp>
        <p:nvSpPr>
          <p:cNvPr id="2180" name="Freeform 204"/>
          <p:cNvSpPr>
            <a:spLocks/>
          </p:cNvSpPr>
          <p:nvPr>
            <p:custDataLst>
              <p:tags r:id="rId131"/>
            </p:custDataLst>
          </p:nvPr>
        </p:nvSpPr>
        <p:spPr bwMode="auto">
          <a:xfrm>
            <a:off x="2316163" y="5002213"/>
            <a:ext cx="25400" cy="60325"/>
          </a:xfrm>
          <a:custGeom>
            <a:avLst/>
            <a:gdLst>
              <a:gd name="T0" fmla="*/ 2147483647 w 53"/>
              <a:gd name="T1" fmla="*/ 0 h 80"/>
              <a:gd name="T2" fmla="*/ 2147483647 w 53"/>
              <a:gd name="T3" fmla="*/ 2147483647 h 80"/>
              <a:gd name="T4" fmla="*/ 2147483647 w 53"/>
              <a:gd name="T5" fmla="*/ 2147483647 h 80"/>
              <a:gd name="T6" fmla="*/ 2147483647 w 53"/>
              <a:gd name="T7" fmla="*/ 2147483647 h 80"/>
              <a:gd name="T8" fmla="*/ 2147483647 w 53"/>
              <a:gd name="T9" fmla="*/ 2147483647 h 80"/>
              <a:gd name="T10" fmla="*/ 0 w 53"/>
              <a:gd name="T11" fmla="*/ 2147483647 h 80"/>
              <a:gd name="T12" fmla="*/ 0 w 53"/>
              <a:gd name="T13" fmla="*/ 2147483647 h 80"/>
              <a:gd name="T14" fmla="*/ 0 w 53"/>
              <a:gd name="T15" fmla="*/ 2147483647 h 80"/>
              <a:gd name="T16" fmla="*/ 2147483647 w 53"/>
              <a:gd name="T17" fmla="*/ 2147483647 h 80"/>
              <a:gd name="T18" fmla="*/ 2147483647 w 53"/>
              <a:gd name="T19" fmla="*/ 2147483647 h 80"/>
              <a:gd name="T20" fmla="*/ 2147483647 w 53"/>
              <a:gd name="T21" fmla="*/ 2147483647 h 80"/>
              <a:gd name="T22" fmla="*/ 2147483647 w 53"/>
              <a:gd name="T23" fmla="*/ 2147483647 h 80"/>
              <a:gd name="T24" fmla="*/ 2147483647 w 53"/>
              <a:gd name="T25" fmla="*/ 2147483647 h 80"/>
              <a:gd name="T26" fmla="*/ 2147483647 w 53"/>
              <a:gd name="T27" fmla="*/ 2147483647 h 80"/>
              <a:gd name="T28" fmla="*/ 2147483647 w 53"/>
              <a:gd name="T29" fmla="*/ 2147483647 h 80"/>
              <a:gd name="T30" fmla="*/ 2147483647 w 53"/>
              <a:gd name="T31" fmla="*/ 2147483647 h 80"/>
              <a:gd name="T32" fmla="*/ 2147483647 w 53"/>
              <a:gd name="T33" fmla="*/ 2147483647 h 80"/>
              <a:gd name="T34" fmla="*/ 2147483647 w 53"/>
              <a:gd name="T35" fmla="*/ 2147483647 h 80"/>
              <a:gd name="T36" fmla="*/ 2147483647 w 53"/>
              <a:gd name="T37" fmla="*/ 2147483647 h 80"/>
              <a:gd name="T38" fmla="*/ 2147483647 w 53"/>
              <a:gd name="T39" fmla="*/ 2147483647 h 80"/>
              <a:gd name="T40" fmla="*/ 2147483647 w 53"/>
              <a:gd name="T41" fmla="*/ 2147483647 h 80"/>
              <a:gd name="T42" fmla="*/ 2147483647 w 53"/>
              <a:gd name="T43" fmla="*/ 2147483647 h 80"/>
              <a:gd name="T44" fmla="*/ 2147483647 w 53"/>
              <a:gd name="T45" fmla="*/ 2147483647 h 80"/>
              <a:gd name="T46" fmla="*/ 2147483647 w 53"/>
              <a:gd name="T47" fmla="*/ 2147483647 h 80"/>
              <a:gd name="T48" fmla="*/ 2147483647 w 53"/>
              <a:gd name="T49" fmla="*/ 2147483647 h 80"/>
              <a:gd name="T50" fmla="*/ 2147483647 w 53"/>
              <a:gd name="T51" fmla="*/ 2147483647 h 80"/>
              <a:gd name="T52" fmla="*/ 2147483647 w 53"/>
              <a:gd name="T53" fmla="*/ 2147483647 h 80"/>
              <a:gd name="T54" fmla="*/ 2147483647 w 53"/>
              <a:gd name="T55" fmla="*/ 2147483647 h 80"/>
              <a:gd name="T56" fmla="*/ 2147483647 w 53"/>
              <a:gd name="T57" fmla="*/ 2147483647 h 80"/>
              <a:gd name="T58" fmla="*/ 2147483647 w 53"/>
              <a:gd name="T59" fmla="*/ 2147483647 h 80"/>
              <a:gd name="T60" fmla="*/ 2147483647 w 53"/>
              <a:gd name="T61" fmla="*/ 2147483647 h 80"/>
              <a:gd name="T62" fmla="*/ 2147483647 w 53"/>
              <a:gd name="T63" fmla="*/ 2147483647 h 80"/>
              <a:gd name="T64" fmla="*/ 2147483647 w 53"/>
              <a:gd name="T65" fmla="*/ 2147483647 h 80"/>
              <a:gd name="T66" fmla="*/ 2147483647 w 53"/>
              <a:gd name="T67" fmla="*/ 2147483647 h 80"/>
              <a:gd name="T68" fmla="*/ 2147483647 w 53"/>
              <a:gd name="T69" fmla="*/ 2147483647 h 80"/>
              <a:gd name="T70" fmla="*/ 2147483647 w 53"/>
              <a:gd name="T71" fmla="*/ 2147483647 h 80"/>
              <a:gd name="T72" fmla="*/ 2147483647 w 53"/>
              <a:gd name="T73" fmla="*/ 2147483647 h 80"/>
              <a:gd name="T74" fmla="*/ 2147483647 w 53"/>
              <a:gd name="T75" fmla="*/ 2147483647 h 80"/>
              <a:gd name="T76" fmla="*/ 2147483647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mpd="sng">
            <a:solidFill>
              <a:srgbClr val="FFFFFF"/>
            </a:solidFill>
            <a:prstDash val="solid"/>
            <a:round/>
            <a:headEnd/>
            <a:tailEnd/>
          </a:ln>
        </p:spPr>
        <p:txBody>
          <a:bodyPr/>
          <a:lstStyle/>
          <a:p>
            <a:endParaRPr lang="en-AU"/>
          </a:p>
        </p:txBody>
      </p:sp>
      <p:sp>
        <p:nvSpPr>
          <p:cNvPr id="2181" name="Freeform 205"/>
          <p:cNvSpPr>
            <a:spLocks/>
          </p:cNvSpPr>
          <p:nvPr>
            <p:custDataLst>
              <p:tags r:id="rId132"/>
            </p:custDataLst>
          </p:nvPr>
        </p:nvSpPr>
        <p:spPr bwMode="auto">
          <a:xfrm>
            <a:off x="2346325" y="5097463"/>
            <a:ext cx="17463" cy="53975"/>
          </a:xfrm>
          <a:custGeom>
            <a:avLst/>
            <a:gdLst>
              <a:gd name="T0" fmla="*/ 0 w 41"/>
              <a:gd name="T1" fmla="*/ 2147483647 h 43"/>
              <a:gd name="T2" fmla="*/ 2147483647 w 41"/>
              <a:gd name="T3" fmla="*/ 2147483647 h 43"/>
              <a:gd name="T4" fmla="*/ 2147483647 w 41"/>
              <a:gd name="T5" fmla="*/ 2147483647 h 43"/>
              <a:gd name="T6" fmla="*/ 2147483647 w 41"/>
              <a:gd name="T7" fmla="*/ 2147483647 h 43"/>
              <a:gd name="T8" fmla="*/ 2147483647 w 41"/>
              <a:gd name="T9" fmla="*/ 0 h 43"/>
              <a:gd name="T10" fmla="*/ 2147483647 w 41"/>
              <a:gd name="T11" fmla="*/ 2147483647 h 43"/>
              <a:gd name="T12" fmla="*/ 2147483647 w 41"/>
              <a:gd name="T13" fmla="*/ 2147483647 h 43"/>
              <a:gd name="T14" fmla="*/ 2147483647 w 41"/>
              <a:gd name="T15" fmla="*/ 2147483647 h 43"/>
              <a:gd name="T16" fmla="*/ 2147483647 w 41"/>
              <a:gd name="T17" fmla="*/ 2147483647 h 43"/>
              <a:gd name="T18" fmla="*/ 2147483647 w 41"/>
              <a:gd name="T19" fmla="*/ 2147483647 h 43"/>
              <a:gd name="T20" fmla="*/ 2147483647 w 41"/>
              <a:gd name="T21" fmla="*/ 2147483647 h 43"/>
              <a:gd name="T22" fmla="*/ 2147483647 w 41"/>
              <a:gd name="T23" fmla="*/ 2147483647 h 43"/>
              <a:gd name="T24" fmla="*/ 0 w 41"/>
              <a:gd name="T25" fmla="*/ 2147483647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mpd="sng">
            <a:solidFill>
              <a:srgbClr val="FFFFFF"/>
            </a:solidFill>
            <a:prstDash val="solid"/>
            <a:round/>
            <a:headEnd/>
            <a:tailEnd/>
          </a:ln>
        </p:spPr>
        <p:txBody>
          <a:bodyPr/>
          <a:lstStyle/>
          <a:p>
            <a:endParaRPr lang="en-AU"/>
          </a:p>
        </p:txBody>
      </p:sp>
      <p:sp>
        <p:nvSpPr>
          <p:cNvPr id="2182" name="Freeform 206"/>
          <p:cNvSpPr>
            <a:spLocks/>
          </p:cNvSpPr>
          <p:nvPr>
            <p:custDataLst>
              <p:tags r:id="rId133"/>
            </p:custDataLst>
          </p:nvPr>
        </p:nvSpPr>
        <p:spPr bwMode="auto">
          <a:xfrm>
            <a:off x="2351088" y="5119688"/>
            <a:ext cx="7937" cy="58737"/>
          </a:xfrm>
          <a:custGeom>
            <a:avLst/>
            <a:gdLst>
              <a:gd name="T0" fmla="*/ 2147483647 w 20"/>
              <a:gd name="T1" fmla="*/ 0 h 24"/>
              <a:gd name="T2" fmla="*/ 0 w 20"/>
              <a:gd name="T3" fmla="*/ 0 h 24"/>
              <a:gd name="T4" fmla="*/ 2147483647 w 20"/>
              <a:gd name="T5" fmla="*/ 2147483647 h 24"/>
              <a:gd name="T6" fmla="*/ 2147483647 w 20"/>
              <a:gd name="T7" fmla="*/ 2147483647 h 24"/>
              <a:gd name="T8" fmla="*/ 2147483647 w 20"/>
              <a:gd name="T9" fmla="*/ 2147483647 h 24"/>
              <a:gd name="T10" fmla="*/ 2147483647 w 20"/>
              <a:gd name="T11" fmla="*/ 2147483647 h 24"/>
              <a:gd name="T12" fmla="*/ 2147483647 w 20"/>
              <a:gd name="T13" fmla="*/ 2147483647 h 24"/>
              <a:gd name="T14" fmla="*/ 2147483647 w 20"/>
              <a:gd name="T15" fmla="*/ 2147483647 h 24"/>
              <a:gd name="T16" fmla="*/ 2147483647 w 20"/>
              <a:gd name="T17" fmla="*/ 2147483647 h 24"/>
              <a:gd name="T18" fmla="*/ 2147483647 w 20"/>
              <a:gd name="T19" fmla="*/ 2147483647 h 24"/>
              <a:gd name="T20" fmla="*/ 214748364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mpd="sng">
            <a:solidFill>
              <a:srgbClr val="FFFFFF"/>
            </a:solidFill>
            <a:prstDash val="solid"/>
            <a:round/>
            <a:headEnd/>
            <a:tailEnd/>
          </a:ln>
        </p:spPr>
        <p:txBody>
          <a:bodyPr/>
          <a:lstStyle/>
          <a:p>
            <a:endParaRPr lang="en-AU"/>
          </a:p>
        </p:txBody>
      </p:sp>
      <p:sp>
        <p:nvSpPr>
          <p:cNvPr id="2183" name="Freeform 207"/>
          <p:cNvSpPr>
            <a:spLocks/>
          </p:cNvSpPr>
          <p:nvPr>
            <p:custDataLst>
              <p:tags r:id="rId134"/>
            </p:custDataLst>
          </p:nvPr>
        </p:nvSpPr>
        <p:spPr bwMode="auto">
          <a:xfrm>
            <a:off x="2365375" y="5181600"/>
            <a:ext cx="17463" cy="60325"/>
          </a:xfrm>
          <a:custGeom>
            <a:avLst/>
            <a:gdLst>
              <a:gd name="T0" fmla="*/ 0 w 39"/>
              <a:gd name="T1" fmla="*/ 2147483647 h 43"/>
              <a:gd name="T2" fmla="*/ 2147483647 w 39"/>
              <a:gd name="T3" fmla="*/ 2147483647 h 43"/>
              <a:gd name="T4" fmla="*/ 2147483647 w 39"/>
              <a:gd name="T5" fmla="*/ 2147483647 h 43"/>
              <a:gd name="T6" fmla="*/ 2147483647 w 39"/>
              <a:gd name="T7" fmla="*/ 2147483647 h 43"/>
              <a:gd name="T8" fmla="*/ 2147483647 w 39"/>
              <a:gd name="T9" fmla="*/ 2147483647 h 43"/>
              <a:gd name="T10" fmla="*/ 2147483647 w 39"/>
              <a:gd name="T11" fmla="*/ 2147483647 h 43"/>
              <a:gd name="T12" fmla="*/ 2147483647 w 39"/>
              <a:gd name="T13" fmla="*/ 2147483647 h 43"/>
              <a:gd name="T14" fmla="*/ 2147483647 w 39"/>
              <a:gd name="T15" fmla="*/ 2147483647 h 43"/>
              <a:gd name="T16" fmla="*/ 2147483647 w 39"/>
              <a:gd name="T17" fmla="*/ 2147483647 h 43"/>
              <a:gd name="T18" fmla="*/ 2147483647 w 39"/>
              <a:gd name="T19" fmla="*/ 2147483647 h 43"/>
              <a:gd name="T20" fmla="*/ 2147483647 w 39"/>
              <a:gd name="T21" fmla="*/ 2147483647 h 43"/>
              <a:gd name="T22" fmla="*/ 2147483647 w 39"/>
              <a:gd name="T23" fmla="*/ 2147483647 h 43"/>
              <a:gd name="T24" fmla="*/ 2147483647 w 39"/>
              <a:gd name="T25" fmla="*/ 0 h 43"/>
              <a:gd name="T26" fmla="*/ 2147483647 w 39"/>
              <a:gd name="T27" fmla="*/ 2147483647 h 43"/>
              <a:gd name="T28" fmla="*/ 2147483647 w 39"/>
              <a:gd name="T29" fmla="*/ 2147483647 h 43"/>
              <a:gd name="T30" fmla="*/ 0 w 39"/>
              <a:gd name="T31" fmla="*/ 2147483647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mpd="sng">
            <a:solidFill>
              <a:srgbClr val="FFFFFF"/>
            </a:solidFill>
            <a:prstDash val="solid"/>
            <a:round/>
            <a:headEnd/>
            <a:tailEnd/>
          </a:ln>
        </p:spPr>
        <p:txBody>
          <a:bodyPr/>
          <a:lstStyle/>
          <a:p>
            <a:endParaRPr lang="en-AU"/>
          </a:p>
        </p:txBody>
      </p:sp>
      <p:sp>
        <p:nvSpPr>
          <p:cNvPr id="2184" name="Freeform 208"/>
          <p:cNvSpPr>
            <a:spLocks/>
          </p:cNvSpPr>
          <p:nvPr>
            <p:custDataLst>
              <p:tags r:id="rId135"/>
            </p:custDataLst>
          </p:nvPr>
        </p:nvSpPr>
        <p:spPr bwMode="auto">
          <a:xfrm>
            <a:off x="2352675" y="5194300"/>
            <a:ext cx="26988" cy="58738"/>
          </a:xfrm>
          <a:custGeom>
            <a:avLst/>
            <a:gdLst>
              <a:gd name="T0" fmla="*/ 2147483647 w 55"/>
              <a:gd name="T1" fmla="*/ 2147483647 h 62"/>
              <a:gd name="T2" fmla="*/ 2147483647 w 55"/>
              <a:gd name="T3" fmla="*/ 0 h 62"/>
              <a:gd name="T4" fmla="*/ 2147483647 w 55"/>
              <a:gd name="T5" fmla="*/ 2147483647 h 62"/>
              <a:gd name="T6" fmla="*/ 2147483647 w 55"/>
              <a:gd name="T7" fmla="*/ 2147483647 h 62"/>
              <a:gd name="T8" fmla="*/ 0 w 55"/>
              <a:gd name="T9" fmla="*/ 2147483647 h 62"/>
              <a:gd name="T10" fmla="*/ 0 w 55"/>
              <a:gd name="T11" fmla="*/ 2147483647 h 62"/>
              <a:gd name="T12" fmla="*/ 2147483647 w 55"/>
              <a:gd name="T13" fmla="*/ 2147483647 h 62"/>
              <a:gd name="T14" fmla="*/ 2147483647 w 55"/>
              <a:gd name="T15" fmla="*/ 2147483647 h 62"/>
              <a:gd name="T16" fmla="*/ 2147483647 w 55"/>
              <a:gd name="T17" fmla="*/ 2147483647 h 62"/>
              <a:gd name="T18" fmla="*/ 2147483647 w 55"/>
              <a:gd name="T19" fmla="*/ 2147483647 h 62"/>
              <a:gd name="T20" fmla="*/ 2147483647 w 55"/>
              <a:gd name="T21" fmla="*/ 2147483647 h 62"/>
              <a:gd name="T22" fmla="*/ 2147483647 w 55"/>
              <a:gd name="T23" fmla="*/ 2147483647 h 62"/>
              <a:gd name="T24" fmla="*/ 2147483647 w 55"/>
              <a:gd name="T25" fmla="*/ 2147483647 h 62"/>
              <a:gd name="T26" fmla="*/ 2147483647 w 55"/>
              <a:gd name="T27" fmla="*/ 2147483647 h 62"/>
              <a:gd name="T28" fmla="*/ 2147483647 w 55"/>
              <a:gd name="T29" fmla="*/ 2147483647 h 62"/>
              <a:gd name="T30" fmla="*/ 2147483647 w 55"/>
              <a:gd name="T31" fmla="*/ 2147483647 h 62"/>
              <a:gd name="T32" fmla="*/ 2147483647 w 55"/>
              <a:gd name="T33" fmla="*/ 2147483647 h 62"/>
              <a:gd name="T34" fmla="*/ 2147483647 w 55"/>
              <a:gd name="T35" fmla="*/ 2147483647 h 62"/>
              <a:gd name="T36" fmla="*/ 2147483647 w 55"/>
              <a:gd name="T37" fmla="*/ 2147483647 h 62"/>
              <a:gd name="T38" fmla="*/ 2147483647 w 55"/>
              <a:gd name="T39" fmla="*/ 2147483647 h 62"/>
              <a:gd name="T40" fmla="*/ 2147483647 w 55"/>
              <a:gd name="T41" fmla="*/ 2147483647 h 62"/>
              <a:gd name="T42" fmla="*/ 2147483647 w 55"/>
              <a:gd name="T43" fmla="*/ 2147483647 h 62"/>
              <a:gd name="T44" fmla="*/ 2147483647 w 55"/>
              <a:gd name="T45" fmla="*/ 2147483647 h 62"/>
              <a:gd name="T46" fmla="*/ 2147483647 w 55"/>
              <a:gd name="T47" fmla="*/ 2147483647 h 62"/>
              <a:gd name="T48" fmla="*/ 2147483647 w 55"/>
              <a:gd name="T49" fmla="*/ 2147483647 h 62"/>
              <a:gd name="T50" fmla="*/ 2147483647 w 55"/>
              <a:gd name="T51" fmla="*/ 2147483647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mpd="sng">
            <a:solidFill>
              <a:srgbClr val="FFFFFF"/>
            </a:solidFill>
            <a:prstDash val="solid"/>
            <a:round/>
            <a:headEnd/>
            <a:tailEnd/>
          </a:ln>
        </p:spPr>
        <p:txBody>
          <a:bodyPr/>
          <a:lstStyle/>
          <a:p>
            <a:endParaRPr lang="en-AU"/>
          </a:p>
        </p:txBody>
      </p:sp>
      <p:sp>
        <p:nvSpPr>
          <p:cNvPr id="2185" name="Freeform 209"/>
          <p:cNvSpPr>
            <a:spLocks/>
          </p:cNvSpPr>
          <p:nvPr>
            <p:custDataLst>
              <p:tags r:id="rId136"/>
            </p:custDataLst>
          </p:nvPr>
        </p:nvSpPr>
        <p:spPr bwMode="auto">
          <a:xfrm>
            <a:off x="2382838" y="5227638"/>
            <a:ext cx="11112" cy="58737"/>
          </a:xfrm>
          <a:custGeom>
            <a:avLst/>
            <a:gdLst>
              <a:gd name="T0" fmla="*/ 2147483647 w 35"/>
              <a:gd name="T1" fmla="*/ 2147483647 h 43"/>
              <a:gd name="T2" fmla="*/ 2147483647 w 35"/>
              <a:gd name="T3" fmla="*/ 0 h 43"/>
              <a:gd name="T4" fmla="*/ 2147483647 w 35"/>
              <a:gd name="T5" fmla="*/ 2147483647 h 43"/>
              <a:gd name="T6" fmla="*/ 0 w 35"/>
              <a:gd name="T7" fmla="*/ 2147483647 h 43"/>
              <a:gd name="T8" fmla="*/ 2147483647 w 35"/>
              <a:gd name="T9" fmla="*/ 2147483647 h 43"/>
              <a:gd name="T10" fmla="*/ 2147483647 w 35"/>
              <a:gd name="T11" fmla="*/ 2147483647 h 43"/>
              <a:gd name="T12" fmla="*/ 2147483647 w 35"/>
              <a:gd name="T13" fmla="*/ 2147483647 h 43"/>
              <a:gd name="T14" fmla="*/ 2147483647 w 35"/>
              <a:gd name="T15" fmla="*/ 2147483647 h 43"/>
              <a:gd name="T16" fmla="*/ 2147483647 w 35"/>
              <a:gd name="T17" fmla="*/ 2147483647 h 43"/>
              <a:gd name="T18" fmla="*/ 2147483647 w 35"/>
              <a:gd name="T19" fmla="*/ 2147483647 h 43"/>
              <a:gd name="T20" fmla="*/ 2147483647 w 35"/>
              <a:gd name="T21" fmla="*/ 2147483647 h 43"/>
              <a:gd name="T22" fmla="*/ 2147483647 w 35"/>
              <a:gd name="T23" fmla="*/ 2147483647 h 43"/>
              <a:gd name="T24" fmla="*/ 2147483647 w 35"/>
              <a:gd name="T25" fmla="*/ 2147483647 h 43"/>
              <a:gd name="T26" fmla="*/ 2147483647 w 35"/>
              <a:gd name="T27" fmla="*/ 2147483647 h 43"/>
              <a:gd name="T28" fmla="*/ 2147483647 w 35"/>
              <a:gd name="T29" fmla="*/ 2147483647 h 43"/>
              <a:gd name="T30" fmla="*/ 2147483647 w 35"/>
              <a:gd name="T31" fmla="*/ 2147483647 h 43"/>
              <a:gd name="T32" fmla="*/ 2147483647 w 35"/>
              <a:gd name="T33" fmla="*/ 2147483647 h 43"/>
              <a:gd name="T34" fmla="*/ 2147483647 w 35"/>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mpd="sng">
            <a:solidFill>
              <a:srgbClr val="FFFFFF"/>
            </a:solidFill>
            <a:prstDash val="solid"/>
            <a:round/>
            <a:headEnd/>
            <a:tailEnd/>
          </a:ln>
        </p:spPr>
        <p:txBody>
          <a:bodyPr/>
          <a:lstStyle/>
          <a:p>
            <a:endParaRPr lang="en-AU"/>
          </a:p>
        </p:txBody>
      </p:sp>
      <p:sp>
        <p:nvSpPr>
          <p:cNvPr id="2186" name="Freeform 210"/>
          <p:cNvSpPr>
            <a:spLocks/>
          </p:cNvSpPr>
          <p:nvPr>
            <p:custDataLst>
              <p:tags r:id="rId137"/>
            </p:custDataLst>
          </p:nvPr>
        </p:nvSpPr>
        <p:spPr bwMode="auto">
          <a:xfrm>
            <a:off x="2379663" y="5260975"/>
            <a:ext cx="20637" cy="55563"/>
          </a:xfrm>
          <a:custGeom>
            <a:avLst/>
            <a:gdLst>
              <a:gd name="T0" fmla="*/ 2147483647 w 53"/>
              <a:gd name="T1" fmla="*/ 0 h 21"/>
              <a:gd name="T2" fmla="*/ 2147483647 w 53"/>
              <a:gd name="T3" fmla="*/ 2147483647 h 21"/>
              <a:gd name="T4" fmla="*/ 2147483647 w 53"/>
              <a:gd name="T5" fmla="*/ 2147483647 h 21"/>
              <a:gd name="T6" fmla="*/ 2147483647 w 53"/>
              <a:gd name="T7" fmla="*/ 2147483647 h 21"/>
              <a:gd name="T8" fmla="*/ 2147483647 w 53"/>
              <a:gd name="T9" fmla="*/ 2147483647 h 21"/>
              <a:gd name="T10" fmla="*/ 2147483647 w 53"/>
              <a:gd name="T11" fmla="*/ 2147483647 h 21"/>
              <a:gd name="T12" fmla="*/ 2147483647 w 53"/>
              <a:gd name="T13" fmla="*/ 2147483647 h 21"/>
              <a:gd name="T14" fmla="*/ 2147483647 w 53"/>
              <a:gd name="T15" fmla="*/ 2147483647 h 21"/>
              <a:gd name="T16" fmla="*/ 0 w 53"/>
              <a:gd name="T17" fmla="*/ 2147483647 h 21"/>
              <a:gd name="T18" fmla="*/ 2147483647 w 53"/>
              <a:gd name="T19" fmla="*/ 2147483647 h 21"/>
              <a:gd name="T20" fmla="*/ 2147483647 w 53"/>
              <a:gd name="T21" fmla="*/ 2147483647 h 21"/>
              <a:gd name="T22" fmla="*/ 2147483647 w 53"/>
              <a:gd name="T23" fmla="*/ 2147483647 h 21"/>
              <a:gd name="T24" fmla="*/ 2147483647 w 53"/>
              <a:gd name="T25" fmla="*/ 2147483647 h 21"/>
              <a:gd name="T26" fmla="*/ 2147483647 w 53"/>
              <a:gd name="T27" fmla="*/ 2147483647 h 21"/>
              <a:gd name="T28" fmla="*/ 2147483647 w 53"/>
              <a:gd name="T29" fmla="*/ 2147483647 h 21"/>
              <a:gd name="T30" fmla="*/ 214748364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mpd="sng">
            <a:solidFill>
              <a:srgbClr val="FFFFFF"/>
            </a:solidFill>
            <a:prstDash val="solid"/>
            <a:round/>
            <a:headEnd/>
            <a:tailEnd/>
          </a:ln>
        </p:spPr>
        <p:txBody>
          <a:bodyPr/>
          <a:lstStyle/>
          <a:p>
            <a:endParaRPr lang="en-AU"/>
          </a:p>
        </p:txBody>
      </p:sp>
      <p:sp>
        <p:nvSpPr>
          <p:cNvPr id="2187" name="Freeform 211"/>
          <p:cNvSpPr>
            <a:spLocks/>
          </p:cNvSpPr>
          <p:nvPr>
            <p:custDataLst>
              <p:tags r:id="rId138"/>
            </p:custDataLst>
          </p:nvPr>
        </p:nvSpPr>
        <p:spPr bwMode="auto">
          <a:xfrm>
            <a:off x="2403475" y="5275263"/>
            <a:ext cx="17463" cy="57150"/>
          </a:xfrm>
          <a:custGeom>
            <a:avLst/>
            <a:gdLst>
              <a:gd name="T0" fmla="*/ 2147483647 w 43"/>
              <a:gd name="T1" fmla="*/ 0 h 38"/>
              <a:gd name="T2" fmla="*/ 2147483647 w 43"/>
              <a:gd name="T3" fmla="*/ 0 h 38"/>
              <a:gd name="T4" fmla="*/ 2147483647 w 43"/>
              <a:gd name="T5" fmla="*/ 0 h 38"/>
              <a:gd name="T6" fmla="*/ 2147483647 w 43"/>
              <a:gd name="T7" fmla="*/ 0 h 38"/>
              <a:gd name="T8" fmla="*/ 0 w 43"/>
              <a:gd name="T9" fmla="*/ 2147483647 h 38"/>
              <a:gd name="T10" fmla="*/ 0 w 43"/>
              <a:gd name="T11" fmla="*/ 2147483647 h 38"/>
              <a:gd name="T12" fmla="*/ 0 w 43"/>
              <a:gd name="T13" fmla="*/ 2147483647 h 38"/>
              <a:gd name="T14" fmla="*/ 2147483647 w 43"/>
              <a:gd name="T15" fmla="*/ 2147483647 h 38"/>
              <a:gd name="T16" fmla="*/ 2147483647 w 43"/>
              <a:gd name="T17" fmla="*/ 2147483647 h 38"/>
              <a:gd name="T18" fmla="*/ 2147483647 w 43"/>
              <a:gd name="T19" fmla="*/ 2147483647 h 38"/>
              <a:gd name="T20" fmla="*/ 2147483647 w 43"/>
              <a:gd name="T21" fmla="*/ 2147483647 h 38"/>
              <a:gd name="T22" fmla="*/ 2147483647 w 43"/>
              <a:gd name="T23" fmla="*/ 2147483647 h 38"/>
              <a:gd name="T24" fmla="*/ 2147483647 w 43"/>
              <a:gd name="T25" fmla="*/ 2147483647 h 38"/>
              <a:gd name="T26" fmla="*/ 2147483647 w 43"/>
              <a:gd name="T27" fmla="*/ 2147483647 h 38"/>
              <a:gd name="T28" fmla="*/ 2147483647 w 43"/>
              <a:gd name="T29" fmla="*/ 2147483647 h 38"/>
              <a:gd name="T30" fmla="*/ 2147483647 w 43"/>
              <a:gd name="T31" fmla="*/ 2147483647 h 38"/>
              <a:gd name="T32" fmla="*/ 2147483647 w 43"/>
              <a:gd name="T33" fmla="*/ 2147483647 h 38"/>
              <a:gd name="T34" fmla="*/ 2147483647 w 43"/>
              <a:gd name="T35" fmla="*/ 2147483647 h 38"/>
              <a:gd name="T36" fmla="*/ 2147483647 w 43"/>
              <a:gd name="T37" fmla="*/ 2147483647 h 38"/>
              <a:gd name="T38" fmla="*/ 2147483647 w 43"/>
              <a:gd name="T39" fmla="*/ 2147483647 h 38"/>
              <a:gd name="T40" fmla="*/ 2147483647 w 43"/>
              <a:gd name="T41" fmla="*/ 2147483647 h 38"/>
              <a:gd name="T42" fmla="*/ 2147483647 w 43"/>
              <a:gd name="T43" fmla="*/ 2147483647 h 38"/>
              <a:gd name="T44" fmla="*/ 2147483647 w 43"/>
              <a:gd name="T45" fmla="*/ 2147483647 h 38"/>
              <a:gd name="T46" fmla="*/ 2147483647 w 43"/>
              <a:gd name="T47" fmla="*/ 2147483647 h 38"/>
              <a:gd name="T48" fmla="*/ 2147483647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mpd="sng">
            <a:solidFill>
              <a:srgbClr val="FFFFFF"/>
            </a:solidFill>
            <a:prstDash val="solid"/>
            <a:round/>
            <a:headEnd/>
            <a:tailEnd/>
          </a:ln>
        </p:spPr>
        <p:txBody>
          <a:bodyPr/>
          <a:lstStyle/>
          <a:p>
            <a:endParaRPr lang="en-AU"/>
          </a:p>
        </p:txBody>
      </p:sp>
      <p:sp>
        <p:nvSpPr>
          <p:cNvPr id="2188" name="Freeform 212"/>
          <p:cNvSpPr>
            <a:spLocks/>
          </p:cNvSpPr>
          <p:nvPr>
            <p:custDataLst>
              <p:tags r:id="rId139"/>
            </p:custDataLst>
          </p:nvPr>
        </p:nvSpPr>
        <p:spPr bwMode="auto">
          <a:xfrm>
            <a:off x="2405063" y="5303838"/>
            <a:ext cx="6350" cy="57150"/>
          </a:xfrm>
          <a:custGeom>
            <a:avLst/>
            <a:gdLst>
              <a:gd name="T0" fmla="*/ 0 w 20"/>
              <a:gd name="T1" fmla="*/ 0 h 5"/>
              <a:gd name="T2" fmla="*/ 2147483647 w 20"/>
              <a:gd name="T3" fmla="*/ 2147483647 h 5"/>
              <a:gd name="T4" fmla="*/ 2147483647 w 20"/>
              <a:gd name="T5" fmla="*/ 2147483647 h 5"/>
              <a:gd name="T6" fmla="*/ 2147483647 w 20"/>
              <a:gd name="T7" fmla="*/ 2147483647 h 5"/>
              <a:gd name="T8" fmla="*/ 2147483647 w 20"/>
              <a:gd name="T9" fmla="*/ 2147483647 h 5"/>
              <a:gd name="T10" fmla="*/ 2147483647 w 20"/>
              <a:gd name="T11" fmla="*/ 2147483647 h 5"/>
              <a:gd name="T12" fmla="*/ 2147483647 w 20"/>
              <a:gd name="T13" fmla="*/ 2147483647 h 5"/>
              <a:gd name="T14" fmla="*/ 2147483647 w 20"/>
              <a:gd name="T15" fmla="*/ 2147483647 h 5"/>
              <a:gd name="T16" fmla="*/ 2147483647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mpd="sng">
            <a:solidFill>
              <a:srgbClr val="FFFFFF"/>
            </a:solidFill>
            <a:prstDash val="solid"/>
            <a:round/>
            <a:headEnd/>
            <a:tailEnd/>
          </a:ln>
        </p:spPr>
        <p:txBody>
          <a:bodyPr/>
          <a:lstStyle/>
          <a:p>
            <a:endParaRPr lang="en-AU"/>
          </a:p>
        </p:txBody>
      </p:sp>
      <p:sp>
        <p:nvSpPr>
          <p:cNvPr id="2189" name="Freeform 213"/>
          <p:cNvSpPr>
            <a:spLocks/>
          </p:cNvSpPr>
          <p:nvPr>
            <p:custDataLst>
              <p:tags r:id="rId140"/>
            </p:custDataLst>
          </p:nvPr>
        </p:nvSpPr>
        <p:spPr bwMode="auto">
          <a:xfrm>
            <a:off x="2479675" y="5373688"/>
            <a:ext cx="34925" cy="57150"/>
          </a:xfrm>
          <a:custGeom>
            <a:avLst/>
            <a:gdLst>
              <a:gd name="T0" fmla="*/ 2147483647 w 73"/>
              <a:gd name="T1" fmla="*/ 0 h 22"/>
              <a:gd name="T2" fmla="*/ 2147483647 w 73"/>
              <a:gd name="T3" fmla="*/ 2147483647 h 22"/>
              <a:gd name="T4" fmla="*/ 2147483647 w 73"/>
              <a:gd name="T5" fmla="*/ 2147483647 h 22"/>
              <a:gd name="T6" fmla="*/ 2147483647 w 73"/>
              <a:gd name="T7" fmla="*/ 2147483647 h 22"/>
              <a:gd name="T8" fmla="*/ 2147483647 w 73"/>
              <a:gd name="T9" fmla="*/ 2147483647 h 22"/>
              <a:gd name="T10" fmla="*/ 2147483647 w 73"/>
              <a:gd name="T11" fmla="*/ 2147483647 h 22"/>
              <a:gd name="T12" fmla="*/ 0 w 73"/>
              <a:gd name="T13" fmla="*/ 2147483647 h 22"/>
              <a:gd name="T14" fmla="*/ 2147483647 w 73"/>
              <a:gd name="T15" fmla="*/ 2147483647 h 22"/>
              <a:gd name="T16" fmla="*/ 2147483647 w 73"/>
              <a:gd name="T17" fmla="*/ 2147483647 h 22"/>
              <a:gd name="T18" fmla="*/ 2147483647 w 73"/>
              <a:gd name="T19" fmla="*/ 2147483647 h 22"/>
              <a:gd name="T20" fmla="*/ 2147483647 w 73"/>
              <a:gd name="T21" fmla="*/ 2147483647 h 22"/>
              <a:gd name="T22" fmla="*/ 2147483647 w 73"/>
              <a:gd name="T23" fmla="*/ 2147483647 h 22"/>
              <a:gd name="T24" fmla="*/ 2147483647 w 73"/>
              <a:gd name="T25" fmla="*/ 2147483647 h 22"/>
              <a:gd name="T26" fmla="*/ 2147483647 w 73"/>
              <a:gd name="T27" fmla="*/ 2147483647 h 22"/>
              <a:gd name="T28" fmla="*/ 2147483647 w 73"/>
              <a:gd name="T29" fmla="*/ 2147483647 h 22"/>
              <a:gd name="T30" fmla="*/ 2147483647 w 73"/>
              <a:gd name="T31" fmla="*/ 2147483647 h 22"/>
              <a:gd name="T32" fmla="*/ 2147483647 w 73"/>
              <a:gd name="T33" fmla="*/ 2147483647 h 22"/>
              <a:gd name="T34" fmla="*/ 2147483647 w 73"/>
              <a:gd name="T35" fmla="*/ 2147483647 h 22"/>
              <a:gd name="T36" fmla="*/ 214748364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mpd="sng">
            <a:solidFill>
              <a:srgbClr val="FFFFFF"/>
            </a:solidFill>
            <a:prstDash val="solid"/>
            <a:round/>
            <a:headEnd/>
            <a:tailEnd/>
          </a:ln>
        </p:spPr>
        <p:txBody>
          <a:bodyPr/>
          <a:lstStyle/>
          <a:p>
            <a:endParaRPr lang="en-AU"/>
          </a:p>
        </p:txBody>
      </p:sp>
      <p:sp>
        <p:nvSpPr>
          <p:cNvPr id="2190" name="Freeform 214"/>
          <p:cNvSpPr>
            <a:spLocks/>
          </p:cNvSpPr>
          <p:nvPr>
            <p:custDataLst>
              <p:tags r:id="rId141"/>
            </p:custDataLst>
          </p:nvPr>
        </p:nvSpPr>
        <p:spPr bwMode="auto">
          <a:xfrm>
            <a:off x="2517775" y="5314950"/>
            <a:ext cx="123825" cy="100013"/>
          </a:xfrm>
          <a:custGeom>
            <a:avLst/>
            <a:gdLst>
              <a:gd name="T0" fmla="*/ 2147483647 w 281"/>
              <a:gd name="T1" fmla="*/ 2147483647 h 193"/>
              <a:gd name="T2" fmla="*/ 2147483647 w 281"/>
              <a:gd name="T3" fmla="*/ 2147483647 h 193"/>
              <a:gd name="T4" fmla="*/ 2147483647 w 281"/>
              <a:gd name="T5" fmla="*/ 2147483647 h 193"/>
              <a:gd name="T6" fmla="*/ 2147483647 w 281"/>
              <a:gd name="T7" fmla="*/ 2147483647 h 193"/>
              <a:gd name="T8" fmla="*/ 2147483647 w 281"/>
              <a:gd name="T9" fmla="*/ 2147483647 h 193"/>
              <a:gd name="T10" fmla="*/ 2147483647 w 281"/>
              <a:gd name="T11" fmla="*/ 2147483647 h 193"/>
              <a:gd name="T12" fmla="*/ 2147483647 w 281"/>
              <a:gd name="T13" fmla="*/ 2147483647 h 193"/>
              <a:gd name="T14" fmla="*/ 2147483647 w 281"/>
              <a:gd name="T15" fmla="*/ 2147483647 h 193"/>
              <a:gd name="T16" fmla="*/ 2147483647 w 281"/>
              <a:gd name="T17" fmla="*/ 2147483647 h 193"/>
              <a:gd name="T18" fmla="*/ 2147483647 w 281"/>
              <a:gd name="T19" fmla="*/ 0 h 193"/>
              <a:gd name="T20" fmla="*/ 2147483647 w 281"/>
              <a:gd name="T21" fmla="*/ 2147483647 h 193"/>
              <a:gd name="T22" fmla="*/ 2147483647 w 281"/>
              <a:gd name="T23" fmla="*/ 2147483647 h 193"/>
              <a:gd name="T24" fmla="*/ 2147483647 w 281"/>
              <a:gd name="T25" fmla="*/ 2147483647 h 193"/>
              <a:gd name="T26" fmla="*/ 0 w 281"/>
              <a:gd name="T27" fmla="*/ 2147483647 h 193"/>
              <a:gd name="T28" fmla="*/ 2147483647 w 281"/>
              <a:gd name="T29" fmla="*/ 2147483647 h 193"/>
              <a:gd name="T30" fmla="*/ 2147483647 w 281"/>
              <a:gd name="T31" fmla="*/ 2147483647 h 193"/>
              <a:gd name="T32" fmla="*/ 2147483647 w 281"/>
              <a:gd name="T33" fmla="*/ 2147483647 h 193"/>
              <a:gd name="T34" fmla="*/ 2147483647 w 281"/>
              <a:gd name="T35" fmla="*/ 2147483647 h 193"/>
              <a:gd name="T36" fmla="*/ 2147483647 w 281"/>
              <a:gd name="T37" fmla="*/ 2147483647 h 193"/>
              <a:gd name="T38" fmla="*/ 2147483647 w 281"/>
              <a:gd name="T39" fmla="*/ 2147483647 h 193"/>
              <a:gd name="T40" fmla="*/ 2147483647 w 281"/>
              <a:gd name="T41" fmla="*/ 2147483647 h 193"/>
              <a:gd name="T42" fmla="*/ 2147483647 w 281"/>
              <a:gd name="T43" fmla="*/ 2147483647 h 193"/>
              <a:gd name="T44" fmla="*/ 2147483647 w 281"/>
              <a:gd name="T45" fmla="*/ 2147483647 h 193"/>
              <a:gd name="T46" fmla="*/ 2147483647 w 281"/>
              <a:gd name="T47" fmla="*/ 2147483647 h 193"/>
              <a:gd name="T48" fmla="*/ 2147483647 w 281"/>
              <a:gd name="T49" fmla="*/ 2147483647 h 193"/>
              <a:gd name="T50" fmla="*/ 2147483647 w 281"/>
              <a:gd name="T51" fmla="*/ 2147483647 h 193"/>
              <a:gd name="T52" fmla="*/ 2147483647 w 281"/>
              <a:gd name="T53" fmla="*/ 2147483647 h 193"/>
              <a:gd name="T54" fmla="*/ 2147483647 w 281"/>
              <a:gd name="T55" fmla="*/ 2147483647 h 193"/>
              <a:gd name="T56" fmla="*/ 2147483647 w 281"/>
              <a:gd name="T57" fmla="*/ 2147483647 h 193"/>
              <a:gd name="T58" fmla="*/ 2147483647 w 281"/>
              <a:gd name="T59" fmla="*/ 2147483647 h 193"/>
              <a:gd name="T60" fmla="*/ 2147483647 w 281"/>
              <a:gd name="T61" fmla="*/ 2147483647 h 193"/>
              <a:gd name="T62" fmla="*/ 2147483647 w 281"/>
              <a:gd name="T63" fmla="*/ 2147483647 h 193"/>
              <a:gd name="T64" fmla="*/ 2147483647 w 281"/>
              <a:gd name="T65" fmla="*/ 2147483647 h 193"/>
              <a:gd name="T66" fmla="*/ 2147483647 w 281"/>
              <a:gd name="T67" fmla="*/ 2147483647 h 193"/>
              <a:gd name="T68" fmla="*/ 2147483647 w 281"/>
              <a:gd name="T69" fmla="*/ 2147483647 h 193"/>
              <a:gd name="T70" fmla="*/ 2147483647 w 281"/>
              <a:gd name="T71" fmla="*/ 2147483647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mpd="sng">
            <a:solidFill>
              <a:srgbClr val="FFFFFF"/>
            </a:solidFill>
            <a:prstDash val="solid"/>
            <a:round/>
            <a:headEnd/>
            <a:tailEnd/>
          </a:ln>
        </p:spPr>
        <p:txBody>
          <a:bodyPr/>
          <a:lstStyle/>
          <a:p>
            <a:endParaRPr lang="en-AU"/>
          </a:p>
        </p:txBody>
      </p:sp>
      <p:sp>
        <p:nvSpPr>
          <p:cNvPr id="2191" name="Freeform 215"/>
          <p:cNvSpPr>
            <a:spLocks/>
          </p:cNvSpPr>
          <p:nvPr>
            <p:custDataLst>
              <p:tags r:id="rId142"/>
            </p:custDataLst>
          </p:nvPr>
        </p:nvSpPr>
        <p:spPr bwMode="auto">
          <a:xfrm>
            <a:off x="2070100" y="3081338"/>
            <a:ext cx="52388" cy="58737"/>
          </a:xfrm>
          <a:custGeom>
            <a:avLst/>
            <a:gdLst>
              <a:gd name="T0" fmla="*/ 0 w 120"/>
              <a:gd name="T1" fmla="*/ 2147483647 h 56"/>
              <a:gd name="T2" fmla="*/ 2147483647 w 120"/>
              <a:gd name="T3" fmla="*/ 2147483647 h 56"/>
              <a:gd name="T4" fmla="*/ 2147483647 w 120"/>
              <a:gd name="T5" fmla="*/ 2147483647 h 56"/>
              <a:gd name="T6" fmla="*/ 2147483647 w 120"/>
              <a:gd name="T7" fmla="*/ 2147483647 h 56"/>
              <a:gd name="T8" fmla="*/ 2147483647 w 120"/>
              <a:gd name="T9" fmla="*/ 2147483647 h 56"/>
              <a:gd name="T10" fmla="*/ 2147483647 w 120"/>
              <a:gd name="T11" fmla="*/ 2147483647 h 56"/>
              <a:gd name="T12" fmla="*/ 2147483647 w 120"/>
              <a:gd name="T13" fmla="*/ 2147483647 h 56"/>
              <a:gd name="T14" fmla="*/ 2147483647 w 120"/>
              <a:gd name="T15" fmla="*/ 2147483647 h 56"/>
              <a:gd name="T16" fmla="*/ 2147483647 w 120"/>
              <a:gd name="T17" fmla="*/ 2147483647 h 56"/>
              <a:gd name="T18" fmla="*/ 2147483647 w 120"/>
              <a:gd name="T19" fmla="*/ 2147483647 h 56"/>
              <a:gd name="T20" fmla="*/ 2147483647 w 120"/>
              <a:gd name="T21" fmla="*/ 2147483647 h 56"/>
              <a:gd name="T22" fmla="*/ 2147483647 w 120"/>
              <a:gd name="T23" fmla="*/ 2147483647 h 56"/>
              <a:gd name="T24" fmla="*/ 2147483647 w 120"/>
              <a:gd name="T25" fmla="*/ 2147483647 h 56"/>
              <a:gd name="T26" fmla="*/ 2147483647 w 120"/>
              <a:gd name="T27" fmla="*/ 2147483647 h 56"/>
              <a:gd name="T28" fmla="*/ 2147483647 w 120"/>
              <a:gd name="T29" fmla="*/ 2147483647 h 56"/>
              <a:gd name="T30" fmla="*/ 2147483647 w 120"/>
              <a:gd name="T31" fmla="*/ 2147483647 h 56"/>
              <a:gd name="T32" fmla="*/ 2147483647 w 120"/>
              <a:gd name="T33" fmla="*/ 2147483647 h 56"/>
              <a:gd name="T34" fmla="*/ 2147483647 w 120"/>
              <a:gd name="T35" fmla="*/ 2147483647 h 56"/>
              <a:gd name="T36" fmla="*/ 2147483647 w 120"/>
              <a:gd name="T37" fmla="*/ 2147483647 h 56"/>
              <a:gd name="T38" fmla="*/ 2147483647 w 120"/>
              <a:gd name="T39" fmla="*/ 2147483647 h 56"/>
              <a:gd name="T40" fmla="*/ 2147483647 w 120"/>
              <a:gd name="T41" fmla="*/ 2147483647 h 56"/>
              <a:gd name="T42" fmla="*/ 2147483647 w 120"/>
              <a:gd name="T43" fmla="*/ 0 h 56"/>
              <a:gd name="T44" fmla="*/ 2147483647 w 120"/>
              <a:gd name="T45" fmla="*/ 2147483647 h 56"/>
              <a:gd name="T46" fmla="*/ 2147483647 w 120"/>
              <a:gd name="T47" fmla="*/ 2147483647 h 56"/>
              <a:gd name="T48" fmla="*/ 2147483647 w 120"/>
              <a:gd name="T49" fmla="*/ 2147483647 h 56"/>
              <a:gd name="T50" fmla="*/ 2147483647 w 120"/>
              <a:gd name="T51" fmla="*/ 2147483647 h 56"/>
              <a:gd name="T52" fmla="*/ 2147483647 w 120"/>
              <a:gd name="T53" fmla="*/ 2147483647 h 56"/>
              <a:gd name="T54" fmla="*/ 2147483647 w 120"/>
              <a:gd name="T55" fmla="*/ 2147483647 h 56"/>
              <a:gd name="T56" fmla="*/ 2147483647 w 120"/>
              <a:gd name="T57" fmla="*/ 2147483647 h 56"/>
              <a:gd name="T58" fmla="*/ 0 w 120"/>
              <a:gd name="T59" fmla="*/ 2147483647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mpd="sng">
            <a:solidFill>
              <a:srgbClr val="FFFFFF"/>
            </a:solidFill>
            <a:prstDash val="solid"/>
            <a:round/>
            <a:headEnd/>
            <a:tailEnd/>
          </a:ln>
        </p:spPr>
        <p:txBody>
          <a:bodyPr/>
          <a:lstStyle/>
          <a:p>
            <a:endParaRPr lang="en-AU"/>
          </a:p>
        </p:txBody>
      </p:sp>
      <p:sp>
        <p:nvSpPr>
          <p:cNvPr id="2192" name="Freeform 216"/>
          <p:cNvSpPr>
            <a:spLocks/>
          </p:cNvSpPr>
          <p:nvPr>
            <p:custDataLst>
              <p:tags r:id="rId143"/>
            </p:custDataLst>
          </p:nvPr>
        </p:nvSpPr>
        <p:spPr bwMode="auto">
          <a:xfrm>
            <a:off x="1927225" y="2943225"/>
            <a:ext cx="250825" cy="109538"/>
          </a:xfrm>
          <a:custGeom>
            <a:avLst/>
            <a:gdLst>
              <a:gd name="T0" fmla="*/ 2147483647 w 574"/>
              <a:gd name="T1" fmla="*/ 2147483647 h 204"/>
              <a:gd name="T2" fmla="*/ 2147483647 w 574"/>
              <a:gd name="T3" fmla="*/ 2147483647 h 204"/>
              <a:gd name="T4" fmla="*/ 2147483647 w 574"/>
              <a:gd name="T5" fmla="*/ 2147483647 h 204"/>
              <a:gd name="T6" fmla="*/ 2147483647 w 574"/>
              <a:gd name="T7" fmla="*/ 2147483647 h 204"/>
              <a:gd name="T8" fmla="*/ 2147483647 w 574"/>
              <a:gd name="T9" fmla="*/ 2147483647 h 204"/>
              <a:gd name="T10" fmla="*/ 2147483647 w 574"/>
              <a:gd name="T11" fmla="*/ 2147483647 h 204"/>
              <a:gd name="T12" fmla="*/ 2147483647 w 574"/>
              <a:gd name="T13" fmla="*/ 2147483647 h 204"/>
              <a:gd name="T14" fmla="*/ 0 w 574"/>
              <a:gd name="T15" fmla="*/ 2147483647 h 204"/>
              <a:gd name="T16" fmla="*/ 2147483647 w 574"/>
              <a:gd name="T17" fmla="*/ 2147483647 h 204"/>
              <a:gd name="T18" fmla="*/ 2147483647 w 574"/>
              <a:gd name="T19" fmla="*/ 2147483647 h 204"/>
              <a:gd name="T20" fmla="*/ 2147483647 w 574"/>
              <a:gd name="T21" fmla="*/ 2147483647 h 204"/>
              <a:gd name="T22" fmla="*/ 2147483647 w 574"/>
              <a:gd name="T23" fmla="*/ 2147483647 h 204"/>
              <a:gd name="T24" fmla="*/ 2147483647 w 574"/>
              <a:gd name="T25" fmla="*/ 2147483647 h 204"/>
              <a:gd name="T26" fmla="*/ 2147483647 w 574"/>
              <a:gd name="T27" fmla="*/ 2147483647 h 204"/>
              <a:gd name="T28" fmla="*/ 2147483647 w 574"/>
              <a:gd name="T29" fmla="*/ 2147483647 h 204"/>
              <a:gd name="T30" fmla="*/ 2147483647 w 574"/>
              <a:gd name="T31" fmla="*/ 2147483647 h 204"/>
              <a:gd name="T32" fmla="*/ 2147483647 w 574"/>
              <a:gd name="T33" fmla="*/ 2147483647 h 204"/>
              <a:gd name="T34" fmla="*/ 2147483647 w 574"/>
              <a:gd name="T35" fmla="*/ 2147483647 h 204"/>
              <a:gd name="T36" fmla="*/ 2147483647 w 574"/>
              <a:gd name="T37" fmla="*/ 2147483647 h 204"/>
              <a:gd name="T38" fmla="*/ 2147483647 w 574"/>
              <a:gd name="T39" fmla="*/ 2147483647 h 204"/>
              <a:gd name="T40" fmla="*/ 2147483647 w 574"/>
              <a:gd name="T41" fmla="*/ 2147483647 h 204"/>
              <a:gd name="T42" fmla="*/ 2147483647 w 574"/>
              <a:gd name="T43" fmla="*/ 2147483647 h 204"/>
              <a:gd name="T44" fmla="*/ 2147483647 w 574"/>
              <a:gd name="T45" fmla="*/ 2147483647 h 204"/>
              <a:gd name="T46" fmla="*/ 2147483647 w 574"/>
              <a:gd name="T47" fmla="*/ 2147483647 h 204"/>
              <a:gd name="T48" fmla="*/ 2147483647 w 574"/>
              <a:gd name="T49" fmla="*/ 2147483647 h 204"/>
              <a:gd name="T50" fmla="*/ 2147483647 w 574"/>
              <a:gd name="T51" fmla="*/ 2147483647 h 204"/>
              <a:gd name="T52" fmla="*/ 2147483647 w 574"/>
              <a:gd name="T53" fmla="*/ 2147483647 h 204"/>
              <a:gd name="T54" fmla="*/ 2147483647 w 574"/>
              <a:gd name="T55" fmla="*/ 2147483647 h 204"/>
              <a:gd name="T56" fmla="*/ 2147483647 w 574"/>
              <a:gd name="T57" fmla="*/ 2147483647 h 204"/>
              <a:gd name="T58" fmla="*/ 2147483647 w 574"/>
              <a:gd name="T59" fmla="*/ 2147483647 h 204"/>
              <a:gd name="T60" fmla="*/ 2147483647 w 574"/>
              <a:gd name="T61" fmla="*/ 2147483647 h 204"/>
              <a:gd name="T62" fmla="*/ 2147483647 w 574"/>
              <a:gd name="T63" fmla="*/ 2147483647 h 204"/>
              <a:gd name="T64" fmla="*/ 2147483647 w 574"/>
              <a:gd name="T65" fmla="*/ 2147483647 h 204"/>
              <a:gd name="T66" fmla="*/ 2147483647 w 574"/>
              <a:gd name="T67" fmla="*/ 2147483647 h 204"/>
              <a:gd name="T68" fmla="*/ 2147483647 w 574"/>
              <a:gd name="T69" fmla="*/ 2147483647 h 204"/>
              <a:gd name="T70" fmla="*/ 2147483647 w 574"/>
              <a:gd name="T71" fmla="*/ 2147483647 h 204"/>
              <a:gd name="T72" fmla="*/ 2147483647 w 574"/>
              <a:gd name="T73" fmla="*/ 2147483647 h 204"/>
              <a:gd name="T74" fmla="*/ 2147483647 w 574"/>
              <a:gd name="T75" fmla="*/ 2147483647 h 204"/>
              <a:gd name="T76" fmla="*/ 2147483647 w 574"/>
              <a:gd name="T77" fmla="*/ 2147483647 h 204"/>
              <a:gd name="T78" fmla="*/ 2147483647 w 574"/>
              <a:gd name="T79" fmla="*/ 2147483647 h 204"/>
              <a:gd name="T80" fmla="*/ 2147483647 w 574"/>
              <a:gd name="T81" fmla="*/ 2147483647 h 204"/>
              <a:gd name="T82" fmla="*/ 2147483647 w 574"/>
              <a:gd name="T83" fmla="*/ 2147483647 h 204"/>
              <a:gd name="T84" fmla="*/ 2147483647 w 574"/>
              <a:gd name="T85" fmla="*/ 2147483647 h 204"/>
              <a:gd name="T86" fmla="*/ 2147483647 w 574"/>
              <a:gd name="T87" fmla="*/ 2147483647 h 204"/>
              <a:gd name="T88" fmla="*/ 2147483647 w 574"/>
              <a:gd name="T89" fmla="*/ 2147483647 h 204"/>
              <a:gd name="T90" fmla="*/ 2147483647 w 574"/>
              <a:gd name="T91" fmla="*/ 2147483647 h 204"/>
              <a:gd name="T92" fmla="*/ 2147483647 w 574"/>
              <a:gd name="T93" fmla="*/ 2147483647 h 204"/>
              <a:gd name="T94" fmla="*/ 2147483647 w 574"/>
              <a:gd name="T95" fmla="*/ 2147483647 h 204"/>
              <a:gd name="T96" fmla="*/ 2147483647 w 574"/>
              <a:gd name="T97" fmla="*/ 2147483647 h 204"/>
              <a:gd name="T98" fmla="*/ 2147483647 w 574"/>
              <a:gd name="T99" fmla="*/ 2147483647 h 204"/>
              <a:gd name="T100" fmla="*/ 2147483647 w 574"/>
              <a:gd name="T101" fmla="*/ 2147483647 h 204"/>
              <a:gd name="T102" fmla="*/ 2147483647 w 574"/>
              <a:gd name="T103" fmla="*/ 2147483647 h 204"/>
              <a:gd name="T104" fmla="*/ 2147483647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cmpd="sng">
            <a:solidFill>
              <a:srgbClr val="FFFFFF"/>
            </a:solidFill>
            <a:prstDash val="solid"/>
            <a:round/>
            <a:headEnd/>
            <a:tailEnd/>
          </a:ln>
        </p:spPr>
        <p:txBody>
          <a:bodyPr/>
          <a:lstStyle/>
          <a:p>
            <a:endParaRPr lang="en-AU"/>
          </a:p>
        </p:txBody>
      </p:sp>
      <p:sp>
        <p:nvSpPr>
          <p:cNvPr id="2193" name="Freeform 217"/>
          <p:cNvSpPr>
            <a:spLocks/>
          </p:cNvSpPr>
          <p:nvPr>
            <p:custDataLst>
              <p:tags r:id="rId144"/>
            </p:custDataLst>
          </p:nvPr>
        </p:nvSpPr>
        <p:spPr bwMode="auto">
          <a:xfrm>
            <a:off x="2232025" y="3046413"/>
            <a:ext cx="88900" cy="69850"/>
          </a:xfrm>
          <a:custGeom>
            <a:avLst/>
            <a:gdLst>
              <a:gd name="T0" fmla="*/ 2147483647 w 207"/>
              <a:gd name="T1" fmla="*/ 2147483647 h 129"/>
              <a:gd name="T2" fmla="*/ 2147483647 w 207"/>
              <a:gd name="T3" fmla="*/ 2147483647 h 129"/>
              <a:gd name="T4" fmla="*/ 2147483647 w 207"/>
              <a:gd name="T5" fmla="*/ 2147483647 h 129"/>
              <a:gd name="T6" fmla="*/ 2147483647 w 207"/>
              <a:gd name="T7" fmla="*/ 2147483647 h 129"/>
              <a:gd name="T8" fmla="*/ 2147483647 w 207"/>
              <a:gd name="T9" fmla="*/ 2147483647 h 129"/>
              <a:gd name="T10" fmla="*/ 2147483647 w 207"/>
              <a:gd name="T11" fmla="*/ 2147483647 h 129"/>
              <a:gd name="T12" fmla="*/ 2147483647 w 207"/>
              <a:gd name="T13" fmla="*/ 2147483647 h 129"/>
              <a:gd name="T14" fmla="*/ 2147483647 w 207"/>
              <a:gd name="T15" fmla="*/ 2147483647 h 129"/>
              <a:gd name="T16" fmla="*/ 2147483647 w 207"/>
              <a:gd name="T17" fmla="*/ 2147483647 h 129"/>
              <a:gd name="T18" fmla="*/ 2147483647 w 207"/>
              <a:gd name="T19" fmla="*/ 2147483647 h 129"/>
              <a:gd name="T20" fmla="*/ 2147483647 w 207"/>
              <a:gd name="T21" fmla="*/ 2147483647 h 129"/>
              <a:gd name="T22" fmla="*/ 2147483647 w 207"/>
              <a:gd name="T23" fmla="*/ 2147483647 h 129"/>
              <a:gd name="T24" fmla="*/ 2147483647 w 207"/>
              <a:gd name="T25" fmla="*/ 2147483647 h 129"/>
              <a:gd name="T26" fmla="*/ 2147483647 w 207"/>
              <a:gd name="T27" fmla="*/ 2147483647 h 129"/>
              <a:gd name="T28" fmla="*/ 2147483647 w 207"/>
              <a:gd name="T29" fmla="*/ 2147483647 h 129"/>
              <a:gd name="T30" fmla="*/ 2147483647 w 207"/>
              <a:gd name="T31" fmla="*/ 2147483647 h 129"/>
              <a:gd name="T32" fmla="*/ 2147483647 w 207"/>
              <a:gd name="T33" fmla="*/ 2147483647 h 129"/>
              <a:gd name="T34" fmla="*/ 2147483647 w 207"/>
              <a:gd name="T35" fmla="*/ 2147483647 h 129"/>
              <a:gd name="T36" fmla="*/ 2147483647 w 207"/>
              <a:gd name="T37" fmla="*/ 2147483647 h 129"/>
              <a:gd name="T38" fmla="*/ 2147483647 w 207"/>
              <a:gd name="T39" fmla="*/ 2147483647 h 129"/>
              <a:gd name="T40" fmla="*/ 2147483647 w 207"/>
              <a:gd name="T41" fmla="*/ 2147483647 h 129"/>
              <a:gd name="T42" fmla="*/ 2147483647 w 207"/>
              <a:gd name="T43" fmla="*/ 2147483647 h 129"/>
              <a:gd name="T44" fmla="*/ 2147483647 w 207"/>
              <a:gd name="T45" fmla="*/ 0 h 129"/>
              <a:gd name="T46" fmla="*/ 0 w 207"/>
              <a:gd name="T47" fmla="*/ 0 h 129"/>
              <a:gd name="T48" fmla="*/ 2147483647 w 207"/>
              <a:gd name="T49" fmla="*/ 2147483647 h 129"/>
              <a:gd name="T50" fmla="*/ 2147483647 w 207"/>
              <a:gd name="T51" fmla="*/ 2147483647 h 129"/>
              <a:gd name="T52" fmla="*/ 2147483647 w 207"/>
              <a:gd name="T53" fmla="*/ 2147483647 h 129"/>
              <a:gd name="T54" fmla="*/ 2147483647 w 207"/>
              <a:gd name="T55" fmla="*/ 2147483647 h 129"/>
              <a:gd name="T56" fmla="*/ 2147483647 w 207"/>
              <a:gd name="T57" fmla="*/ 2147483647 h 129"/>
              <a:gd name="T58" fmla="*/ 2147483647 w 207"/>
              <a:gd name="T59" fmla="*/ 2147483647 h 129"/>
              <a:gd name="T60" fmla="*/ 2147483647 w 207"/>
              <a:gd name="T61" fmla="*/ 2147483647 h 129"/>
              <a:gd name="T62" fmla="*/ 2147483647 w 207"/>
              <a:gd name="T63" fmla="*/ 2147483647 h 129"/>
              <a:gd name="T64" fmla="*/ 2147483647 w 207"/>
              <a:gd name="T65" fmla="*/ 2147483647 h 129"/>
              <a:gd name="T66" fmla="*/ 2147483647 w 207"/>
              <a:gd name="T67" fmla="*/ 2147483647 h 129"/>
              <a:gd name="T68" fmla="*/ 2147483647 w 207"/>
              <a:gd name="T69" fmla="*/ 2147483647 h 129"/>
              <a:gd name="T70" fmla="*/ 2147483647 w 207"/>
              <a:gd name="T71" fmla="*/ 2147483647 h 129"/>
              <a:gd name="T72" fmla="*/ 0 w 207"/>
              <a:gd name="T73" fmla="*/ 2147483647 h 129"/>
              <a:gd name="T74" fmla="*/ 2147483647 w 207"/>
              <a:gd name="T75" fmla="*/ 2147483647 h 129"/>
              <a:gd name="T76" fmla="*/ 2147483647 w 207"/>
              <a:gd name="T77" fmla="*/ 2147483647 h 129"/>
              <a:gd name="T78" fmla="*/ 2147483647 w 207"/>
              <a:gd name="T79" fmla="*/ 2147483647 h 129"/>
              <a:gd name="T80" fmla="*/ 2147483647 w 207"/>
              <a:gd name="T81" fmla="*/ 2147483647 h 129"/>
              <a:gd name="T82" fmla="*/ 2147483647 w 207"/>
              <a:gd name="T83" fmla="*/ 2147483647 h 129"/>
              <a:gd name="T84" fmla="*/ 2147483647 w 207"/>
              <a:gd name="T85" fmla="*/ 2147483647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cmpd="sng">
            <a:solidFill>
              <a:srgbClr val="FFFFFF"/>
            </a:solidFill>
            <a:prstDash val="solid"/>
            <a:round/>
            <a:headEnd/>
            <a:tailEnd/>
          </a:ln>
        </p:spPr>
        <p:txBody>
          <a:bodyPr/>
          <a:lstStyle/>
          <a:p>
            <a:endParaRPr lang="en-AU"/>
          </a:p>
        </p:txBody>
      </p:sp>
      <p:sp>
        <p:nvSpPr>
          <p:cNvPr id="2194" name="Freeform 218"/>
          <p:cNvSpPr>
            <a:spLocks/>
          </p:cNvSpPr>
          <p:nvPr>
            <p:custDataLst>
              <p:tags r:id="rId145"/>
            </p:custDataLst>
          </p:nvPr>
        </p:nvSpPr>
        <p:spPr bwMode="auto">
          <a:xfrm>
            <a:off x="1800225" y="3106738"/>
            <a:ext cx="33338" cy="84137"/>
          </a:xfrm>
          <a:custGeom>
            <a:avLst/>
            <a:gdLst>
              <a:gd name="T0" fmla="*/ 2147483647 w 72"/>
              <a:gd name="T1" fmla="*/ 0 h 154"/>
              <a:gd name="T2" fmla="*/ 2147483647 w 72"/>
              <a:gd name="T3" fmla="*/ 2147483647 h 154"/>
              <a:gd name="T4" fmla="*/ 2147483647 w 72"/>
              <a:gd name="T5" fmla="*/ 2147483647 h 154"/>
              <a:gd name="T6" fmla="*/ 2147483647 w 72"/>
              <a:gd name="T7" fmla="*/ 2147483647 h 154"/>
              <a:gd name="T8" fmla="*/ 2147483647 w 72"/>
              <a:gd name="T9" fmla="*/ 2147483647 h 154"/>
              <a:gd name="T10" fmla="*/ 2147483647 w 72"/>
              <a:gd name="T11" fmla="*/ 2147483647 h 154"/>
              <a:gd name="T12" fmla="*/ 2147483647 w 72"/>
              <a:gd name="T13" fmla="*/ 2147483647 h 154"/>
              <a:gd name="T14" fmla="*/ 2147483647 w 72"/>
              <a:gd name="T15" fmla="*/ 2147483647 h 154"/>
              <a:gd name="T16" fmla="*/ 2147483647 w 72"/>
              <a:gd name="T17" fmla="*/ 2147483647 h 154"/>
              <a:gd name="T18" fmla="*/ 2147483647 w 72"/>
              <a:gd name="T19" fmla="*/ 2147483647 h 154"/>
              <a:gd name="T20" fmla="*/ 2147483647 w 72"/>
              <a:gd name="T21" fmla="*/ 2147483647 h 154"/>
              <a:gd name="T22" fmla="*/ 2147483647 w 72"/>
              <a:gd name="T23" fmla="*/ 2147483647 h 154"/>
              <a:gd name="T24" fmla="*/ 2147483647 w 72"/>
              <a:gd name="T25" fmla="*/ 2147483647 h 154"/>
              <a:gd name="T26" fmla="*/ 2147483647 w 72"/>
              <a:gd name="T27" fmla="*/ 2147483647 h 154"/>
              <a:gd name="T28" fmla="*/ 2147483647 w 72"/>
              <a:gd name="T29" fmla="*/ 2147483647 h 154"/>
              <a:gd name="T30" fmla="*/ 2147483647 w 72"/>
              <a:gd name="T31" fmla="*/ 2147483647 h 154"/>
              <a:gd name="T32" fmla="*/ 2147483647 w 72"/>
              <a:gd name="T33" fmla="*/ 2147483647 h 154"/>
              <a:gd name="T34" fmla="*/ 2147483647 w 72"/>
              <a:gd name="T35" fmla="*/ 2147483647 h 154"/>
              <a:gd name="T36" fmla="*/ 2147483647 w 72"/>
              <a:gd name="T37" fmla="*/ 2147483647 h 154"/>
              <a:gd name="T38" fmla="*/ 2147483647 w 72"/>
              <a:gd name="T39" fmla="*/ 2147483647 h 154"/>
              <a:gd name="T40" fmla="*/ 2147483647 w 72"/>
              <a:gd name="T41" fmla="*/ 2147483647 h 154"/>
              <a:gd name="T42" fmla="*/ 0 w 72"/>
              <a:gd name="T43" fmla="*/ 2147483647 h 154"/>
              <a:gd name="T44" fmla="*/ 2147483647 w 72"/>
              <a:gd name="T45" fmla="*/ 2147483647 h 154"/>
              <a:gd name="T46" fmla="*/ 2147483647 w 72"/>
              <a:gd name="T47" fmla="*/ 2147483647 h 154"/>
              <a:gd name="T48" fmla="*/ 2147483647 w 72"/>
              <a:gd name="T49" fmla="*/ 2147483647 h 154"/>
              <a:gd name="T50" fmla="*/ 2147483647 w 72"/>
              <a:gd name="T51" fmla="*/ 2147483647 h 154"/>
              <a:gd name="T52" fmla="*/ 2147483647 w 72"/>
              <a:gd name="T53" fmla="*/ 2147483647 h 154"/>
              <a:gd name="T54" fmla="*/ 2147483647 w 72"/>
              <a:gd name="T55" fmla="*/ 2147483647 h 154"/>
              <a:gd name="T56" fmla="*/ 2147483647 w 72"/>
              <a:gd name="T57" fmla="*/ 0 h 154"/>
              <a:gd name="T58" fmla="*/ 2147483647 w 72"/>
              <a:gd name="T59" fmla="*/ 0 h 154"/>
              <a:gd name="T60" fmla="*/ 2147483647 w 72"/>
              <a:gd name="T61" fmla="*/ 0 h 154"/>
              <a:gd name="T62" fmla="*/ 2147483647 w 72"/>
              <a:gd name="T63" fmla="*/ 0 h 154"/>
              <a:gd name="T64" fmla="*/ 2147483647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195" name="Freeform 219"/>
          <p:cNvSpPr>
            <a:spLocks/>
          </p:cNvSpPr>
          <p:nvPr>
            <p:custDataLst>
              <p:tags r:id="rId146"/>
            </p:custDataLst>
          </p:nvPr>
        </p:nvSpPr>
        <p:spPr bwMode="auto">
          <a:xfrm>
            <a:off x="1720850" y="3106738"/>
            <a:ext cx="93663" cy="146050"/>
          </a:xfrm>
          <a:custGeom>
            <a:avLst/>
            <a:gdLst>
              <a:gd name="T0" fmla="*/ 2147483647 w 214"/>
              <a:gd name="T1" fmla="*/ 2147483647 h 271"/>
              <a:gd name="T2" fmla="*/ 2147483647 w 214"/>
              <a:gd name="T3" fmla="*/ 2147483647 h 271"/>
              <a:gd name="T4" fmla="*/ 2147483647 w 214"/>
              <a:gd name="T5" fmla="*/ 2147483647 h 271"/>
              <a:gd name="T6" fmla="*/ 2147483647 w 214"/>
              <a:gd name="T7" fmla="*/ 2147483647 h 271"/>
              <a:gd name="T8" fmla="*/ 2147483647 w 214"/>
              <a:gd name="T9" fmla="*/ 2147483647 h 271"/>
              <a:gd name="T10" fmla="*/ 2147483647 w 214"/>
              <a:gd name="T11" fmla="*/ 2147483647 h 271"/>
              <a:gd name="T12" fmla="*/ 2147483647 w 214"/>
              <a:gd name="T13" fmla="*/ 2147483647 h 271"/>
              <a:gd name="T14" fmla="*/ 2147483647 w 214"/>
              <a:gd name="T15" fmla="*/ 2147483647 h 271"/>
              <a:gd name="T16" fmla="*/ 2147483647 w 214"/>
              <a:gd name="T17" fmla="*/ 2147483647 h 271"/>
              <a:gd name="T18" fmla="*/ 2147483647 w 214"/>
              <a:gd name="T19" fmla="*/ 2147483647 h 271"/>
              <a:gd name="T20" fmla="*/ 2147483647 w 214"/>
              <a:gd name="T21" fmla="*/ 2147483647 h 271"/>
              <a:gd name="T22" fmla="*/ 2147483647 w 214"/>
              <a:gd name="T23" fmla="*/ 2147483647 h 271"/>
              <a:gd name="T24" fmla="*/ 2147483647 w 214"/>
              <a:gd name="T25" fmla="*/ 2147483647 h 271"/>
              <a:gd name="T26" fmla="*/ 2147483647 w 214"/>
              <a:gd name="T27" fmla="*/ 2147483647 h 271"/>
              <a:gd name="T28" fmla="*/ 2147483647 w 214"/>
              <a:gd name="T29" fmla="*/ 2147483647 h 271"/>
              <a:gd name="T30" fmla="*/ 2147483647 w 214"/>
              <a:gd name="T31" fmla="*/ 2147483647 h 271"/>
              <a:gd name="T32" fmla="*/ 2147483647 w 214"/>
              <a:gd name="T33" fmla="*/ 2147483647 h 271"/>
              <a:gd name="T34" fmla="*/ 2147483647 w 214"/>
              <a:gd name="T35" fmla="*/ 2147483647 h 271"/>
              <a:gd name="T36" fmla="*/ 2147483647 w 214"/>
              <a:gd name="T37" fmla="*/ 0 h 271"/>
              <a:gd name="T38" fmla="*/ 2147483647 w 214"/>
              <a:gd name="T39" fmla="*/ 0 h 271"/>
              <a:gd name="T40" fmla="*/ 2147483647 w 214"/>
              <a:gd name="T41" fmla="*/ 2147483647 h 271"/>
              <a:gd name="T42" fmla="*/ 2147483647 w 214"/>
              <a:gd name="T43" fmla="*/ 2147483647 h 271"/>
              <a:gd name="T44" fmla="*/ 2147483647 w 214"/>
              <a:gd name="T45" fmla="*/ 2147483647 h 271"/>
              <a:gd name="T46" fmla="*/ 2147483647 w 214"/>
              <a:gd name="T47" fmla="*/ 2147483647 h 271"/>
              <a:gd name="T48" fmla="*/ 2147483647 w 214"/>
              <a:gd name="T49" fmla="*/ 2147483647 h 271"/>
              <a:gd name="T50" fmla="*/ 2147483647 w 214"/>
              <a:gd name="T51" fmla="*/ 2147483647 h 271"/>
              <a:gd name="T52" fmla="*/ 2147483647 w 214"/>
              <a:gd name="T53" fmla="*/ 2147483647 h 271"/>
              <a:gd name="T54" fmla="*/ 2147483647 w 214"/>
              <a:gd name="T55" fmla="*/ 2147483647 h 271"/>
              <a:gd name="T56" fmla="*/ 2147483647 w 214"/>
              <a:gd name="T57" fmla="*/ 2147483647 h 271"/>
              <a:gd name="T58" fmla="*/ 2147483647 w 214"/>
              <a:gd name="T59" fmla="*/ 2147483647 h 271"/>
              <a:gd name="T60" fmla="*/ 2147483647 w 214"/>
              <a:gd name="T61" fmla="*/ 2147483647 h 271"/>
              <a:gd name="T62" fmla="*/ 2147483647 w 214"/>
              <a:gd name="T63" fmla="*/ 2147483647 h 271"/>
              <a:gd name="T64" fmla="*/ 2147483647 w 214"/>
              <a:gd name="T65" fmla="*/ 2147483647 h 271"/>
              <a:gd name="T66" fmla="*/ 2147483647 w 214"/>
              <a:gd name="T67" fmla="*/ 2147483647 h 271"/>
              <a:gd name="T68" fmla="*/ 2147483647 w 214"/>
              <a:gd name="T69" fmla="*/ 2147483647 h 271"/>
              <a:gd name="T70" fmla="*/ 0 w 214"/>
              <a:gd name="T71" fmla="*/ 2147483647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196" name="Freeform 220"/>
          <p:cNvSpPr>
            <a:spLocks/>
          </p:cNvSpPr>
          <p:nvPr>
            <p:custDataLst>
              <p:tags r:id="rId147"/>
            </p:custDataLst>
          </p:nvPr>
        </p:nvSpPr>
        <p:spPr bwMode="auto">
          <a:xfrm>
            <a:off x="1768475" y="3217863"/>
            <a:ext cx="71438" cy="57150"/>
          </a:xfrm>
          <a:custGeom>
            <a:avLst/>
            <a:gdLst>
              <a:gd name="T0" fmla="*/ 2147483647 w 153"/>
              <a:gd name="T1" fmla="*/ 0 h 80"/>
              <a:gd name="T2" fmla="*/ 2147483647 w 153"/>
              <a:gd name="T3" fmla="*/ 2147483647 h 80"/>
              <a:gd name="T4" fmla="*/ 2147483647 w 153"/>
              <a:gd name="T5" fmla="*/ 2147483647 h 80"/>
              <a:gd name="T6" fmla="*/ 2147483647 w 153"/>
              <a:gd name="T7" fmla="*/ 2147483647 h 80"/>
              <a:gd name="T8" fmla="*/ 2147483647 w 153"/>
              <a:gd name="T9" fmla="*/ 2147483647 h 80"/>
              <a:gd name="T10" fmla="*/ 2147483647 w 153"/>
              <a:gd name="T11" fmla="*/ 2147483647 h 80"/>
              <a:gd name="T12" fmla="*/ 2147483647 w 153"/>
              <a:gd name="T13" fmla="*/ 2147483647 h 80"/>
              <a:gd name="T14" fmla="*/ 2147483647 w 153"/>
              <a:gd name="T15" fmla="*/ 2147483647 h 80"/>
              <a:gd name="T16" fmla="*/ 2147483647 w 153"/>
              <a:gd name="T17" fmla="*/ 2147483647 h 80"/>
              <a:gd name="T18" fmla="*/ 2147483647 w 153"/>
              <a:gd name="T19" fmla="*/ 2147483647 h 80"/>
              <a:gd name="T20" fmla="*/ 2147483647 w 153"/>
              <a:gd name="T21" fmla="*/ 2147483647 h 80"/>
              <a:gd name="T22" fmla="*/ 2147483647 w 153"/>
              <a:gd name="T23" fmla="*/ 2147483647 h 80"/>
              <a:gd name="T24" fmla="*/ 2147483647 w 153"/>
              <a:gd name="T25" fmla="*/ 2147483647 h 80"/>
              <a:gd name="T26" fmla="*/ 2147483647 w 153"/>
              <a:gd name="T27" fmla="*/ 2147483647 h 80"/>
              <a:gd name="T28" fmla="*/ 2147483647 w 153"/>
              <a:gd name="T29" fmla="*/ 2147483647 h 80"/>
              <a:gd name="T30" fmla="*/ 2147483647 w 153"/>
              <a:gd name="T31" fmla="*/ 2147483647 h 80"/>
              <a:gd name="T32" fmla="*/ 2147483647 w 153"/>
              <a:gd name="T33" fmla="*/ 2147483647 h 80"/>
              <a:gd name="T34" fmla="*/ 2147483647 w 153"/>
              <a:gd name="T35" fmla="*/ 2147483647 h 80"/>
              <a:gd name="T36" fmla="*/ 2147483647 w 153"/>
              <a:gd name="T37" fmla="*/ 2147483647 h 80"/>
              <a:gd name="T38" fmla="*/ 2147483647 w 153"/>
              <a:gd name="T39" fmla="*/ 2147483647 h 80"/>
              <a:gd name="T40" fmla="*/ 2147483647 w 153"/>
              <a:gd name="T41" fmla="*/ 2147483647 h 80"/>
              <a:gd name="T42" fmla="*/ 2147483647 w 153"/>
              <a:gd name="T43" fmla="*/ 2147483647 h 80"/>
              <a:gd name="T44" fmla="*/ 2147483647 w 153"/>
              <a:gd name="T45" fmla="*/ 2147483647 h 80"/>
              <a:gd name="T46" fmla="*/ 2147483647 w 153"/>
              <a:gd name="T47" fmla="*/ 2147483647 h 80"/>
              <a:gd name="T48" fmla="*/ 2147483647 w 153"/>
              <a:gd name="T49" fmla="*/ 2147483647 h 80"/>
              <a:gd name="T50" fmla="*/ 0 w 153"/>
              <a:gd name="T51" fmla="*/ 2147483647 h 80"/>
              <a:gd name="T52" fmla="*/ 2147483647 w 153"/>
              <a:gd name="T53" fmla="*/ 2147483647 h 80"/>
              <a:gd name="T54" fmla="*/ 2147483647 w 153"/>
              <a:gd name="T55" fmla="*/ 2147483647 h 80"/>
              <a:gd name="T56" fmla="*/ 2147483647 w 153"/>
              <a:gd name="T57" fmla="*/ 2147483647 h 80"/>
              <a:gd name="T58" fmla="*/ 2147483647 w 153"/>
              <a:gd name="T59" fmla="*/ 2147483647 h 80"/>
              <a:gd name="T60" fmla="*/ 2147483647 w 153"/>
              <a:gd name="T61" fmla="*/ 2147483647 h 80"/>
              <a:gd name="T62" fmla="*/ 2147483647 w 153"/>
              <a:gd name="T63" fmla="*/ 2147483647 h 80"/>
              <a:gd name="T64" fmla="*/ 2147483647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197" name="Freeform 221"/>
          <p:cNvSpPr>
            <a:spLocks/>
          </p:cNvSpPr>
          <p:nvPr>
            <p:custDataLst>
              <p:tags r:id="rId148"/>
            </p:custDataLst>
          </p:nvPr>
        </p:nvSpPr>
        <p:spPr bwMode="auto">
          <a:xfrm>
            <a:off x="1800225" y="3179763"/>
            <a:ext cx="142875" cy="87312"/>
          </a:xfrm>
          <a:custGeom>
            <a:avLst/>
            <a:gdLst>
              <a:gd name="T0" fmla="*/ 0 w 332"/>
              <a:gd name="T1" fmla="*/ 2147483647 h 169"/>
              <a:gd name="T2" fmla="*/ 2147483647 w 332"/>
              <a:gd name="T3" fmla="*/ 2147483647 h 169"/>
              <a:gd name="T4" fmla="*/ 2147483647 w 332"/>
              <a:gd name="T5" fmla="*/ 2147483647 h 169"/>
              <a:gd name="T6" fmla="*/ 2147483647 w 332"/>
              <a:gd name="T7" fmla="*/ 2147483647 h 169"/>
              <a:gd name="T8" fmla="*/ 2147483647 w 332"/>
              <a:gd name="T9" fmla="*/ 2147483647 h 169"/>
              <a:gd name="T10" fmla="*/ 2147483647 w 332"/>
              <a:gd name="T11" fmla="*/ 2147483647 h 169"/>
              <a:gd name="T12" fmla="*/ 2147483647 w 332"/>
              <a:gd name="T13" fmla="*/ 2147483647 h 169"/>
              <a:gd name="T14" fmla="*/ 2147483647 w 332"/>
              <a:gd name="T15" fmla="*/ 2147483647 h 169"/>
              <a:gd name="T16" fmla="*/ 2147483647 w 332"/>
              <a:gd name="T17" fmla="*/ 2147483647 h 169"/>
              <a:gd name="T18" fmla="*/ 2147483647 w 332"/>
              <a:gd name="T19" fmla="*/ 2147483647 h 169"/>
              <a:gd name="T20" fmla="*/ 2147483647 w 332"/>
              <a:gd name="T21" fmla="*/ 2147483647 h 169"/>
              <a:gd name="T22" fmla="*/ 2147483647 w 332"/>
              <a:gd name="T23" fmla="*/ 2147483647 h 169"/>
              <a:gd name="T24" fmla="*/ 2147483647 w 332"/>
              <a:gd name="T25" fmla="*/ 2147483647 h 169"/>
              <a:gd name="T26" fmla="*/ 2147483647 w 332"/>
              <a:gd name="T27" fmla="*/ 2147483647 h 169"/>
              <a:gd name="T28" fmla="*/ 2147483647 w 332"/>
              <a:gd name="T29" fmla="*/ 2147483647 h 169"/>
              <a:gd name="T30" fmla="*/ 2147483647 w 332"/>
              <a:gd name="T31" fmla="*/ 2147483647 h 169"/>
              <a:gd name="T32" fmla="*/ 2147483647 w 332"/>
              <a:gd name="T33" fmla="*/ 2147483647 h 169"/>
              <a:gd name="T34" fmla="*/ 2147483647 w 332"/>
              <a:gd name="T35" fmla="*/ 2147483647 h 169"/>
              <a:gd name="T36" fmla="*/ 2147483647 w 332"/>
              <a:gd name="T37" fmla="*/ 2147483647 h 169"/>
              <a:gd name="T38" fmla="*/ 2147483647 w 332"/>
              <a:gd name="T39" fmla="*/ 2147483647 h 169"/>
              <a:gd name="T40" fmla="*/ 2147483647 w 332"/>
              <a:gd name="T41" fmla="*/ 2147483647 h 169"/>
              <a:gd name="T42" fmla="*/ 2147483647 w 332"/>
              <a:gd name="T43" fmla="*/ 0 h 169"/>
              <a:gd name="T44" fmla="*/ 2147483647 w 332"/>
              <a:gd name="T45" fmla="*/ 2147483647 h 169"/>
              <a:gd name="T46" fmla="*/ 2147483647 w 332"/>
              <a:gd name="T47" fmla="*/ 2147483647 h 169"/>
              <a:gd name="T48" fmla="*/ 2147483647 w 332"/>
              <a:gd name="T49" fmla="*/ 2147483647 h 169"/>
              <a:gd name="T50" fmla="*/ 2147483647 w 332"/>
              <a:gd name="T51" fmla="*/ 2147483647 h 169"/>
              <a:gd name="T52" fmla="*/ 2147483647 w 332"/>
              <a:gd name="T53" fmla="*/ 2147483647 h 169"/>
              <a:gd name="T54" fmla="*/ 2147483647 w 332"/>
              <a:gd name="T55" fmla="*/ 2147483647 h 169"/>
              <a:gd name="T56" fmla="*/ 2147483647 w 332"/>
              <a:gd name="T57" fmla="*/ 2147483647 h 169"/>
              <a:gd name="T58" fmla="*/ 2147483647 w 332"/>
              <a:gd name="T59" fmla="*/ 2147483647 h 169"/>
              <a:gd name="T60" fmla="*/ 2147483647 w 332"/>
              <a:gd name="T61" fmla="*/ 2147483647 h 169"/>
              <a:gd name="T62" fmla="*/ 2147483647 w 332"/>
              <a:gd name="T63" fmla="*/ 2147483647 h 169"/>
              <a:gd name="T64" fmla="*/ 2147483647 w 332"/>
              <a:gd name="T65" fmla="*/ 2147483647 h 169"/>
              <a:gd name="T66" fmla="*/ 2147483647 w 332"/>
              <a:gd name="T67" fmla="*/ 2147483647 h 169"/>
              <a:gd name="T68" fmla="*/ 2147483647 w 332"/>
              <a:gd name="T69" fmla="*/ 2147483647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198" name="Freeform 222"/>
          <p:cNvSpPr>
            <a:spLocks/>
          </p:cNvSpPr>
          <p:nvPr>
            <p:custDataLst>
              <p:tags r:id="rId149"/>
            </p:custDataLst>
          </p:nvPr>
        </p:nvSpPr>
        <p:spPr bwMode="auto">
          <a:xfrm>
            <a:off x="1817688" y="3209925"/>
            <a:ext cx="125412" cy="122238"/>
          </a:xfrm>
          <a:custGeom>
            <a:avLst/>
            <a:gdLst>
              <a:gd name="T0" fmla="*/ 2147483647 w 286"/>
              <a:gd name="T1" fmla="*/ 2147483647 h 235"/>
              <a:gd name="T2" fmla="*/ 2147483647 w 286"/>
              <a:gd name="T3" fmla="*/ 2147483647 h 235"/>
              <a:gd name="T4" fmla="*/ 2147483647 w 286"/>
              <a:gd name="T5" fmla="*/ 2147483647 h 235"/>
              <a:gd name="T6" fmla="*/ 2147483647 w 286"/>
              <a:gd name="T7" fmla="*/ 2147483647 h 235"/>
              <a:gd name="T8" fmla="*/ 2147483647 w 286"/>
              <a:gd name="T9" fmla="*/ 2147483647 h 235"/>
              <a:gd name="T10" fmla="*/ 2147483647 w 286"/>
              <a:gd name="T11" fmla="*/ 2147483647 h 235"/>
              <a:gd name="T12" fmla="*/ 2147483647 w 286"/>
              <a:gd name="T13" fmla="*/ 2147483647 h 235"/>
              <a:gd name="T14" fmla="*/ 2147483647 w 286"/>
              <a:gd name="T15" fmla="*/ 2147483647 h 235"/>
              <a:gd name="T16" fmla="*/ 2147483647 w 286"/>
              <a:gd name="T17" fmla="*/ 2147483647 h 235"/>
              <a:gd name="T18" fmla="*/ 2147483647 w 286"/>
              <a:gd name="T19" fmla="*/ 2147483647 h 235"/>
              <a:gd name="T20" fmla="*/ 2147483647 w 286"/>
              <a:gd name="T21" fmla="*/ 2147483647 h 235"/>
              <a:gd name="T22" fmla="*/ 2147483647 w 286"/>
              <a:gd name="T23" fmla="*/ 2147483647 h 235"/>
              <a:gd name="T24" fmla="*/ 2147483647 w 286"/>
              <a:gd name="T25" fmla="*/ 2147483647 h 235"/>
              <a:gd name="T26" fmla="*/ 2147483647 w 286"/>
              <a:gd name="T27" fmla="*/ 2147483647 h 235"/>
              <a:gd name="T28" fmla="*/ 2147483647 w 286"/>
              <a:gd name="T29" fmla="*/ 2147483647 h 235"/>
              <a:gd name="T30" fmla="*/ 2147483647 w 286"/>
              <a:gd name="T31" fmla="*/ 2147483647 h 235"/>
              <a:gd name="T32" fmla="*/ 2147483647 w 286"/>
              <a:gd name="T33" fmla="*/ 2147483647 h 235"/>
              <a:gd name="T34" fmla="*/ 2147483647 w 286"/>
              <a:gd name="T35" fmla="*/ 2147483647 h 235"/>
              <a:gd name="T36" fmla="*/ 2147483647 w 286"/>
              <a:gd name="T37" fmla="*/ 2147483647 h 235"/>
              <a:gd name="T38" fmla="*/ 2147483647 w 286"/>
              <a:gd name="T39" fmla="*/ 2147483647 h 235"/>
              <a:gd name="T40" fmla="*/ 2147483647 w 286"/>
              <a:gd name="T41" fmla="*/ 2147483647 h 235"/>
              <a:gd name="T42" fmla="*/ 2147483647 w 286"/>
              <a:gd name="T43" fmla="*/ 2147483647 h 235"/>
              <a:gd name="T44" fmla="*/ 2147483647 w 286"/>
              <a:gd name="T45" fmla="*/ 2147483647 h 235"/>
              <a:gd name="T46" fmla="*/ 2147483647 w 286"/>
              <a:gd name="T47" fmla="*/ 2147483647 h 235"/>
              <a:gd name="T48" fmla="*/ 2147483647 w 286"/>
              <a:gd name="T49" fmla="*/ 2147483647 h 235"/>
              <a:gd name="T50" fmla="*/ 2147483647 w 286"/>
              <a:gd name="T51" fmla="*/ 2147483647 h 235"/>
              <a:gd name="T52" fmla="*/ 2147483647 w 286"/>
              <a:gd name="T53" fmla="*/ 2147483647 h 235"/>
              <a:gd name="T54" fmla="*/ 2147483647 w 286"/>
              <a:gd name="T55" fmla="*/ 2147483647 h 235"/>
              <a:gd name="T56" fmla="*/ 0 w 286"/>
              <a:gd name="T57" fmla="*/ 2147483647 h 235"/>
              <a:gd name="T58" fmla="*/ 2147483647 w 286"/>
              <a:gd name="T59" fmla="*/ 2147483647 h 235"/>
              <a:gd name="T60" fmla="*/ 2147483647 w 286"/>
              <a:gd name="T61" fmla="*/ 2147483647 h 235"/>
              <a:gd name="T62" fmla="*/ 2147483647 w 286"/>
              <a:gd name="T63" fmla="*/ 2147483647 h 235"/>
              <a:gd name="T64" fmla="*/ 2147483647 w 286"/>
              <a:gd name="T65" fmla="*/ 2147483647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199" name="Freeform 223"/>
          <p:cNvSpPr>
            <a:spLocks/>
          </p:cNvSpPr>
          <p:nvPr>
            <p:custDataLst>
              <p:tags r:id="rId150"/>
            </p:custDataLst>
          </p:nvPr>
        </p:nvSpPr>
        <p:spPr bwMode="auto">
          <a:xfrm>
            <a:off x="1868488" y="3322638"/>
            <a:ext cx="84137" cy="100012"/>
          </a:xfrm>
          <a:custGeom>
            <a:avLst/>
            <a:gdLst>
              <a:gd name="T0" fmla="*/ 2147483647 w 205"/>
              <a:gd name="T1" fmla="*/ 2147483647 h 191"/>
              <a:gd name="T2" fmla="*/ 2147483647 w 205"/>
              <a:gd name="T3" fmla="*/ 2147483647 h 191"/>
              <a:gd name="T4" fmla="*/ 2147483647 w 205"/>
              <a:gd name="T5" fmla="*/ 2147483647 h 191"/>
              <a:gd name="T6" fmla="*/ 2147483647 w 205"/>
              <a:gd name="T7" fmla="*/ 2147483647 h 191"/>
              <a:gd name="T8" fmla="*/ 2147483647 w 205"/>
              <a:gd name="T9" fmla="*/ 2147483647 h 191"/>
              <a:gd name="T10" fmla="*/ 2147483647 w 205"/>
              <a:gd name="T11" fmla="*/ 2147483647 h 191"/>
              <a:gd name="T12" fmla="*/ 2147483647 w 205"/>
              <a:gd name="T13" fmla="*/ 2147483647 h 191"/>
              <a:gd name="T14" fmla="*/ 2147483647 w 205"/>
              <a:gd name="T15" fmla="*/ 2147483647 h 191"/>
              <a:gd name="T16" fmla="*/ 2147483647 w 205"/>
              <a:gd name="T17" fmla="*/ 2147483647 h 191"/>
              <a:gd name="T18" fmla="*/ 2147483647 w 205"/>
              <a:gd name="T19" fmla="*/ 2147483647 h 191"/>
              <a:gd name="T20" fmla="*/ 2147483647 w 205"/>
              <a:gd name="T21" fmla="*/ 2147483647 h 191"/>
              <a:gd name="T22" fmla="*/ 2147483647 w 205"/>
              <a:gd name="T23" fmla="*/ 2147483647 h 191"/>
              <a:gd name="T24" fmla="*/ 2147483647 w 205"/>
              <a:gd name="T25" fmla="*/ 2147483647 h 191"/>
              <a:gd name="T26" fmla="*/ 2147483647 w 205"/>
              <a:gd name="T27" fmla="*/ 2147483647 h 191"/>
              <a:gd name="T28" fmla="*/ 2147483647 w 205"/>
              <a:gd name="T29" fmla="*/ 2147483647 h 191"/>
              <a:gd name="T30" fmla="*/ 2147483647 w 205"/>
              <a:gd name="T31" fmla="*/ 2147483647 h 191"/>
              <a:gd name="T32" fmla="*/ 2147483647 w 205"/>
              <a:gd name="T33" fmla="*/ 2147483647 h 191"/>
              <a:gd name="T34" fmla="*/ 2147483647 w 205"/>
              <a:gd name="T35" fmla="*/ 2147483647 h 191"/>
              <a:gd name="T36" fmla="*/ 2147483647 w 205"/>
              <a:gd name="T37" fmla="*/ 2147483647 h 191"/>
              <a:gd name="T38" fmla="*/ 2147483647 w 205"/>
              <a:gd name="T39" fmla="*/ 2147483647 h 191"/>
              <a:gd name="T40" fmla="*/ 2147483647 w 205"/>
              <a:gd name="T41" fmla="*/ 2147483647 h 191"/>
              <a:gd name="T42" fmla="*/ 2147483647 w 205"/>
              <a:gd name="T43" fmla="*/ 2147483647 h 191"/>
              <a:gd name="T44" fmla="*/ 2147483647 w 205"/>
              <a:gd name="T45" fmla="*/ 2147483647 h 191"/>
              <a:gd name="T46" fmla="*/ 0 w 205"/>
              <a:gd name="T47" fmla="*/ 2147483647 h 191"/>
              <a:gd name="T48" fmla="*/ 0 w 205"/>
              <a:gd name="T49" fmla="*/ 2147483647 h 191"/>
              <a:gd name="T50" fmla="*/ 2147483647 w 205"/>
              <a:gd name="T51" fmla="*/ 2147483647 h 191"/>
              <a:gd name="T52" fmla="*/ 2147483647 w 205"/>
              <a:gd name="T53" fmla="*/ 2147483647 h 191"/>
              <a:gd name="T54" fmla="*/ 2147483647 w 205"/>
              <a:gd name="T55" fmla="*/ 2147483647 h 191"/>
              <a:gd name="T56" fmla="*/ 2147483647 w 205"/>
              <a:gd name="T57" fmla="*/ 2147483647 h 191"/>
              <a:gd name="T58" fmla="*/ 2147483647 w 205"/>
              <a:gd name="T59" fmla="*/ 0 h 191"/>
              <a:gd name="T60" fmla="*/ 2147483647 w 205"/>
              <a:gd name="T61" fmla="*/ 2147483647 h 191"/>
              <a:gd name="T62" fmla="*/ 2147483647 w 205"/>
              <a:gd name="T63" fmla="*/ 2147483647 h 191"/>
              <a:gd name="T64" fmla="*/ 2147483647 w 205"/>
              <a:gd name="T65" fmla="*/ 2147483647 h 191"/>
              <a:gd name="T66" fmla="*/ 2147483647 w 205"/>
              <a:gd name="T67" fmla="*/ 2147483647 h 191"/>
              <a:gd name="T68" fmla="*/ 2147483647 w 205"/>
              <a:gd name="T69" fmla="*/ 2147483647 h 191"/>
              <a:gd name="T70" fmla="*/ 2147483647 w 205"/>
              <a:gd name="T71" fmla="*/ 2147483647 h 191"/>
              <a:gd name="T72" fmla="*/ 2147483647 w 205"/>
              <a:gd name="T73" fmla="*/ 2147483647 h 191"/>
              <a:gd name="T74" fmla="*/ 2147483647 w 205"/>
              <a:gd name="T75" fmla="*/ 2147483647 h 191"/>
              <a:gd name="T76" fmla="*/ 2147483647 w 205"/>
              <a:gd name="T77" fmla="*/ 2147483647 h 191"/>
              <a:gd name="T78" fmla="*/ 2147483647 w 205"/>
              <a:gd name="T79" fmla="*/ 2147483647 h 191"/>
              <a:gd name="T80" fmla="*/ 2147483647 w 205"/>
              <a:gd name="T81" fmla="*/ 2147483647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200" name="Freeform 224"/>
          <p:cNvSpPr>
            <a:spLocks/>
          </p:cNvSpPr>
          <p:nvPr>
            <p:custDataLst>
              <p:tags r:id="rId151"/>
            </p:custDataLst>
          </p:nvPr>
        </p:nvSpPr>
        <p:spPr bwMode="auto">
          <a:xfrm>
            <a:off x="1949450" y="3376613"/>
            <a:ext cx="142875" cy="79375"/>
          </a:xfrm>
          <a:custGeom>
            <a:avLst/>
            <a:gdLst>
              <a:gd name="T0" fmla="*/ 2147483647 w 329"/>
              <a:gd name="T1" fmla="*/ 2147483647 h 154"/>
              <a:gd name="T2" fmla="*/ 0 w 329"/>
              <a:gd name="T3" fmla="*/ 2147483647 h 154"/>
              <a:gd name="T4" fmla="*/ 2147483647 w 329"/>
              <a:gd name="T5" fmla="*/ 2147483647 h 154"/>
              <a:gd name="T6" fmla="*/ 2147483647 w 329"/>
              <a:gd name="T7" fmla="*/ 2147483647 h 154"/>
              <a:gd name="T8" fmla="*/ 2147483647 w 329"/>
              <a:gd name="T9" fmla="*/ 2147483647 h 154"/>
              <a:gd name="T10" fmla="*/ 2147483647 w 329"/>
              <a:gd name="T11" fmla="*/ 2147483647 h 154"/>
              <a:gd name="T12" fmla="*/ 2147483647 w 329"/>
              <a:gd name="T13" fmla="*/ 2147483647 h 154"/>
              <a:gd name="T14" fmla="*/ 2147483647 w 329"/>
              <a:gd name="T15" fmla="*/ 2147483647 h 154"/>
              <a:gd name="T16" fmla="*/ 2147483647 w 329"/>
              <a:gd name="T17" fmla="*/ 2147483647 h 154"/>
              <a:gd name="T18" fmla="*/ 2147483647 w 329"/>
              <a:gd name="T19" fmla="*/ 2147483647 h 154"/>
              <a:gd name="T20" fmla="*/ 2147483647 w 329"/>
              <a:gd name="T21" fmla="*/ 2147483647 h 154"/>
              <a:gd name="T22" fmla="*/ 2147483647 w 329"/>
              <a:gd name="T23" fmla="*/ 0 h 154"/>
              <a:gd name="T24" fmla="*/ 2147483647 w 329"/>
              <a:gd name="T25" fmla="*/ 0 h 154"/>
              <a:gd name="T26" fmla="*/ 2147483647 w 329"/>
              <a:gd name="T27" fmla="*/ 2147483647 h 154"/>
              <a:gd name="T28" fmla="*/ 2147483647 w 329"/>
              <a:gd name="T29" fmla="*/ 2147483647 h 154"/>
              <a:gd name="T30" fmla="*/ 2147483647 w 329"/>
              <a:gd name="T31" fmla="*/ 2147483647 h 154"/>
              <a:gd name="T32" fmla="*/ 2147483647 w 329"/>
              <a:gd name="T33" fmla="*/ 2147483647 h 154"/>
              <a:gd name="T34" fmla="*/ 2147483647 w 329"/>
              <a:gd name="T35" fmla="*/ 2147483647 h 154"/>
              <a:gd name="T36" fmla="*/ 2147483647 w 329"/>
              <a:gd name="T37" fmla="*/ 2147483647 h 154"/>
              <a:gd name="T38" fmla="*/ 2147483647 w 329"/>
              <a:gd name="T39" fmla="*/ 2147483647 h 154"/>
              <a:gd name="T40" fmla="*/ 2147483647 w 329"/>
              <a:gd name="T41" fmla="*/ 2147483647 h 154"/>
              <a:gd name="T42" fmla="*/ 2147483647 w 329"/>
              <a:gd name="T43" fmla="*/ 2147483647 h 154"/>
              <a:gd name="T44" fmla="*/ 2147483647 w 329"/>
              <a:gd name="T45" fmla="*/ 2147483647 h 154"/>
              <a:gd name="T46" fmla="*/ 2147483647 w 329"/>
              <a:gd name="T47" fmla="*/ 2147483647 h 154"/>
              <a:gd name="T48" fmla="*/ 2147483647 w 329"/>
              <a:gd name="T49" fmla="*/ 2147483647 h 154"/>
              <a:gd name="T50" fmla="*/ 2147483647 w 329"/>
              <a:gd name="T51" fmla="*/ 2147483647 h 154"/>
              <a:gd name="T52" fmla="*/ 2147483647 w 329"/>
              <a:gd name="T53" fmla="*/ 2147483647 h 154"/>
              <a:gd name="T54" fmla="*/ 2147483647 w 329"/>
              <a:gd name="T55" fmla="*/ 2147483647 h 154"/>
              <a:gd name="T56" fmla="*/ 2147483647 w 329"/>
              <a:gd name="T57" fmla="*/ 2147483647 h 154"/>
              <a:gd name="T58" fmla="*/ 2147483647 w 329"/>
              <a:gd name="T59" fmla="*/ 2147483647 h 154"/>
              <a:gd name="T60" fmla="*/ 2147483647 w 329"/>
              <a:gd name="T61" fmla="*/ 2147483647 h 154"/>
              <a:gd name="T62" fmla="*/ 2147483647 w 329"/>
              <a:gd name="T63" fmla="*/ 2147483647 h 154"/>
              <a:gd name="T64" fmla="*/ 2147483647 w 329"/>
              <a:gd name="T65" fmla="*/ 2147483647 h 154"/>
              <a:gd name="T66" fmla="*/ 2147483647 w 329"/>
              <a:gd name="T67" fmla="*/ 2147483647 h 154"/>
              <a:gd name="T68" fmla="*/ 2147483647 w 329"/>
              <a:gd name="T69" fmla="*/ 2147483647 h 154"/>
              <a:gd name="T70" fmla="*/ 2147483647 w 329"/>
              <a:gd name="T71" fmla="*/ 2147483647 h 154"/>
              <a:gd name="T72" fmla="*/ 2147483647 w 329"/>
              <a:gd name="T73" fmla="*/ 2147483647 h 154"/>
              <a:gd name="T74" fmla="*/ 2147483647 w 329"/>
              <a:gd name="T75" fmla="*/ 2147483647 h 154"/>
              <a:gd name="T76" fmla="*/ 2147483647 w 329"/>
              <a:gd name="T77" fmla="*/ 2147483647 h 154"/>
              <a:gd name="T78" fmla="*/ 2147483647 w 329"/>
              <a:gd name="T79" fmla="*/ 2147483647 h 154"/>
              <a:gd name="T80" fmla="*/ 2147483647 w 329"/>
              <a:gd name="T81" fmla="*/ 2147483647 h 154"/>
              <a:gd name="T82" fmla="*/ 2147483647 w 329"/>
              <a:gd name="T83" fmla="*/ 2147483647 h 154"/>
              <a:gd name="T84" fmla="*/ 2147483647 w 329"/>
              <a:gd name="T85" fmla="*/ 2147483647 h 154"/>
              <a:gd name="T86" fmla="*/ 2147483647 w 329"/>
              <a:gd name="T87" fmla="*/ 2147483647 h 154"/>
              <a:gd name="T88" fmla="*/ 2147483647 w 329"/>
              <a:gd name="T89" fmla="*/ 2147483647 h 154"/>
              <a:gd name="T90" fmla="*/ 2147483647 w 329"/>
              <a:gd name="T91" fmla="*/ 2147483647 h 154"/>
              <a:gd name="T92" fmla="*/ 2147483647 w 329"/>
              <a:gd name="T93" fmla="*/ 2147483647 h 154"/>
              <a:gd name="T94" fmla="*/ 2147483647 w 329"/>
              <a:gd name="T95" fmla="*/ 2147483647 h 154"/>
              <a:gd name="T96" fmla="*/ 2147483647 w 329"/>
              <a:gd name="T97" fmla="*/ 2147483647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201" name="Freeform 225"/>
          <p:cNvSpPr>
            <a:spLocks/>
          </p:cNvSpPr>
          <p:nvPr>
            <p:custDataLst>
              <p:tags r:id="rId152"/>
            </p:custDataLst>
          </p:nvPr>
        </p:nvSpPr>
        <p:spPr bwMode="auto">
          <a:xfrm>
            <a:off x="2630488" y="4630738"/>
            <a:ext cx="133350" cy="155575"/>
          </a:xfrm>
          <a:custGeom>
            <a:avLst/>
            <a:gdLst>
              <a:gd name="T0" fmla="*/ 2147483647 w 306"/>
              <a:gd name="T1" fmla="*/ 2147483647 h 293"/>
              <a:gd name="T2" fmla="*/ 2147483647 w 306"/>
              <a:gd name="T3" fmla="*/ 2147483647 h 293"/>
              <a:gd name="T4" fmla="*/ 2147483647 w 306"/>
              <a:gd name="T5" fmla="*/ 2147483647 h 293"/>
              <a:gd name="T6" fmla="*/ 2147483647 w 306"/>
              <a:gd name="T7" fmla="*/ 2147483647 h 293"/>
              <a:gd name="T8" fmla="*/ 2147483647 w 306"/>
              <a:gd name="T9" fmla="*/ 2147483647 h 293"/>
              <a:gd name="T10" fmla="*/ 2147483647 w 306"/>
              <a:gd name="T11" fmla="*/ 2147483647 h 293"/>
              <a:gd name="T12" fmla="*/ 2147483647 w 306"/>
              <a:gd name="T13" fmla="*/ 2147483647 h 293"/>
              <a:gd name="T14" fmla="*/ 2147483647 w 306"/>
              <a:gd name="T15" fmla="*/ 2147483647 h 293"/>
              <a:gd name="T16" fmla="*/ 2147483647 w 306"/>
              <a:gd name="T17" fmla="*/ 2147483647 h 293"/>
              <a:gd name="T18" fmla="*/ 2147483647 w 306"/>
              <a:gd name="T19" fmla="*/ 2147483647 h 293"/>
              <a:gd name="T20" fmla="*/ 2147483647 w 306"/>
              <a:gd name="T21" fmla="*/ 2147483647 h 293"/>
              <a:gd name="T22" fmla="*/ 2147483647 w 306"/>
              <a:gd name="T23" fmla="*/ 2147483647 h 293"/>
              <a:gd name="T24" fmla="*/ 2147483647 w 306"/>
              <a:gd name="T25" fmla="*/ 2147483647 h 293"/>
              <a:gd name="T26" fmla="*/ 2147483647 w 306"/>
              <a:gd name="T27" fmla="*/ 2147483647 h 293"/>
              <a:gd name="T28" fmla="*/ 2147483647 w 306"/>
              <a:gd name="T29" fmla="*/ 2147483647 h 293"/>
              <a:gd name="T30" fmla="*/ 2147483647 w 306"/>
              <a:gd name="T31" fmla="*/ 2147483647 h 293"/>
              <a:gd name="T32" fmla="*/ 2147483647 w 306"/>
              <a:gd name="T33" fmla="*/ 2147483647 h 293"/>
              <a:gd name="T34" fmla="*/ 2147483647 w 306"/>
              <a:gd name="T35" fmla="*/ 2147483647 h 293"/>
              <a:gd name="T36" fmla="*/ 2147483647 w 306"/>
              <a:gd name="T37" fmla="*/ 2147483647 h 293"/>
              <a:gd name="T38" fmla="*/ 0 w 306"/>
              <a:gd name="T39" fmla="*/ 2147483647 h 293"/>
              <a:gd name="T40" fmla="*/ 2147483647 w 306"/>
              <a:gd name="T41" fmla="*/ 2147483647 h 293"/>
              <a:gd name="T42" fmla="*/ 2147483647 w 306"/>
              <a:gd name="T43" fmla="*/ 2147483647 h 293"/>
              <a:gd name="T44" fmla="*/ 2147483647 w 306"/>
              <a:gd name="T45" fmla="*/ 2147483647 h 293"/>
              <a:gd name="T46" fmla="*/ 2147483647 w 306"/>
              <a:gd name="T47" fmla="*/ 2147483647 h 293"/>
              <a:gd name="T48" fmla="*/ 2147483647 w 306"/>
              <a:gd name="T49" fmla="*/ 2147483647 h 293"/>
              <a:gd name="T50" fmla="*/ 2147483647 w 306"/>
              <a:gd name="T51" fmla="*/ 0 h 293"/>
              <a:gd name="T52" fmla="*/ 2147483647 w 306"/>
              <a:gd name="T53" fmla="*/ 2147483647 h 293"/>
              <a:gd name="T54" fmla="*/ 2147483647 w 306"/>
              <a:gd name="T55" fmla="*/ 2147483647 h 293"/>
              <a:gd name="T56" fmla="*/ 2147483647 w 306"/>
              <a:gd name="T57" fmla="*/ 2147483647 h 293"/>
              <a:gd name="T58" fmla="*/ 2147483647 w 306"/>
              <a:gd name="T59" fmla="*/ 2147483647 h 293"/>
              <a:gd name="T60" fmla="*/ 2147483647 w 306"/>
              <a:gd name="T61" fmla="*/ 2147483647 h 293"/>
              <a:gd name="T62" fmla="*/ 2147483647 w 306"/>
              <a:gd name="T63" fmla="*/ 2147483647 h 293"/>
              <a:gd name="T64" fmla="*/ 2147483647 w 306"/>
              <a:gd name="T65" fmla="*/ 2147483647 h 293"/>
              <a:gd name="T66" fmla="*/ 2147483647 w 306"/>
              <a:gd name="T67" fmla="*/ 2147483647 h 293"/>
              <a:gd name="T68" fmla="*/ 2147483647 w 306"/>
              <a:gd name="T69" fmla="*/ 2147483647 h 293"/>
              <a:gd name="T70" fmla="*/ 2147483647 w 306"/>
              <a:gd name="T71" fmla="*/ 2147483647 h 293"/>
              <a:gd name="T72" fmla="*/ 2147483647 w 306"/>
              <a:gd name="T73" fmla="*/ 2147483647 h 293"/>
              <a:gd name="T74" fmla="*/ 2147483647 w 306"/>
              <a:gd name="T75" fmla="*/ 2147483647 h 293"/>
              <a:gd name="T76" fmla="*/ 2147483647 w 306"/>
              <a:gd name="T77" fmla="*/ 2147483647 h 293"/>
              <a:gd name="T78" fmla="*/ 2147483647 w 306"/>
              <a:gd name="T79" fmla="*/ 2147483647 h 293"/>
              <a:gd name="T80" fmla="*/ 2147483647 w 306"/>
              <a:gd name="T81" fmla="*/ 2147483647 h 293"/>
              <a:gd name="T82" fmla="*/ 2147483647 w 306"/>
              <a:gd name="T83" fmla="*/ 2147483647 h 293"/>
              <a:gd name="T84" fmla="*/ 2147483647 w 306"/>
              <a:gd name="T85" fmla="*/ 2147483647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202" name="Freeform 226"/>
          <p:cNvSpPr>
            <a:spLocks/>
          </p:cNvSpPr>
          <p:nvPr>
            <p:custDataLst>
              <p:tags r:id="rId153"/>
            </p:custDataLst>
          </p:nvPr>
        </p:nvSpPr>
        <p:spPr bwMode="auto">
          <a:xfrm>
            <a:off x="4176713" y="1247775"/>
            <a:ext cx="236537" cy="92075"/>
          </a:xfrm>
          <a:custGeom>
            <a:avLst/>
            <a:gdLst>
              <a:gd name="T0" fmla="*/ 2147483647 w 546"/>
              <a:gd name="T1" fmla="*/ 2147483647 h 173"/>
              <a:gd name="T2" fmla="*/ 2147483647 w 546"/>
              <a:gd name="T3" fmla="*/ 2147483647 h 173"/>
              <a:gd name="T4" fmla="*/ 2147483647 w 546"/>
              <a:gd name="T5" fmla="*/ 2147483647 h 173"/>
              <a:gd name="T6" fmla="*/ 2147483647 w 546"/>
              <a:gd name="T7" fmla="*/ 2147483647 h 173"/>
              <a:gd name="T8" fmla="*/ 2147483647 w 546"/>
              <a:gd name="T9" fmla="*/ 2147483647 h 173"/>
              <a:gd name="T10" fmla="*/ 2147483647 w 546"/>
              <a:gd name="T11" fmla="*/ 2147483647 h 173"/>
              <a:gd name="T12" fmla="*/ 2147483647 w 546"/>
              <a:gd name="T13" fmla="*/ 2147483647 h 173"/>
              <a:gd name="T14" fmla="*/ 2147483647 w 546"/>
              <a:gd name="T15" fmla="*/ 2147483647 h 173"/>
              <a:gd name="T16" fmla="*/ 2147483647 w 546"/>
              <a:gd name="T17" fmla="*/ 2147483647 h 173"/>
              <a:gd name="T18" fmla="*/ 2147483647 w 546"/>
              <a:gd name="T19" fmla="*/ 2147483647 h 173"/>
              <a:gd name="T20" fmla="*/ 2147483647 w 546"/>
              <a:gd name="T21" fmla="*/ 2147483647 h 173"/>
              <a:gd name="T22" fmla="*/ 2147483647 w 546"/>
              <a:gd name="T23" fmla="*/ 2147483647 h 173"/>
              <a:gd name="T24" fmla="*/ 2147483647 w 546"/>
              <a:gd name="T25" fmla="*/ 2147483647 h 173"/>
              <a:gd name="T26" fmla="*/ 2147483647 w 546"/>
              <a:gd name="T27" fmla="*/ 2147483647 h 173"/>
              <a:gd name="T28" fmla="*/ 2147483647 w 546"/>
              <a:gd name="T29" fmla="*/ 0 h 173"/>
              <a:gd name="T30" fmla="*/ 2147483647 w 546"/>
              <a:gd name="T31" fmla="*/ 2147483647 h 173"/>
              <a:gd name="T32" fmla="*/ 2147483647 w 546"/>
              <a:gd name="T33" fmla="*/ 2147483647 h 173"/>
              <a:gd name="T34" fmla="*/ 2147483647 w 546"/>
              <a:gd name="T35" fmla="*/ 2147483647 h 173"/>
              <a:gd name="T36" fmla="*/ 2147483647 w 546"/>
              <a:gd name="T37" fmla="*/ 2147483647 h 173"/>
              <a:gd name="T38" fmla="*/ 2147483647 w 546"/>
              <a:gd name="T39" fmla="*/ 2147483647 h 173"/>
              <a:gd name="T40" fmla="*/ 2147483647 w 546"/>
              <a:gd name="T41" fmla="*/ 2147483647 h 173"/>
              <a:gd name="T42" fmla="*/ 2147483647 w 546"/>
              <a:gd name="T43" fmla="*/ 2147483647 h 173"/>
              <a:gd name="T44" fmla="*/ 2147483647 w 546"/>
              <a:gd name="T45" fmla="*/ 2147483647 h 173"/>
              <a:gd name="T46" fmla="*/ 2147483647 w 546"/>
              <a:gd name="T47" fmla="*/ 2147483647 h 173"/>
              <a:gd name="T48" fmla="*/ 2147483647 w 546"/>
              <a:gd name="T49" fmla="*/ 2147483647 h 173"/>
              <a:gd name="T50" fmla="*/ 2147483647 w 546"/>
              <a:gd name="T51" fmla="*/ 2147483647 h 173"/>
              <a:gd name="T52" fmla="*/ 2147483647 w 546"/>
              <a:gd name="T53" fmla="*/ 2147483647 h 173"/>
              <a:gd name="T54" fmla="*/ 2147483647 w 546"/>
              <a:gd name="T55" fmla="*/ 2147483647 h 173"/>
              <a:gd name="T56" fmla="*/ 2147483647 w 546"/>
              <a:gd name="T57" fmla="*/ 2147483647 h 173"/>
              <a:gd name="T58" fmla="*/ 2147483647 w 546"/>
              <a:gd name="T59" fmla="*/ 2147483647 h 173"/>
              <a:gd name="T60" fmla="*/ 2147483647 w 546"/>
              <a:gd name="T61" fmla="*/ 2147483647 h 173"/>
              <a:gd name="T62" fmla="*/ 2147483647 w 546"/>
              <a:gd name="T63" fmla="*/ 2147483647 h 173"/>
              <a:gd name="T64" fmla="*/ 2147483647 w 546"/>
              <a:gd name="T65" fmla="*/ 2147483647 h 173"/>
              <a:gd name="T66" fmla="*/ 2147483647 w 546"/>
              <a:gd name="T67" fmla="*/ 2147483647 h 173"/>
              <a:gd name="T68" fmla="*/ 2147483647 w 546"/>
              <a:gd name="T69" fmla="*/ 2147483647 h 173"/>
              <a:gd name="T70" fmla="*/ 2147483647 w 546"/>
              <a:gd name="T71" fmla="*/ 2147483647 h 173"/>
              <a:gd name="T72" fmla="*/ 2147483647 w 546"/>
              <a:gd name="T73" fmla="*/ 2147483647 h 173"/>
              <a:gd name="T74" fmla="*/ 2147483647 w 546"/>
              <a:gd name="T75" fmla="*/ 2147483647 h 173"/>
              <a:gd name="T76" fmla="*/ 2147483647 w 546"/>
              <a:gd name="T77" fmla="*/ 2147483647 h 173"/>
              <a:gd name="T78" fmla="*/ 2147483647 w 546"/>
              <a:gd name="T79" fmla="*/ 2147483647 h 173"/>
              <a:gd name="T80" fmla="*/ 2147483647 w 546"/>
              <a:gd name="T81" fmla="*/ 2147483647 h 173"/>
              <a:gd name="T82" fmla="*/ 2147483647 w 546"/>
              <a:gd name="T83" fmla="*/ 2147483647 h 173"/>
              <a:gd name="T84" fmla="*/ 2147483647 w 546"/>
              <a:gd name="T85" fmla="*/ 2147483647 h 173"/>
              <a:gd name="T86" fmla="*/ 2147483647 w 546"/>
              <a:gd name="T87" fmla="*/ 2147483647 h 173"/>
              <a:gd name="T88" fmla="*/ 2147483647 w 546"/>
              <a:gd name="T89" fmla="*/ 2147483647 h 173"/>
              <a:gd name="T90" fmla="*/ 2147483647 w 546"/>
              <a:gd name="T91" fmla="*/ 2147483647 h 173"/>
              <a:gd name="T92" fmla="*/ 2147483647 w 546"/>
              <a:gd name="T93" fmla="*/ 2147483647 h 173"/>
              <a:gd name="T94" fmla="*/ 2147483647 w 546"/>
              <a:gd name="T95" fmla="*/ 2147483647 h 173"/>
              <a:gd name="T96" fmla="*/ 2147483647 w 546"/>
              <a:gd name="T97" fmla="*/ 2147483647 h 173"/>
              <a:gd name="T98" fmla="*/ 2147483647 w 546"/>
              <a:gd name="T99" fmla="*/ 2147483647 h 173"/>
              <a:gd name="T100" fmla="*/ 2147483647 w 546"/>
              <a:gd name="T101" fmla="*/ 214748364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203" name="Freeform 227"/>
          <p:cNvSpPr>
            <a:spLocks/>
          </p:cNvSpPr>
          <p:nvPr>
            <p:custDataLst>
              <p:tags r:id="rId154"/>
            </p:custDataLst>
          </p:nvPr>
        </p:nvSpPr>
        <p:spPr bwMode="auto">
          <a:xfrm>
            <a:off x="4103688" y="1477963"/>
            <a:ext cx="449262" cy="361950"/>
          </a:xfrm>
          <a:custGeom>
            <a:avLst/>
            <a:gdLst>
              <a:gd name="T0" fmla="*/ 2147483647 w 1037"/>
              <a:gd name="T1" fmla="*/ 2147483647 h 690"/>
              <a:gd name="T2" fmla="*/ 2147483647 w 1037"/>
              <a:gd name="T3" fmla="*/ 2147483647 h 690"/>
              <a:gd name="T4" fmla="*/ 2147483647 w 1037"/>
              <a:gd name="T5" fmla="*/ 2147483647 h 690"/>
              <a:gd name="T6" fmla="*/ 2147483647 w 1037"/>
              <a:gd name="T7" fmla="*/ 2147483647 h 690"/>
              <a:gd name="T8" fmla="*/ 2147483647 w 1037"/>
              <a:gd name="T9" fmla="*/ 2147483647 h 690"/>
              <a:gd name="T10" fmla="*/ 2147483647 w 1037"/>
              <a:gd name="T11" fmla="*/ 2147483647 h 690"/>
              <a:gd name="T12" fmla="*/ 2147483647 w 1037"/>
              <a:gd name="T13" fmla="*/ 2147483647 h 690"/>
              <a:gd name="T14" fmla="*/ 2147483647 w 1037"/>
              <a:gd name="T15" fmla="*/ 2147483647 h 690"/>
              <a:gd name="T16" fmla="*/ 2147483647 w 1037"/>
              <a:gd name="T17" fmla="*/ 2147483647 h 690"/>
              <a:gd name="T18" fmla="*/ 0 w 1037"/>
              <a:gd name="T19" fmla="*/ 2147483647 h 690"/>
              <a:gd name="T20" fmla="*/ 2147483647 w 1037"/>
              <a:gd name="T21" fmla="*/ 2147483647 h 690"/>
              <a:gd name="T22" fmla="*/ 2147483647 w 1037"/>
              <a:gd name="T23" fmla="*/ 2147483647 h 690"/>
              <a:gd name="T24" fmla="*/ 2147483647 w 1037"/>
              <a:gd name="T25" fmla="*/ 2147483647 h 690"/>
              <a:gd name="T26" fmla="*/ 2147483647 w 1037"/>
              <a:gd name="T27" fmla="*/ 2147483647 h 690"/>
              <a:gd name="T28" fmla="*/ 2147483647 w 1037"/>
              <a:gd name="T29" fmla="*/ 2147483647 h 690"/>
              <a:gd name="T30" fmla="*/ 2147483647 w 1037"/>
              <a:gd name="T31" fmla="*/ 2147483647 h 690"/>
              <a:gd name="T32" fmla="*/ 2147483647 w 1037"/>
              <a:gd name="T33" fmla="*/ 2147483647 h 690"/>
              <a:gd name="T34" fmla="*/ 2147483647 w 1037"/>
              <a:gd name="T35" fmla="*/ 2147483647 h 690"/>
              <a:gd name="T36" fmla="*/ 2147483647 w 1037"/>
              <a:gd name="T37" fmla="*/ 2147483647 h 690"/>
              <a:gd name="T38" fmla="*/ 2147483647 w 1037"/>
              <a:gd name="T39" fmla="*/ 2147483647 h 690"/>
              <a:gd name="T40" fmla="*/ 2147483647 w 1037"/>
              <a:gd name="T41" fmla="*/ 2147483647 h 690"/>
              <a:gd name="T42" fmla="*/ 2147483647 w 1037"/>
              <a:gd name="T43" fmla="*/ 2147483647 h 690"/>
              <a:gd name="T44" fmla="*/ 2147483647 w 1037"/>
              <a:gd name="T45" fmla="*/ 2147483647 h 690"/>
              <a:gd name="T46" fmla="*/ 2147483647 w 1037"/>
              <a:gd name="T47" fmla="*/ 2147483647 h 690"/>
              <a:gd name="T48" fmla="*/ 2147483647 w 1037"/>
              <a:gd name="T49" fmla="*/ 2147483647 h 690"/>
              <a:gd name="T50" fmla="*/ 2147483647 w 1037"/>
              <a:gd name="T51" fmla="*/ 2147483647 h 690"/>
              <a:gd name="T52" fmla="*/ 2147483647 w 1037"/>
              <a:gd name="T53" fmla="*/ 2147483647 h 690"/>
              <a:gd name="T54" fmla="*/ 2147483647 w 1037"/>
              <a:gd name="T55" fmla="*/ 2147483647 h 690"/>
              <a:gd name="T56" fmla="*/ 2147483647 w 1037"/>
              <a:gd name="T57" fmla="*/ 2147483647 h 690"/>
              <a:gd name="T58" fmla="*/ 2147483647 w 1037"/>
              <a:gd name="T59" fmla="*/ 2147483647 h 690"/>
              <a:gd name="T60" fmla="*/ 2147483647 w 1037"/>
              <a:gd name="T61" fmla="*/ 2147483647 h 690"/>
              <a:gd name="T62" fmla="*/ 2147483647 w 1037"/>
              <a:gd name="T63" fmla="*/ 2147483647 h 690"/>
              <a:gd name="T64" fmla="*/ 2147483647 w 1037"/>
              <a:gd name="T65" fmla="*/ 2147483647 h 690"/>
              <a:gd name="T66" fmla="*/ 2147483647 w 1037"/>
              <a:gd name="T67" fmla="*/ 2147483647 h 690"/>
              <a:gd name="T68" fmla="*/ 2147483647 w 1037"/>
              <a:gd name="T69" fmla="*/ 2147483647 h 690"/>
              <a:gd name="T70" fmla="*/ 2147483647 w 1037"/>
              <a:gd name="T71" fmla="*/ 2147483647 h 690"/>
              <a:gd name="T72" fmla="*/ 2147483647 w 1037"/>
              <a:gd name="T73" fmla="*/ 2147483647 h 690"/>
              <a:gd name="T74" fmla="*/ 2147483647 w 1037"/>
              <a:gd name="T75" fmla="*/ 2147483647 h 690"/>
              <a:gd name="T76" fmla="*/ 2147483647 w 1037"/>
              <a:gd name="T77" fmla="*/ 2147483647 h 690"/>
              <a:gd name="T78" fmla="*/ 2147483647 w 1037"/>
              <a:gd name="T79" fmla="*/ 2147483647 h 690"/>
              <a:gd name="T80" fmla="*/ 2147483647 w 1037"/>
              <a:gd name="T81" fmla="*/ 2147483647 h 690"/>
              <a:gd name="T82" fmla="*/ 2147483647 w 1037"/>
              <a:gd name="T83" fmla="*/ 2147483647 h 690"/>
              <a:gd name="T84" fmla="*/ 2147483647 w 1037"/>
              <a:gd name="T85" fmla="*/ 2147483647 h 690"/>
              <a:gd name="T86" fmla="*/ 2147483647 w 1037"/>
              <a:gd name="T87" fmla="*/ 2147483647 h 690"/>
              <a:gd name="T88" fmla="*/ 2147483647 w 1037"/>
              <a:gd name="T89" fmla="*/ 2147483647 h 690"/>
              <a:gd name="T90" fmla="*/ 2147483647 w 1037"/>
              <a:gd name="T91" fmla="*/ 2147483647 h 690"/>
              <a:gd name="T92" fmla="*/ 2147483647 w 1037"/>
              <a:gd name="T93" fmla="*/ 2147483647 h 690"/>
              <a:gd name="T94" fmla="*/ 2147483647 w 1037"/>
              <a:gd name="T95" fmla="*/ 2147483647 h 690"/>
              <a:gd name="T96" fmla="*/ 2147483647 w 1037"/>
              <a:gd name="T97" fmla="*/ 2147483647 h 690"/>
              <a:gd name="T98" fmla="*/ 2147483647 w 1037"/>
              <a:gd name="T99" fmla="*/ 2147483647 h 690"/>
              <a:gd name="T100" fmla="*/ 2147483647 w 1037"/>
              <a:gd name="T101" fmla="*/ 2147483647 h 690"/>
              <a:gd name="T102" fmla="*/ 2147483647 w 1037"/>
              <a:gd name="T103" fmla="*/ 2147483647 h 690"/>
              <a:gd name="T104" fmla="*/ 2147483647 w 1037"/>
              <a:gd name="T105" fmla="*/ 2147483647 h 690"/>
              <a:gd name="T106" fmla="*/ 2147483647 w 1037"/>
              <a:gd name="T107" fmla="*/ 2147483647 h 690"/>
              <a:gd name="T108" fmla="*/ 2147483647 w 1037"/>
              <a:gd name="T109" fmla="*/ 2147483647 h 690"/>
              <a:gd name="T110" fmla="*/ 2147483647 w 1037"/>
              <a:gd name="T111" fmla="*/ 2147483647 h 690"/>
              <a:gd name="T112" fmla="*/ 2147483647 w 1037"/>
              <a:gd name="T113" fmla="*/ 2147483647 h 690"/>
              <a:gd name="T114" fmla="*/ 2147483647 w 1037"/>
              <a:gd name="T115" fmla="*/ 2147483647 h 690"/>
              <a:gd name="T116" fmla="*/ 2147483647 w 1037"/>
              <a:gd name="T117" fmla="*/ 2147483647 h 690"/>
              <a:gd name="T118" fmla="*/ 2147483647 w 1037"/>
              <a:gd name="T119" fmla="*/ 2147483647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204" name="Freeform 228"/>
          <p:cNvSpPr>
            <a:spLocks/>
          </p:cNvSpPr>
          <p:nvPr>
            <p:custDataLst>
              <p:tags r:id="rId155"/>
            </p:custDataLst>
          </p:nvPr>
        </p:nvSpPr>
        <p:spPr bwMode="auto">
          <a:xfrm>
            <a:off x="4443413" y="2319338"/>
            <a:ext cx="49212" cy="90487"/>
          </a:xfrm>
          <a:custGeom>
            <a:avLst/>
            <a:gdLst>
              <a:gd name="T0" fmla="*/ 2147483647 w 120"/>
              <a:gd name="T1" fmla="*/ 2147483647 h 173"/>
              <a:gd name="T2" fmla="*/ 2147483647 w 120"/>
              <a:gd name="T3" fmla="*/ 2147483647 h 173"/>
              <a:gd name="T4" fmla="*/ 2147483647 w 120"/>
              <a:gd name="T5" fmla="*/ 2147483647 h 173"/>
              <a:gd name="T6" fmla="*/ 2147483647 w 120"/>
              <a:gd name="T7" fmla="*/ 2147483647 h 173"/>
              <a:gd name="T8" fmla="*/ 2147483647 w 120"/>
              <a:gd name="T9" fmla="*/ 2147483647 h 173"/>
              <a:gd name="T10" fmla="*/ 2147483647 w 120"/>
              <a:gd name="T11" fmla="*/ 2147483647 h 173"/>
              <a:gd name="T12" fmla="*/ 2147483647 w 120"/>
              <a:gd name="T13" fmla="*/ 2147483647 h 173"/>
              <a:gd name="T14" fmla="*/ 2147483647 w 120"/>
              <a:gd name="T15" fmla="*/ 2147483647 h 173"/>
              <a:gd name="T16" fmla="*/ 2147483647 w 120"/>
              <a:gd name="T17" fmla="*/ 0 h 173"/>
              <a:gd name="T18" fmla="*/ 2147483647 w 120"/>
              <a:gd name="T19" fmla="*/ 0 h 173"/>
              <a:gd name="T20" fmla="*/ 2147483647 w 120"/>
              <a:gd name="T21" fmla="*/ 2147483647 h 173"/>
              <a:gd name="T22" fmla="*/ 2147483647 w 120"/>
              <a:gd name="T23" fmla="*/ 2147483647 h 173"/>
              <a:gd name="T24" fmla="*/ 2147483647 w 120"/>
              <a:gd name="T25" fmla="*/ 2147483647 h 173"/>
              <a:gd name="T26" fmla="*/ 2147483647 w 120"/>
              <a:gd name="T27" fmla="*/ 2147483647 h 173"/>
              <a:gd name="T28" fmla="*/ 2147483647 w 120"/>
              <a:gd name="T29" fmla="*/ 2147483647 h 173"/>
              <a:gd name="T30" fmla="*/ 2147483647 w 120"/>
              <a:gd name="T31" fmla="*/ 2147483647 h 173"/>
              <a:gd name="T32" fmla="*/ 2147483647 w 120"/>
              <a:gd name="T33" fmla="*/ 2147483647 h 173"/>
              <a:gd name="T34" fmla="*/ 2147483647 w 120"/>
              <a:gd name="T35" fmla="*/ 2147483647 h 173"/>
              <a:gd name="T36" fmla="*/ 2147483647 w 120"/>
              <a:gd name="T37" fmla="*/ 2147483647 h 173"/>
              <a:gd name="T38" fmla="*/ 2147483647 w 120"/>
              <a:gd name="T39" fmla="*/ 2147483647 h 173"/>
              <a:gd name="T40" fmla="*/ 2147483647 w 120"/>
              <a:gd name="T41" fmla="*/ 2147483647 h 173"/>
              <a:gd name="T42" fmla="*/ 2147483647 w 120"/>
              <a:gd name="T43" fmla="*/ 2147483647 h 173"/>
              <a:gd name="T44" fmla="*/ 0 w 120"/>
              <a:gd name="T45" fmla="*/ 2147483647 h 173"/>
              <a:gd name="T46" fmla="*/ 2147483647 w 120"/>
              <a:gd name="T47" fmla="*/ 2147483647 h 173"/>
              <a:gd name="T48" fmla="*/ 2147483647 w 120"/>
              <a:gd name="T49" fmla="*/ 2147483647 h 173"/>
              <a:gd name="T50" fmla="*/ 2147483647 w 120"/>
              <a:gd name="T51" fmla="*/ 2147483647 h 173"/>
              <a:gd name="T52" fmla="*/ 2147483647 w 120"/>
              <a:gd name="T53" fmla="*/ 2147483647 h 173"/>
              <a:gd name="T54" fmla="*/ 2147483647 w 120"/>
              <a:gd name="T55" fmla="*/ 2147483647 h 173"/>
              <a:gd name="T56" fmla="*/ 2147483647 w 120"/>
              <a:gd name="T57" fmla="*/ 2147483647 h 173"/>
              <a:gd name="T58" fmla="*/ 2147483647 w 120"/>
              <a:gd name="T59" fmla="*/ 2147483647 h 173"/>
              <a:gd name="T60" fmla="*/ 2147483647 w 120"/>
              <a:gd name="T61" fmla="*/ 2147483647 h 173"/>
              <a:gd name="T62" fmla="*/ 2147483647 w 120"/>
              <a:gd name="T63" fmla="*/ 2147483647 h 173"/>
              <a:gd name="T64" fmla="*/ 2147483647 w 120"/>
              <a:gd name="T65" fmla="*/ 2147483647 h 173"/>
              <a:gd name="T66" fmla="*/ 2147483647 w 120"/>
              <a:gd name="T67" fmla="*/ 2147483647 h 173"/>
              <a:gd name="T68" fmla="*/ 2147483647 w 120"/>
              <a:gd name="T69" fmla="*/ 2147483647 h 173"/>
              <a:gd name="T70" fmla="*/ 2147483647 w 120"/>
              <a:gd name="T71" fmla="*/ 2147483647 h 173"/>
              <a:gd name="T72" fmla="*/ 2147483647 w 120"/>
              <a:gd name="T73" fmla="*/ 2147483647 h 173"/>
              <a:gd name="T74" fmla="*/ 2147483647 w 120"/>
              <a:gd name="T75" fmla="*/ 2147483647 h 173"/>
              <a:gd name="T76" fmla="*/ 2147483647 w 120"/>
              <a:gd name="T77" fmla="*/ 2147483647 h 173"/>
              <a:gd name="T78" fmla="*/ 2147483647 w 120"/>
              <a:gd name="T79" fmla="*/ 2147483647 h 173"/>
              <a:gd name="T80" fmla="*/ 2147483647 w 120"/>
              <a:gd name="T81" fmla="*/ 2147483647 h 173"/>
              <a:gd name="T82" fmla="*/ 2147483647 w 120"/>
              <a:gd name="T83" fmla="*/ 2147483647 h 173"/>
              <a:gd name="T84" fmla="*/ 2147483647 w 120"/>
              <a:gd name="T85" fmla="*/ 2147483647 h 173"/>
              <a:gd name="T86" fmla="*/ 2147483647 w 120"/>
              <a:gd name="T87" fmla="*/ 2147483647 h 173"/>
              <a:gd name="T88" fmla="*/ 2147483647 w 120"/>
              <a:gd name="T89" fmla="*/ 2147483647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C0C0C0"/>
          </a:solidFill>
          <a:ln w="9525" cmpd="sng">
            <a:solidFill>
              <a:srgbClr val="FFFFFF"/>
            </a:solidFill>
            <a:prstDash val="solid"/>
            <a:round/>
            <a:headEnd/>
            <a:tailEnd/>
          </a:ln>
        </p:spPr>
        <p:txBody>
          <a:bodyPr/>
          <a:lstStyle/>
          <a:p>
            <a:endParaRPr lang="en-AU"/>
          </a:p>
        </p:txBody>
      </p:sp>
      <p:sp>
        <p:nvSpPr>
          <p:cNvPr id="2205" name="Freeform 229"/>
          <p:cNvSpPr>
            <a:spLocks/>
          </p:cNvSpPr>
          <p:nvPr>
            <p:custDataLst>
              <p:tags r:id="rId156"/>
            </p:custDataLst>
          </p:nvPr>
        </p:nvSpPr>
        <p:spPr bwMode="auto">
          <a:xfrm>
            <a:off x="4151313" y="2159000"/>
            <a:ext cx="84137" cy="58738"/>
          </a:xfrm>
          <a:custGeom>
            <a:avLst/>
            <a:gdLst>
              <a:gd name="T0" fmla="*/ 2147483647 w 200"/>
              <a:gd name="T1" fmla="*/ 2147483647 h 98"/>
              <a:gd name="T2" fmla="*/ 2147483647 w 200"/>
              <a:gd name="T3" fmla="*/ 2147483647 h 98"/>
              <a:gd name="T4" fmla="*/ 2147483647 w 200"/>
              <a:gd name="T5" fmla="*/ 2147483647 h 98"/>
              <a:gd name="T6" fmla="*/ 2147483647 w 200"/>
              <a:gd name="T7" fmla="*/ 2147483647 h 98"/>
              <a:gd name="T8" fmla="*/ 2147483647 w 200"/>
              <a:gd name="T9" fmla="*/ 2147483647 h 98"/>
              <a:gd name="T10" fmla="*/ 2147483647 w 200"/>
              <a:gd name="T11" fmla="*/ 2147483647 h 98"/>
              <a:gd name="T12" fmla="*/ 2147483647 w 200"/>
              <a:gd name="T13" fmla="*/ 2147483647 h 98"/>
              <a:gd name="T14" fmla="*/ 2147483647 w 200"/>
              <a:gd name="T15" fmla="*/ 2147483647 h 98"/>
              <a:gd name="T16" fmla="*/ 2147483647 w 200"/>
              <a:gd name="T17" fmla="*/ 2147483647 h 98"/>
              <a:gd name="T18" fmla="*/ 2147483647 w 200"/>
              <a:gd name="T19" fmla="*/ 2147483647 h 98"/>
              <a:gd name="T20" fmla="*/ 2147483647 w 200"/>
              <a:gd name="T21" fmla="*/ 2147483647 h 98"/>
              <a:gd name="T22" fmla="*/ 2147483647 w 200"/>
              <a:gd name="T23" fmla="*/ 2147483647 h 98"/>
              <a:gd name="T24" fmla="*/ 2147483647 w 200"/>
              <a:gd name="T25" fmla="*/ 2147483647 h 98"/>
              <a:gd name="T26" fmla="*/ 2147483647 w 200"/>
              <a:gd name="T27" fmla="*/ 2147483647 h 98"/>
              <a:gd name="T28" fmla="*/ 2147483647 w 200"/>
              <a:gd name="T29" fmla="*/ 2147483647 h 98"/>
              <a:gd name="T30" fmla="*/ 2147483647 w 200"/>
              <a:gd name="T31" fmla="*/ 2147483647 h 98"/>
              <a:gd name="T32" fmla="*/ 2147483647 w 200"/>
              <a:gd name="T33" fmla="*/ 2147483647 h 98"/>
              <a:gd name="T34" fmla="*/ 2147483647 w 200"/>
              <a:gd name="T35" fmla="*/ 2147483647 h 98"/>
              <a:gd name="T36" fmla="*/ 2147483647 w 200"/>
              <a:gd name="T37" fmla="*/ 2147483647 h 98"/>
              <a:gd name="T38" fmla="*/ 2147483647 w 200"/>
              <a:gd name="T39" fmla="*/ 2147483647 h 98"/>
              <a:gd name="T40" fmla="*/ 2147483647 w 200"/>
              <a:gd name="T41" fmla="*/ 2147483647 h 98"/>
              <a:gd name="T42" fmla="*/ 2147483647 w 200"/>
              <a:gd name="T43" fmla="*/ 2147483647 h 98"/>
              <a:gd name="T44" fmla="*/ 2147483647 w 200"/>
              <a:gd name="T45" fmla="*/ 2147483647 h 98"/>
              <a:gd name="T46" fmla="*/ 2147483647 w 200"/>
              <a:gd name="T47" fmla="*/ 2147483647 h 98"/>
              <a:gd name="T48" fmla="*/ 2147483647 w 200"/>
              <a:gd name="T49" fmla="*/ 2147483647 h 98"/>
              <a:gd name="T50" fmla="*/ 2147483647 w 200"/>
              <a:gd name="T51" fmla="*/ 2147483647 h 98"/>
              <a:gd name="T52" fmla="*/ 2147483647 w 200"/>
              <a:gd name="T53" fmla="*/ 2147483647 h 98"/>
              <a:gd name="T54" fmla="*/ 2147483647 w 200"/>
              <a:gd name="T55" fmla="*/ 2147483647 h 98"/>
              <a:gd name="T56" fmla="*/ 2147483647 w 200"/>
              <a:gd name="T57" fmla="*/ 2147483647 h 98"/>
              <a:gd name="T58" fmla="*/ 2147483647 w 200"/>
              <a:gd name="T59" fmla="*/ 2147483647 h 98"/>
              <a:gd name="T60" fmla="*/ 2147483647 w 200"/>
              <a:gd name="T61" fmla="*/ 2147483647 h 98"/>
              <a:gd name="T62" fmla="*/ 0 w 200"/>
              <a:gd name="T63" fmla="*/ 2147483647 h 98"/>
              <a:gd name="T64" fmla="*/ 2147483647 w 200"/>
              <a:gd name="T65" fmla="*/ 2147483647 h 98"/>
              <a:gd name="T66" fmla="*/ 2147483647 w 200"/>
              <a:gd name="T67" fmla="*/ 2147483647 h 98"/>
              <a:gd name="T68" fmla="*/ 2147483647 w 200"/>
              <a:gd name="T69" fmla="*/ 2147483647 h 98"/>
              <a:gd name="T70" fmla="*/ 2147483647 w 200"/>
              <a:gd name="T71" fmla="*/ 2147483647 h 98"/>
              <a:gd name="T72" fmla="*/ 2147483647 w 200"/>
              <a:gd name="T73" fmla="*/ 2147483647 h 98"/>
              <a:gd name="T74" fmla="*/ 2147483647 w 200"/>
              <a:gd name="T75" fmla="*/ 2147483647 h 98"/>
              <a:gd name="T76" fmla="*/ 2147483647 w 200"/>
              <a:gd name="T77" fmla="*/ 2147483647 h 98"/>
              <a:gd name="T78" fmla="*/ 2147483647 w 200"/>
              <a:gd name="T79" fmla="*/ 2147483647 h 98"/>
              <a:gd name="T80" fmla="*/ 2147483647 w 200"/>
              <a:gd name="T81" fmla="*/ 2147483647 h 98"/>
              <a:gd name="T82" fmla="*/ 2147483647 w 200"/>
              <a:gd name="T83" fmla="*/ 2147483647 h 98"/>
              <a:gd name="T84" fmla="*/ 2147483647 w 200"/>
              <a:gd name="T85" fmla="*/ 2147483647 h 98"/>
              <a:gd name="T86" fmla="*/ 2147483647 w 200"/>
              <a:gd name="T87" fmla="*/ 0 h 98"/>
              <a:gd name="T88" fmla="*/ 2147483647 w 200"/>
              <a:gd name="T89" fmla="*/ 2147483647 h 98"/>
              <a:gd name="T90" fmla="*/ 2147483647 w 200"/>
              <a:gd name="T91" fmla="*/ 2147483647 h 98"/>
              <a:gd name="T92" fmla="*/ 2147483647 w 200"/>
              <a:gd name="T93" fmla="*/ 2147483647 h 98"/>
              <a:gd name="T94" fmla="*/ 2147483647 w 200"/>
              <a:gd name="T95" fmla="*/ 2147483647 h 98"/>
              <a:gd name="T96" fmla="*/ 2147483647 w 200"/>
              <a:gd name="T97" fmla="*/ 2147483647 h 98"/>
              <a:gd name="T98" fmla="*/ 2147483647 w 200"/>
              <a:gd name="T99" fmla="*/ 2147483647 h 98"/>
              <a:gd name="T100" fmla="*/ 2147483647 w 200"/>
              <a:gd name="T101" fmla="*/ 2147483647 h 98"/>
              <a:gd name="T102" fmla="*/ 2147483647 w 200"/>
              <a:gd name="T103" fmla="*/ 2147483647 h 98"/>
              <a:gd name="T104" fmla="*/ 2147483647 w 200"/>
              <a:gd name="T105" fmla="*/ 2147483647 h 98"/>
              <a:gd name="T106" fmla="*/ 2147483647 w 200"/>
              <a:gd name="T107" fmla="*/ 2147483647 h 98"/>
              <a:gd name="T108" fmla="*/ 2147483647 w 200"/>
              <a:gd name="T109" fmla="*/ 2147483647 h 98"/>
              <a:gd name="T110" fmla="*/ 2147483647 w 200"/>
              <a:gd name="T111" fmla="*/ 2147483647 h 98"/>
              <a:gd name="T112" fmla="*/ 2147483647 w 200"/>
              <a:gd name="T113" fmla="*/ 2147483647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206" name="Freeform 230"/>
          <p:cNvSpPr>
            <a:spLocks/>
          </p:cNvSpPr>
          <p:nvPr>
            <p:custDataLst>
              <p:tags r:id="rId157"/>
            </p:custDataLst>
          </p:nvPr>
        </p:nvSpPr>
        <p:spPr bwMode="auto">
          <a:xfrm>
            <a:off x="4089400" y="1978025"/>
            <a:ext cx="84138" cy="73025"/>
          </a:xfrm>
          <a:custGeom>
            <a:avLst/>
            <a:gdLst>
              <a:gd name="T0" fmla="*/ 0 w 186"/>
              <a:gd name="T1" fmla="*/ 2147483647 h 142"/>
              <a:gd name="T2" fmla="*/ 2147483647 w 186"/>
              <a:gd name="T3" fmla="*/ 2147483647 h 142"/>
              <a:gd name="T4" fmla="*/ 2147483647 w 186"/>
              <a:gd name="T5" fmla="*/ 2147483647 h 142"/>
              <a:gd name="T6" fmla="*/ 2147483647 w 186"/>
              <a:gd name="T7" fmla="*/ 2147483647 h 142"/>
              <a:gd name="T8" fmla="*/ 2147483647 w 186"/>
              <a:gd name="T9" fmla="*/ 2147483647 h 142"/>
              <a:gd name="T10" fmla="*/ 2147483647 w 186"/>
              <a:gd name="T11" fmla="*/ 2147483647 h 142"/>
              <a:gd name="T12" fmla="*/ 2147483647 w 186"/>
              <a:gd name="T13" fmla="*/ 2147483647 h 142"/>
              <a:gd name="T14" fmla="*/ 2147483647 w 186"/>
              <a:gd name="T15" fmla="*/ 2147483647 h 142"/>
              <a:gd name="T16" fmla="*/ 2147483647 w 186"/>
              <a:gd name="T17" fmla="*/ 2147483647 h 142"/>
              <a:gd name="T18" fmla="*/ 2147483647 w 186"/>
              <a:gd name="T19" fmla="*/ 2147483647 h 142"/>
              <a:gd name="T20" fmla="*/ 2147483647 w 186"/>
              <a:gd name="T21" fmla="*/ 2147483647 h 142"/>
              <a:gd name="T22" fmla="*/ 2147483647 w 186"/>
              <a:gd name="T23" fmla="*/ 2147483647 h 142"/>
              <a:gd name="T24" fmla="*/ 2147483647 w 186"/>
              <a:gd name="T25" fmla="*/ 2147483647 h 142"/>
              <a:gd name="T26" fmla="*/ 2147483647 w 186"/>
              <a:gd name="T27" fmla="*/ 2147483647 h 142"/>
              <a:gd name="T28" fmla="*/ 2147483647 w 186"/>
              <a:gd name="T29" fmla="*/ 2147483647 h 142"/>
              <a:gd name="T30" fmla="*/ 2147483647 w 186"/>
              <a:gd name="T31" fmla="*/ 2147483647 h 142"/>
              <a:gd name="T32" fmla="*/ 2147483647 w 186"/>
              <a:gd name="T33" fmla="*/ 2147483647 h 142"/>
              <a:gd name="T34" fmla="*/ 2147483647 w 186"/>
              <a:gd name="T35" fmla="*/ 2147483647 h 142"/>
              <a:gd name="T36" fmla="*/ 2147483647 w 186"/>
              <a:gd name="T37" fmla="*/ 2147483647 h 142"/>
              <a:gd name="T38" fmla="*/ 2147483647 w 186"/>
              <a:gd name="T39" fmla="*/ 2147483647 h 142"/>
              <a:gd name="T40" fmla="*/ 2147483647 w 186"/>
              <a:gd name="T41" fmla="*/ 2147483647 h 142"/>
              <a:gd name="T42" fmla="*/ 2147483647 w 186"/>
              <a:gd name="T43" fmla="*/ 2147483647 h 142"/>
              <a:gd name="T44" fmla="*/ 2147483647 w 186"/>
              <a:gd name="T45" fmla="*/ 2147483647 h 142"/>
              <a:gd name="T46" fmla="*/ 2147483647 w 186"/>
              <a:gd name="T47" fmla="*/ 2147483647 h 142"/>
              <a:gd name="T48" fmla="*/ 2147483647 w 186"/>
              <a:gd name="T49" fmla="*/ 2147483647 h 142"/>
              <a:gd name="T50" fmla="*/ 2147483647 w 186"/>
              <a:gd name="T51" fmla="*/ 2147483647 h 142"/>
              <a:gd name="T52" fmla="*/ 2147483647 w 186"/>
              <a:gd name="T53" fmla="*/ 2147483647 h 142"/>
              <a:gd name="T54" fmla="*/ 2147483647 w 186"/>
              <a:gd name="T55" fmla="*/ 2147483647 h 142"/>
              <a:gd name="T56" fmla="*/ 2147483647 w 186"/>
              <a:gd name="T57" fmla="*/ 2147483647 h 142"/>
              <a:gd name="T58" fmla="*/ 2147483647 w 186"/>
              <a:gd name="T59" fmla="*/ 2147483647 h 142"/>
              <a:gd name="T60" fmla="*/ 2147483647 w 186"/>
              <a:gd name="T61" fmla="*/ 2147483647 h 142"/>
              <a:gd name="T62" fmla="*/ 2147483647 w 186"/>
              <a:gd name="T63" fmla="*/ 2147483647 h 142"/>
              <a:gd name="T64" fmla="*/ 2147483647 w 186"/>
              <a:gd name="T65" fmla="*/ 2147483647 h 142"/>
              <a:gd name="T66" fmla="*/ 2147483647 w 186"/>
              <a:gd name="T67" fmla="*/ 2147483647 h 142"/>
              <a:gd name="T68" fmla="*/ 2147483647 w 186"/>
              <a:gd name="T69" fmla="*/ 2147483647 h 142"/>
              <a:gd name="T70" fmla="*/ 2147483647 w 186"/>
              <a:gd name="T71" fmla="*/ 2147483647 h 142"/>
              <a:gd name="T72" fmla="*/ 2147483647 w 186"/>
              <a:gd name="T73" fmla="*/ 2147483647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207" name="Freeform 231"/>
          <p:cNvSpPr>
            <a:spLocks/>
          </p:cNvSpPr>
          <p:nvPr>
            <p:custDataLst>
              <p:tags r:id="rId158"/>
            </p:custDataLst>
          </p:nvPr>
        </p:nvSpPr>
        <p:spPr bwMode="auto">
          <a:xfrm>
            <a:off x="4070350" y="2041525"/>
            <a:ext cx="84138" cy="57150"/>
          </a:xfrm>
          <a:custGeom>
            <a:avLst/>
            <a:gdLst>
              <a:gd name="T0" fmla="*/ 2147483647 w 192"/>
              <a:gd name="T1" fmla="*/ 2147483647 h 105"/>
              <a:gd name="T2" fmla="*/ 2147483647 w 192"/>
              <a:gd name="T3" fmla="*/ 2147483647 h 105"/>
              <a:gd name="T4" fmla="*/ 2147483647 w 192"/>
              <a:gd name="T5" fmla="*/ 2147483647 h 105"/>
              <a:gd name="T6" fmla="*/ 2147483647 w 192"/>
              <a:gd name="T7" fmla="*/ 2147483647 h 105"/>
              <a:gd name="T8" fmla="*/ 2147483647 w 192"/>
              <a:gd name="T9" fmla="*/ 2147483647 h 105"/>
              <a:gd name="T10" fmla="*/ 2147483647 w 192"/>
              <a:gd name="T11" fmla="*/ 2147483647 h 105"/>
              <a:gd name="T12" fmla="*/ 2147483647 w 192"/>
              <a:gd name="T13" fmla="*/ 2147483647 h 105"/>
              <a:gd name="T14" fmla="*/ 2147483647 w 192"/>
              <a:gd name="T15" fmla="*/ 2147483647 h 105"/>
              <a:gd name="T16" fmla="*/ 2147483647 w 192"/>
              <a:gd name="T17" fmla="*/ 2147483647 h 105"/>
              <a:gd name="T18" fmla="*/ 2147483647 w 192"/>
              <a:gd name="T19" fmla="*/ 2147483647 h 105"/>
              <a:gd name="T20" fmla="*/ 2147483647 w 192"/>
              <a:gd name="T21" fmla="*/ 2147483647 h 105"/>
              <a:gd name="T22" fmla="*/ 2147483647 w 192"/>
              <a:gd name="T23" fmla="*/ 2147483647 h 105"/>
              <a:gd name="T24" fmla="*/ 2147483647 w 192"/>
              <a:gd name="T25" fmla="*/ 2147483647 h 105"/>
              <a:gd name="T26" fmla="*/ 2147483647 w 192"/>
              <a:gd name="T27" fmla="*/ 2147483647 h 105"/>
              <a:gd name="T28" fmla="*/ 2147483647 w 192"/>
              <a:gd name="T29" fmla="*/ 2147483647 h 105"/>
              <a:gd name="T30" fmla="*/ 2147483647 w 192"/>
              <a:gd name="T31" fmla="*/ 2147483647 h 105"/>
              <a:gd name="T32" fmla="*/ 2147483647 w 192"/>
              <a:gd name="T33" fmla="*/ 2147483647 h 105"/>
              <a:gd name="T34" fmla="*/ 2147483647 w 192"/>
              <a:gd name="T35" fmla="*/ 2147483647 h 105"/>
              <a:gd name="T36" fmla="*/ 0 w 192"/>
              <a:gd name="T37" fmla="*/ 2147483647 h 105"/>
              <a:gd name="T38" fmla="*/ 0 w 192"/>
              <a:gd name="T39" fmla="*/ 2147483647 h 105"/>
              <a:gd name="T40" fmla="*/ 2147483647 w 192"/>
              <a:gd name="T41" fmla="*/ 2147483647 h 105"/>
              <a:gd name="T42" fmla="*/ 2147483647 w 192"/>
              <a:gd name="T43" fmla="*/ 2147483647 h 105"/>
              <a:gd name="T44" fmla="*/ 2147483647 w 192"/>
              <a:gd name="T45" fmla="*/ 2147483647 h 105"/>
              <a:gd name="T46" fmla="*/ 2147483647 w 192"/>
              <a:gd name="T47" fmla="*/ 0 h 105"/>
              <a:gd name="T48" fmla="*/ 2147483647 w 192"/>
              <a:gd name="T49" fmla="*/ 2147483647 h 105"/>
              <a:gd name="T50" fmla="*/ 2147483647 w 192"/>
              <a:gd name="T51" fmla="*/ 2147483647 h 105"/>
              <a:gd name="T52" fmla="*/ 2147483647 w 192"/>
              <a:gd name="T53" fmla="*/ 2147483647 h 105"/>
              <a:gd name="T54" fmla="*/ 2147483647 w 192"/>
              <a:gd name="T55" fmla="*/ 2147483647 h 105"/>
              <a:gd name="T56" fmla="*/ 2147483647 w 192"/>
              <a:gd name="T57" fmla="*/ 2147483647 h 105"/>
              <a:gd name="T58" fmla="*/ 2147483647 w 192"/>
              <a:gd name="T59" fmla="*/ 2147483647 h 105"/>
              <a:gd name="T60" fmla="*/ 2147483647 w 192"/>
              <a:gd name="T61" fmla="*/ 2147483647 h 105"/>
              <a:gd name="T62" fmla="*/ 2147483647 w 192"/>
              <a:gd name="T63" fmla="*/ 2147483647 h 105"/>
              <a:gd name="T64" fmla="*/ 2147483647 w 192"/>
              <a:gd name="T65" fmla="*/ 2147483647 h 105"/>
              <a:gd name="T66" fmla="*/ 2147483647 w 192"/>
              <a:gd name="T67" fmla="*/ 2147483647 h 105"/>
              <a:gd name="T68" fmla="*/ 2147483647 w 192"/>
              <a:gd name="T69" fmla="*/ 2147483647 h 105"/>
              <a:gd name="T70" fmla="*/ 2147483647 w 192"/>
              <a:gd name="T71" fmla="*/ 2147483647 h 105"/>
              <a:gd name="T72" fmla="*/ 2147483647 w 192"/>
              <a:gd name="T73" fmla="*/ 2147483647 h 105"/>
              <a:gd name="T74" fmla="*/ 2147483647 w 192"/>
              <a:gd name="T75" fmla="*/ 2147483647 h 105"/>
              <a:gd name="T76" fmla="*/ 2147483647 w 192"/>
              <a:gd name="T77" fmla="*/ 2147483647 h 105"/>
              <a:gd name="T78" fmla="*/ 2147483647 w 192"/>
              <a:gd name="T79" fmla="*/ 2147483647 h 105"/>
              <a:gd name="T80" fmla="*/ 2147483647 w 192"/>
              <a:gd name="T81" fmla="*/ 2147483647 h 105"/>
              <a:gd name="T82" fmla="*/ 2147483647 w 192"/>
              <a:gd name="T83" fmla="*/ 2147483647 h 105"/>
              <a:gd name="T84" fmla="*/ 2147483647 w 192"/>
              <a:gd name="T85" fmla="*/ 2147483647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208" name="Freeform 232"/>
          <p:cNvSpPr>
            <a:spLocks/>
          </p:cNvSpPr>
          <p:nvPr>
            <p:custDataLst>
              <p:tags r:id="rId159"/>
            </p:custDataLst>
          </p:nvPr>
        </p:nvSpPr>
        <p:spPr bwMode="auto">
          <a:xfrm>
            <a:off x="4830763" y="2595563"/>
            <a:ext cx="33337" cy="131762"/>
          </a:xfrm>
          <a:custGeom>
            <a:avLst/>
            <a:gdLst>
              <a:gd name="T0" fmla="*/ 2147483647 w 80"/>
              <a:gd name="T1" fmla="*/ 0 h 254"/>
              <a:gd name="T2" fmla="*/ 2147483647 w 80"/>
              <a:gd name="T3" fmla="*/ 2147483647 h 254"/>
              <a:gd name="T4" fmla="*/ 2147483647 w 80"/>
              <a:gd name="T5" fmla="*/ 2147483647 h 254"/>
              <a:gd name="T6" fmla="*/ 2147483647 w 80"/>
              <a:gd name="T7" fmla="*/ 2147483647 h 254"/>
              <a:gd name="T8" fmla="*/ 2147483647 w 80"/>
              <a:gd name="T9" fmla="*/ 2147483647 h 254"/>
              <a:gd name="T10" fmla="*/ 2147483647 w 80"/>
              <a:gd name="T11" fmla="*/ 2147483647 h 254"/>
              <a:gd name="T12" fmla="*/ 2147483647 w 80"/>
              <a:gd name="T13" fmla="*/ 2147483647 h 254"/>
              <a:gd name="T14" fmla="*/ 2147483647 w 80"/>
              <a:gd name="T15" fmla="*/ 2147483647 h 254"/>
              <a:gd name="T16" fmla="*/ 2147483647 w 80"/>
              <a:gd name="T17" fmla="*/ 2147483647 h 254"/>
              <a:gd name="T18" fmla="*/ 2147483647 w 80"/>
              <a:gd name="T19" fmla="*/ 2147483647 h 254"/>
              <a:gd name="T20" fmla="*/ 2147483647 w 80"/>
              <a:gd name="T21" fmla="*/ 2147483647 h 254"/>
              <a:gd name="T22" fmla="*/ 2147483647 w 80"/>
              <a:gd name="T23" fmla="*/ 2147483647 h 254"/>
              <a:gd name="T24" fmla="*/ 2147483647 w 80"/>
              <a:gd name="T25" fmla="*/ 2147483647 h 254"/>
              <a:gd name="T26" fmla="*/ 2147483647 w 80"/>
              <a:gd name="T27" fmla="*/ 2147483647 h 254"/>
              <a:gd name="T28" fmla="*/ 2147483647 w 80"/>
              <a:gd name="T29" fmla="*/ 2147483647 h 254"/>
              <a:gd name="T30" fmla="*/ 2147483647 w 80"/>
              <a:gd name="T31" fmla="*/ 2147483647 h 254"/>
              <a:gd name="T32" fmla="*/ 0 w 80"/>
              <a:gd name="T33" fmla="*/ 2147483647 h 254"/>
              <a:gd name="T34" fmla="*/ 2147483647 w 80"/>
              <a:gd name="T35" fmla="*/ 2147483647 h 254"/>
              <a:gd name="T36" fmla="*/ 2147483647 w 80"/>
              <a:gd name="T37" fmla="*/ 2147483647 h 254"/>
              <a:gd name="T38" fmla="*/ 2147483647 w 80"/>
              <a:gd name="T39" fmla="*/ 2147483647 h 254"/>
              <a:gd name="T40" fmla="*/ 2147483647 w 80"/>
              <a:gd name="T41" fmla="*/ 2147483647 h 254"/>
              <a:gd name="T42" fmla="*/ 2147483647 w 80"/>
              <a:gd name="T43" fmla="*/ 2147483647 h 254"/>
              <a:gd name="T44" fmla="*/ 2147483647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cmpd="sng">
            <a:solidFill>
              <a:srgbClr val="FFFFFF"/>
            </a:solidFill>
            <a:prstDash val="solid"/>
            <a:round/>
            <a:headEnd/>
            <a:tailEnd/>
          </a:ln>
        </p:spPr>
        <p:txBody>
          <a:bodyPr/>
          <a:lstStyle/>
          <a:p>
            <a:endParaRPr lang="en-AU"/>
          </a:p>
        </p:txBody>
      </p:sp>
      <p:sp>
        <p:nvSpPr>
          <p:cNvPr id="2209" name="Freeform 233"/>
          <p:cNvSpPr>
            <a:spLocks/>
          </p:cNvSpPr>
          <p:nvPr>
            <p:custDataLst>
              <p:tags r:id="rId160"/>
            </p:custDataLst>
          </p:nvPr>
        </p:nvSpPr>
        <p:spPr bwMode="auto">
          <a:xfrm>
            <a:off x="4779963" y="2647950"/>
            <a:ext cx="69850" cy="130175"/>
          </a:xfrm>
          <a:custGeom>
            <a:avLst/>
            <a:gdLst>
              <a:gd name="T0" fmla="*/ 2147483647 w 167"/>
              <a:gd name="T1" fmla="*/ 0 h 259"/>
              <a:gd name="T2" fmla="*/ 2147483647 w 167"/>
              <a:gd name="T3" fmla="*/ 2147483647 h 259"/>
              <a:gd name="T4" fmla="*/ 2147483647 w 167"/>
              <a:gd name="T5" fmla="*/ 2147483647 h 259"/>
              <a:gd name="T6" fmla="*/ 2147483647 w 167"/>
              <a:gd name="T7" fmla="*/ 2147483647 h 259"/>
              <a:gd name="T8" fmla="*/ 2147483647 w 167"/>
              <a:gd name="T9" fmla="*/ 2147483647 h 259"/>
              <a:gd name="T10" fmla="*/ 2147483647 w 167"/>
              <a:gd name="T11" fmla="*/ 2147483647 h 259"/>
              <a:gd name="T12" fmla="*/ 2147483647 w 167"/>
              <a:gd name="T13" fmla="*/ 2147483647 h 259"/>
              <a:gd name="T14" fmla="*/ 2147483647 w 167"/>
              <a:gd name="T15" fmla="*/ 2147483647 h 259"/>
              <a:gd name="T16" fmla="*/ 2147483647 w 167"/>
              <a:gd name="T17" fmla="*/ 2147483647 h 259"/>
              <a:gd name="T18" fmla="*/ 2147483647 w 167"/>
              <a:gd name="T19" fmla="*/ 2147483647 h 259"/>
              <a:gd name="T20" fmla="*/ 2147483647 w 167"/>
              <a:gd name="T21" fmla="*/ 2147483647 h 259"/>
              <a:gd name="T22" fmla="*/ 2147483647 w 167"/>
              <a:gd name="T23" fmla="*/ 2147483647 h 259"/>
              <a:gd name="T24" fmla="*/ 2147483647 w 167"/>
              <a:gd name="T25" fmla="*/ 2147483647 h 259"/>
              <a:gd name="T26" fmla="*/ 2147483647 w 167"/>
              <a:gd name="T27" fmla="*/ 2147483647 h 259"/>
              <a:gd name="T28" fmla="*/ 2147483647 w 167"/>
              <a:gd name="T29" fmla="*/ 2147483647 h 259"/>
              <a:gd name="T30" fmla="*/ 2147483647 w 167"/>
              <a:gd name="T31" fmla="*/ 2147483647 h 259"/>
              <a:gd name="T32" fmla="*/ 2147483647 w 167"/>
              <a:gd name="T33" fmla="*/ 2147483647 h 259"/>
              <a:gd name="T34" fmla="*/ 2147483647 w 167"/>
              <a:gd name="T35" fmla="*/ 2147483647 h 259"/>
              <a:gd name="T36" fmla="*/ 2147483647 w 167"/>
              <a:gd name="T37" fmla="*/ 2147483647 h 259"/>
              <a:gd name="T38" fmla="*/ 2147483647 w 167"/>
              <a:gd name="T39" fmla="*/ 2147483647 h 259"/>
              <a:gd name="T40" fmla="*/ 2147483647 w 167"/>
              <a:gd name="T41" fmla="*/ 2147483647 h 259"/>
              <a:gd name="T42" fmla="*/ 2147483647 w 167"/>
              <a:gd name="T43" fmla="*/ 2147483647 h 259"/>
              <a:gd name="T44" fmla="*/ 2147483647 w 167"/>
              <a:gd name="T45" fmla="*/ 2147483647 h 259"/>
              <a:gd name="T46" fmla="*/ 2147483647 w 167"/>
              <a:gd name="T47" fmla="*/ 2147483647 h 259"/>
              <a:gd name="T48" fmla="*/ 2147483647 w 167"/>
              <a:gd name="T49" fmla="*/ 2147483647 h 259"/>
              <a:gd name="T50" fmla="*/ 2147483647 w 167"/>
              <a:gd name="T51" fmla="*/ 2147483647 h 259"/>
              <a:gd name="T52" fmla="*/ 2147483647 w 167"/>
              <a:gd name="T53" fmla="*/ 2147483647 h 259"/>
              <a:gd name="T54" fmla="*/ 2147483647 w 167"/>
              <a:gd name="T55" fmla="*/ 2147483647 h 259"/>
              <a:gd name="T56" fmla="*/ 2147483647 w 167"/>
              <a:gd name="T57" fmla="*/ 2147483647 h 259"/>
              <a:gd name="T58" fmla="*/ 2147483647 w 167"/>
              <a:gd name="T59" fmla="*/ 2147483647 h 259"/>
              <a:gd name="T60" fmla="*/ 2147483647 w 167"/>
              <a:gd name="T61" fmla="*/ 2147483647 h 259"/>
              <a:gd name="T62" fmla="*/ 2147483647 w 167"/>
              <a:gd name="T63" fmla="*/ 2147483647 h 259"/>
              <a:gd name="T64" fmla="*/ 2147483647 w 167"/>
              <a:gd name="T65" fmla="*/ 2147483647 h 259"/>
              <a:gd name="T66" fmla="*/ 0 w 167"/>
              <a:gd name="T67" fmla="*/ 2147483647 h 259"/>
              <a:gd name="T68" fmla="*/ 0 w 167"/>
              <a:gd name="T69" fmla="*/ 2147483647 h 259"/>
              <a:gd name="T70" fmla="*/ 0 w 167"/>
              <a:gd name="T71" fmla="*/ 2147483647 h 259"/>
              <a:gd name="T72" fmla="*/ 2147483647 w 167"/>
              <a:gd name="T73" fmla="*/ 2147483647 h 259"/>
              <a:gd name="T74" fmla="*/ 2147483647 w 167"/>
              <a:gd name="T75" fmla="*/ 2147483647 h 259"/>
              <a:gd name="T76" fmla="*/ 2147483647 w 167"/>
              <a:gd name="T77" fmla="*/ 2147483647 h 259"/>
              <a:gd name="T78" fmla="*/ 2147483647 w 167"/>
              <a:gd name="T79" fmla="*/ 2147483647 h 259"/>
              <a:gd name="T80" fmla="*/ 2147483647 w 167"/>
              <a:gd name="T81" fmla="*/ 2147483647 h 259"/>
              <a:gd name="T82" fmla="*/ 2147483647 w 167"/>
              <a:gd name="T83" fmla="*/ 2147483647 h 259"/>
              <a:gd name="T84" fmla="*/ 2147483647 w 167"/>
              <a:gd name="T85" fmla="*/ 2147483647 h 259"/>
              <a:gd name="T86" fmla="*/ 2147483647 w 167"/>
              <a:gd name="T87" fmla="*/ 2147483647 h 259"/>
              <a:gd name="T88" fmla="*/ 2147483647 w 167"/>
              <a:gd name="T89" fmla="*/ 2147483647 h 259"/>
              <a:gd name="T90" fmla="*/ 2147483647 w 167"/>
              <a:gd name="T91" fmla="*/ 2147483647 h 259"/>
              <a:gd name="T92" fmla="*/ 2147483647 w 167"/>
              <a:gd name="T93" fmla="*/ 2147483647 h 259"/>
              <a:gd name="T94" fmla="*/ 2147483647 w 167"/>
              <a:gd name="T95" fmla="*/ 2147483647 h 259"/>
              <a:gd name="T96" fmla="*/ 2147483647 w 167"/>
              <a:gd name="T97" fmla="*/ 2147483647 h 259"/>
              <a:gd name="T98" fmla="*/ 2147483647 w 167"/>
              <a:gd name="T99" fmla="*/ 2147483647 h 259"/>
              <a:gd name="T100" fmla="*/ 2147483647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cmpd="sng">
            <a:solidFill>
              <a:srgbClr val="FFFFFF"/>
            </a:solidFill>
            <a:prstDash val="solid"/>
            <a:round/>
            <a:headEnd/>
            <a:tailEnd/>
          </a:ln>
        </p:spPr>
        <p:txBody>
          <a:bodyPr/>
          <a:lstStyle/>
          <a:p>
            <a:endParaRPr lang="en-AU"/>
          </a:p>
        </p:txBody>
      </p:sp>
      <p:sp>
        <p:nvSpPr>
          <p:cNvPr id="2210" name="Freeform 234"/>
          <p:cNvSpPr>
            <a:spLocks/>
          </p:cNvSpPr>
          <p:nvPr>
            <p:custDataLst>
              <p:tags r:id="rId161"/>
            </p:custDataLst>
          </p:nvPr>
        </p:nvSpPr>
        <p:spPr bwMode="auto">
          <a:xfrm>
            <a:off x="3781425" y="1901825"/>
            <a:ext cx="96838" cy="144463"/>
          </a:xfrm>
          <a:custGeom>
            <a:avLst/>
            <a:gdLst>
              <a:gd name="T0" fmla="*/ 2147483647 w 225"/>
              <a:gd name="T1" fmla="*/ 2147483647 h 273"/>
              <a:gd name="T2" fmla="*/ 2147483647 w 225"/>
              <a:gd name="T3" fmla="*/ 2147483647 h 273"/>
              <a:gd name="T4" fmla="*/ 2147483647 w 225"/>
              <a:gd name="T5" fmla="*/ 2147483647 h 273"/>
              <a:gd name="T6" fmla="*/ 2147483647 w 225"/>
              <a:gd name="T7" fmla="*/ 2147483647 h 273"/>
              <a:gd name="T8" fmla="*/ 2147483647 w 225"/>
              <a:gd name="T9" fmla="*/ 2147483647 h 273"/>
              <a:gd name="T10" fmla="*/ 2147483647 w 225"/>
              <a:gd name="T11" fmla="*/ 2147483647 h 273"/>
              <a:gd name="T12" fmla="*/ 2147483647 w 225"/>
              <a:gd name="T13" fmla="*/ 2147483647 h 273"/>
              <a:gd name="T14" fmla="*/ 2147483647 w 225"/>
              <a:gd name="T15" fmla="*/ 2147483647 h 273"/>
              <a:gd name="T16" fmla="*/ 2147483647 w 225"/>
              <a:gd name="T17" fmla="*/ 2147483647 h 273"/>
              <a:gd name="T18" fmla="*/ 2147483647 w 225"/>
              <a:gd name="T19" fmla="*/ 2147483647 h 273"/>
              <a:gd name="T20" fmla="*/ 2147483647 w 225"/>
              <a:gd name="T21" fmla="*/ 2147483647 h 273"/>
              <a:gd name="T22" fmla="*/ 2147483647 w 225"/>
              <a:gd name="T23" fmla="*/ 2147483647 h 273"/>
              <a:gd name="T24" fmla="*/ 2147483647 w 225"/>
              <a:gd name="T25" fmla="*/ 2147483647 h 273"/>
              <a:gd name="T26" fmla="*/ 2147483647 w 225"/>
              <a:gd name="T27" fmla="*/ 2147483647 h 273"/>
              <a:gd name="T28" fmla="*/ 2147483647 w 225"/>
              <a:gd name="T29" fmla="*/ 2147483647 h 273"/>
              <a:gd name="T30" fmla="*/ 2147483647 w 225"/>
              <a:gd name="T31" fmla="*/ 2147483647 h 273"/>
              <a:gd name="T32" fmla="*/ 2147483647 w 225"/>
              <a:gd name="T33" fmla="*/ 2147483647 h 273"/>
              <a:gd name="T34" fmla="*/ 2147483647 w 225"/>
              <a:gd name="T35" fmla="*/ 2147483647 h 273"/>
              <a:gd name="T36" fmla="*/ 2147483647 w 225"/>
              <a:gd name="T37" fmla="*/ 2147483647 h 273"/>
              <a:gd name="T38" fmla="*/ 2147483647 w 225"/>
              <a:gd name="T39" fmla="*/ 2147483647 h 273"/>
              <a:gd name="T40" fmla="*/ 0 w 225"/>
              <a:gd name="T41" fmla="*/ 2147483647 h 273"/>
              <a:gd name="T42" fmla="*/ 2147483647 w 225"/>
              <a:gd name="T43" fmla="*/ 2147483647 h 273"/>
              <a:gd name="T44" fmla="*/ 2147483647 w 225"/>
              <a:gd name="T45" fmla="*/ 2147483647 h 273"/>
              <a:gd name="T46" fmla="*/ 2147483647 w 225"/>
              <a:gd name="T47" fmla="*/ 2147483647 h 273"/>
              <a:gd name="T48" fmla="*/ 2147483647 w 225"/>
              <a:gd name="T49" fmla="*/ 2147483647 h 273"/>
              <a:gd name="T50" fmla="*/ 2147483647 w 225"/>
              <a:gd name="T51" fmla="*/ 2147483647 h 273"/>
              <a:gd name="T52" fmla="*/ 2147483647 w 225"/>
              <a:gd name="T53" fmla="*/ 2147483647 h 273"/>
              <a:gd name="T54" fmla="*/ 2147483647 w 225"/>
              <a:gd name="T55" fmla="*/ 2147483647 h 273"/>
              <a:gd name="T56" fmla="*/ 2147483647 w 225"/>
              <a:gd name="T57" fmla="*/ 2147483647 h 273"/>
              <a:gd name="T58" fmla="*/ 2147483647 w 225"/>
              <a:gd name="T59" fmla="*/ 2147483647 h 273"/>
              <a:gd name="T60" fmla="*/ 2147483647 w 225"/>
              <a:gd name="T61" fmla="*/ 2147483647 h 273"/>
              <a:gd name="T62" fmla="*/ 2147483647 w 225"/>
              <a:gd name="T63" fmla="*/ 2147483647 h 273"/>
              <a:gd name="T64" fmla="*/ 2147483647 w 225"/>
              <a:gd name="T65" fmla="*/ 2147483647 h 273"/>
              <a:gd name="T66" fmla="*/ 2147483647 w 225"/>
              <a:gd name="T67" fmla="*/ 2147483647 h 273"/>
              <a:gd name="T68" fmla="*/ 2147483647 w 225"/>
              <a:gd name="T69" fmla="*/ 2147483647 h 273"/>
              <a:gd name="T70" fmla="*/ 2147483647 w 225"/>
              <a:gd name="T71" fmla="*/ 2147483647 h 273"/>
              <a:gd name="T72" fmla="*/ 2147483647 w 225"/>
              <a:gd name="T73" fmla="*/ 2147483647 h 273"/>
              <a:gd name="T74" fmla="*/ 2147483647 w 225"/>
              <a:gd name="T75" fmla="*/ 2147483647 h 273"/>
              <a:gd name="T76" fmla="*/ 2147483647 w 225"/>
              <a:gd name="T77" fmla="*/ 2147483647 h 273"/>
              <a:gd name="T78" fmla="*/ 2147483647 w 225"/>
              <a:gd name="T79" fmla="*/ 2147483647 h 273"/>
              <a:gd name="T80" fmla="*/ 2147483647 w 225"/>
              <a:gd name="T81" fmla="*/ 2147483647 h 273"/>
              <a:gd name="T82" fmla="*/ 2147483647 w 225"/>
              <a:gd name="T83" fmla="*/ 2147483647 h 273"/>
              <a:gd name="T84" fmla="*/ 2147483647 w 225"/>
              <a:gd name="T85" fmla="*/ 2147483647 h 273"/>
              <a:gd name="T86" fmla="*/ 2147483647 w 225"/>
              <a:gd name="T87" fmla="*/ 2147483647 h 273"/>
              <a:gd name="T88" fmla="*/ 2147483647 w 225"/>
              <a:gd name="T89" fmla="*/ 2147483647 h 273"/>
              <a:gd name="T90" fmla="*/ 2147483647 w 225"/>
              <a:gd name="T91" fmla="*/ 2147483647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211" name="Freeform 235"/>
          <p:cNvSpPr>
            <a:spLocks/>
          </p:cNvSpPr>
          <p:nvPr>
            <p:custDataLst>
              <p:tags r:id="rId162"/>
            </p:custDataLst>
          </p:nvPr>
        </p:nvSpPr>
        <p:spPr bwMode="auto">
          <a:xfrm>
            <a:off x="3594100" y="2813050"/>
            <a:ext cx="306388" cy="390525"/>
          </a:xfrm>
          <a:custGeom>
            <a:avLst/>
            <a:gdLst>
              <a:gd name="T0" fmla="*/ 2147483647 w 232"/>
              <a:gd name="T1" fmla="*/ 2147483647 h 248"/>
              <a:gd name="T2" fmla="*/ 2147483647 w 232"/>
              <a:gd name="T3" fmla="*/ 2147483647 h 248"/>
              <a:gd name="T4" fmla="*/ 2147483647 w 232"/>
              <a:gd name="T5" fmla="*/ 2147483647 h 248"/>
              <a:gd name="T6" fmla="*/ 2147483647 w 232"/>
              <a:gd name="T7" fmla="*/ 2147483647 h 248"/>
              <a:gd name="T8" fmla="*/ 2147483647 w 232"/>
              <a:gd name="T9" fmla="*/ 2147483647 h 248"/>
              <a:gd name="T10" fmla="*/ 2147483647 w 232"/>
              <a:gd name="T11" fmla="*/ 2147483647 h 248"/>
              <a:gd name="T12" fmla="*/ 2147483647 w 232"/>
              <a:gd name="T13" fmla="*/ 2147483647 h 248"/>
              <a:gd name="T14" fmla="*/ 2147483647 w 232"/>
              <a:gd name="T15" fmla="*/ 2147483647 h 248"/>
              <a:gd name="T16" fmla="*/ 2147483647 w 232"/>
              <a:gd name="T17" fmla="*/ 2147483647 h 248"/>
              <a:gd name="T18" fmla="*/ 2147483647 w 232"/>
              <a:gd name="T19" fmla="*/ 2147483647 h 248"/>
              <a:gd name="T20" fmla="*/ 2147483647 w 232"/>
              <a:gd name="T21" fmla="*/ 2147483647 h 248"/>
              <a:gd name="T22" fmla="*/ 2147483647 w 232"/>
              <a:gd name="T23" fmla="*/ 2147483647 h 248"/>
              <a:gd name="T24" fmla="*/ 2147483647 w 232"/>
              <a:gd name="T25" fmla="*/ 2147483647 h 248"/>
              <a:gd name="T26" fmla="*/ 2147483647 w 232"/>
              <a:gd name="T27" fmla="*/ 2147483647 h 248"/>
              <a:gd name="T28" fmla="*/ 2147483647 w 232"/>
              <a:gd name="T29" fmla="*/ 2147483647 h 248"/>
              <a:gd name="T30" fmla="*/ 2147483647 w 232"/>
              <a:gd name="T31" fmla="*/ 2147483647 h 248"/>
              <a:gd name="T32" fmla="*/ 2147483647 w 232"/>
              <a:gd name="T33" fmla="*/ 2147483647 h 248"/>
              <a:gd name="T34" fmla="*/ 2147483647 w 232"/>
              <a:gd name="T35" fmla="*/ 2147483647 h 248"/>
              <a:gd name="T36" fmla="*/ 2147483647 w 232"/>
              <a:gd name="T37" fmla="*/ 2147483647 h 248"/>
              <a:gd name="T38" fmla="*/ 2147483647 w 232"/>
              <a:gd name="T39" fmla="*/ 2147483647 h 248"/>
              <a:gd name="T40" fmla="*/ 2147483647 w 232"/>
              <a:gd name="T41" fmla="*/ 2147483647 h 248"/>
              <a:gd name="T42" fmla="*/ 2147483647 w 232"/>
              <a:gd name="T43" fmla="*/ 2147483647 h 248"/>
              <a:gd name="T44" fmla="*/ 2147483647 w 232"/>
              <a:gd name="T45" fmla="*/ 2147483647 h 248"/>
              <a:gd name="T46" fmla="*/ 2147483647 w 232"/>
              <a:gd name="T47" fmla="*/ 2147483647 h 248"/>
              <a:gd name="T48" fmla="*/ 2147483647 w 232"/>
              <a:gd name="T49" fmla="*/ 2147483647 h 248"/>
              <a:gd name="T50" fmla="*/ 2147483647 w 232"/>
              <a:gd name="T51" fmla="*/ 2147483647 h 248"/>
              <a:gd name="T52" fmla="*/ 2147483647 w 232"/>
              <a:gd name="T53" fmla="*/ 2147483647 h 248"/>
              <a:gd name="T54" fmla="*/ 2147483647 w 232"/>
              <a:gd name="T55" fmla="*/ 2147483647 h 248"/>
              <a:gd name="T56" fmla="*/ 2147483647 w 232"/>
              <a:gd name="T57" fmla="*/ 2147483647 h 248"/>
              <a:gd name="T58" fmla="*/ 2147483647 w 232"/>
              <a:gd name="T59" fmla="*/ 2147483647 h 248"/>
              <a:gd name="T60" fmla="*/ 2147483647 w 232"/>
              <a:gd name="T61" fmla="*/ 2147483647 h 248"/>
              <a:gd name="T62" fmla="*/ 2147483647 w 232"/>
              <a:gd name="T63" fmla="*/ 2147483647 h 248"/>
              <a:gd name="T64" fmla="*/ 2147483647 w 232"/>
              <a:gd name="T65" fmla="*/ 2147483647 h 248"/>
              <a:gd name="T66" fmla="*/ 2147483647 w 232"/>
              <a:gd name="T67" fmla="*/ 2147483647 h 248"/>
              <a:gd name="T68" fmla="*/ 2147483647 w 232"/>
              <a:gd name="T69" fmla="*/ 2147483647 h 248"/>
              <a:gd name="T70" fmla="*/ 2147483647 w 232"/>
              <a:gd name="T71" fmla="*/ 2147483647 h 248"/>
              <a:gd name="T72" fmla="*/ 2147483647 w 232"/>
              <a:gd name="T73" fmla="*/ 2147483647 h 248"/>
              <a:gd name="T74" fmla="*/ 2147483647 w 232"/>
              <a:gd name="T75" fmla="*/ 2147483647 h 248"/>
              <a:gd name="T76" fmla="*/ 2147483647 w 232"/>
              <a:gd name="T77" fmla="*/ 2147483647 h 248"/>
              <a:gd name="T78" fmla="*/ 2147483647 w 232"/>
              <a:gd name="T79" fmla="*/ 2147483647 h 248"/>
              <a:gd name="T80" fmla="*/ 2147483647 w 232"/>
              <a:gd name="T81" fmla="*/ 2147483647 h 248"/>
              <a:gd name="T82" fmla="*/ 2147483647 w 232"/>
              <a:gd name="T83" fmla="*/ 2147483647 h 248"/>
              <a:gd name="T84" fmla="*/ 2147483647 w 232"/>
              <a:gd name="T85" fmla="*/ 2147483647 h 248"/>
              <a:gd name="T86" fmla="*/ 2147483647 w 232"/>
              <a:gd name="T87" fmla="*/ 2147483647 h 248"/>
              <a:gd name="T88" fmla="*/ 2147483647 w 232"/>
              <a:gd name="T89" fmla="*/ 2147483647 h 248"/>
              <a:gd name="T90" fmla="*/ 2147483647 w 232"/>
              <a:gd name="T91" fmla="*/ 2147483647 h 248"/>
              <a:gd name="T92" fmla="*/ 2147483647 w 232"/>
              <a:gd name="T93" fmla="*/ 2147483647 h 248"/>
              <a:gd name="T94" fmla="*/ 2147483647 w 232"/>
              <a:gd name="T95" fmla="*/ 2147483647 h 248"/>
              <a:gd name="T96" fmla="*/ 2147483647 w 232"/>
              <a:gd name="T97" fmla="*/ 2147483647 h 248"/>
              <a:gd name="T98" fmla="*/ 2147483647 w 232"/>
              <a:gd name="T99" fmla="*/ 2147483647 h 248"/>
              <a:gd name="T100" fmla="*/ 2147483647 w 232"/>
              <a:gd name="T101" fmla="*/ 2147483647 h 248"/>
              <a:gd name="T102" fmla="*/ 2147483647 w 232"/>
              <a:gd name="T103" fmla="*/ 2147483647 h 248"/>
              <a:gd name="T104" fmla="*/ 2147483647 w 232"/>
              <a:gd name="T105" fmla="*/ 2147483647 h 248"/>
              <a:gd name="T106" fmla="*/ 2147483647 w 232"/>
              <a:gd name="T107" fmla="*/ 2147483647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cmpd="sng">
            <a:solidFill>
              <a:srgbClr val="FFFFFF"/>
            </a:solidFill>
            <a:prstDash val="solid"/>
            <a:round/>
            <a:headEnd/>
            <a:tailEnd/>
          </a:ln>
        </p:spPr>
        <p:txBody>
          <a:bodyPr/>
          <a:lstStyle/>
          <a:p>
            <a:endParaRPr lang="en-AU"/>
          </a:p>
        </p:txBody>
      </p:sp>
      <p:sp>
        <p:nvSpPr>
          <p:cNvPr id="2212" name="Freeform 236"/>
          <p:cNvSpPr>
            <a:spLocks/>
          </p:cNvSpPr>
          <p:nvPr>
            <p:custDataLst>
              <p:tags r:id="rId163"/>
            </p:custDataLst>
          </p:nvPr>
        </p:nvSpPr>
        <p:spPr bwMode="auto">
          <a:xfrm>
            <a:off x="3709988" y="2873375"/>
            <a:ext cx="414337" cy="468313"/>
          </a:xfrm>
          <a:custGeom>
            <a:avLst/>
            <a:gdLst>
              <a:gd name="T0" fmla="*/ 2147483647 w 948"/>
              <a:gd name="T1" fmla="*/ 2147483647 h 893"/>
              <a:gd name="T2" fmla="*/ 2147483647 w 948"/>
              <a:gd name="T3" fmla="*/ 2147483647 h 893"/>
              <a:gd name="T4" fmla="*/ 2147483647 w 948"/>
              <a:gd name="T5" fmla="*/ 2147483647 h 893"/>
              <a:gd name="T6" fmla="*/ 2147483647 w 948"/>
              <a:gd name="T7" fmla="*/ 2147483647 h 893"/>
              <a:gd name="T8" fmla="*/ 2147483647 w 948"/>
              <a:gd name="T9" fmla="*/ 2147483647 h 893"/>
              <a:gd name="T10" fmla="*/ 2147483647 w 948"/>
              <a:gd name="T11" fmla="*/ 2147483647 h 893"/>
              <a:gd name="T12" fmla="*/ 2147483647 w 948"/>
              <a:gd name="T13" fmla="*/ 2147483647 h 893"/>
              <a:gd name="T14" fmla="*/ 2147483647 w 948"/>
              <a:gd name="T15" fmla="*/ 2147483647 h 893"/>
              <a:gd name="T16" fmla="*/ 2147483647 w 948"/>
              <a:gd name="T17" fmla="*/ 2147483647 h 893"/>
              <a:gd name="T18" fmla="*/ 2147483647 w 948"/>
              <a:gd name="T19" fmla="*/ 2147483647 h 893"/>
              <a:gd name="T20" fmla="*/ 2147483647 w 948"/>
              <a:gd name="T21" fmla="*/ 2147483647 h 893"/>
              <a:gd name="T22" fmla="*/ 2147483647 w 948"/>
              <a:gd name="T23" fmla="*/ 2147483647 h 893"/>
              <a:gd name="T24" fmla="*/ 2147483647 w 948"/>
              <a:gd name="T25" fmla="*/ 2147483647 h 893"/>
              <a:gd name="T26" fmla="*/ 2147483647 w 948"/>
              <a:gd name="T27" fmla="*/ 2147483647 h 893"/>
              <a:gd name="T28" fmla="*/ 2147483647 w 948"/>
              <a:gd name="T29" fmla="*/ 2147483647 h 893"/>
              <a:gd name="T30" fmla="*/ 2147483647 w 948"/>
              <a:gd name="T31" fmla="*/ 2147483647 h 893"/>
              <a:gd name="T32" fmla="*/ 2147483647 w 948"/>
              <a:gd name="T33" fmla="*/ 2147483647 h 893"/>
              <a:gd name="T34" fmla="*/ 2147483647 w 948"/>
              <a:gd name="T35" fmla="*/ 2147483647 h 893"/>
              <a:gd name="T36" fmla="*/ 2147483647 w 948"/>
              <a:gd name="T37" fmla="*/ 2147483647 h 893"/>
              <a:gd name="T38" fmla="*/ 2147483647 w 948"/>
              <a:gd name="T39" fmla="*/ 2147483647 h 893"/>
              <a:gd name="T40" fmla="*/ 2147483647 w 948"/>
              <a:gd name="T41" fmla="*/ 2147483647 h 893"/>
              <a:gd name="T42" fmla="*/ 2147483647 w 948"/>
              <a:gd name="T43" fmla="*/ 2147483647 h 893"/>
              <a:gd name="T44" fmla="*/ 2147483647 w 948"/>
              <a:gd name="T45" fmla="*/ 2147483647 h 893"/>
              <a:gd name="T46" fmla="*/ 2147483647 w 948"/>
              <a:gd name="T47" fmla="*/ 2147483647 h 893"/>
              <a:gd name="T48" fmla="*/ 2147483647 w 948"/>
              <a:gd name="T49" fmla="*/ 2147483647 h 893"/>
              <a:gd name="T50" fmla="*/ 2147483647 w 948"/>
              <a:gd name="T51" fmla="*/ 2147483647 h 893"/>
              <a:gd name="T52" fmla="*/ 2147483647 w 948"/>
              <a:gd name="T53" fmla="*/ 2147483647 h 893"/>
              <a:gd name="T54" fmla="*/ 2147483647 w 948"/>
              <a:gd name="T55" fmla="*/ 2147483647 h 893"/>
              <a:gd name="T56" fmla="*/ 2147483647 w 948"/>
              <a:gd name="T57" fmla="*/ 2147483647 h 893"/>
              <a:gd name="T58" fmla="*/ 2147483647 w 948"/>
              <a:gd name="T59" fmla="*/ 2147483647 h 893"/>
              <a:gd name="T60" fmla="*/ 2147483647 w 948"/>
              <a:gd name="T61" fmla="*/ 2147483647 h 893"/>
              <a:gd name="T62" fmla="*/ 2147483647 w 948"/>
              <a:gd name="T63" fmla="*/ 2147483647 h 893"/>
              <a:gd name="T64" fmla="*/ 2147483647 w 948"/>
              <a:gd name="T65" fmla="*/ 2147483647 h 893"/>
              <a:gd name="T66" fmla="*/ 2147483647 w 948"/>
              <a:gd name="T67" fmla="*/ 2147483647 h 893"/>
              <a:gd name="T68" fmla="*/ 2147483647 w 948"/>
              <a:gd name="T69" fmla="*/ 2147483647 h 893"/>
              <a:gd name="T70" fmla="*/ 2147483647 w 948"/>
              <a:gd name="T71" fmla="*/ 2147483647 h 893"/>
              <a:gd name="T72" fmla="*/ 2147483647 w 948"/>
              <a:gd name="T73" fmla="*/ 2147483647 h 893"/>
              <a:gd name="T74" fmla="*/ 2147483647 w 948"/>
              <a:gd name="T75" fmla="*/ 2147483647 h 893"/>
              <a:gd name="T76" fmla="*/ 2147483647 w 948"/>
              <a:gd name="T77" fmla="*/ 2147483647 h 893"/>
              <a:gd name="T78" fmla="*/ 2147483647 w 948"/>
              <a:gd name="T79" fmla="*/ 2147483647 h 893"/>
              <a:gd name="T80" fmla="*/ 2147483647 w 948"/>
              <a:gd name="T81" fmla="*/ 2147483647 h 893"/>
              <a:gd name="T82" fmla="*/ 2147483647 w 948"/>
              <a:gd name="T83" fmla="*/ 2147483647 h 893"/>
              <a:gd name="T84" fmla="*/ 2147483647 w 948"/>
              <a:gd name="T85" fmla="*/ 2147483647 h 893"/>
              <a:gd name="T86" fmla="*/ 2147483647 w 948"/>
              <a:gd name="T87" fmla="*/ 2147483647 h 893"/>
              <a:gd name="T88" fmla="*/ 2147483647 w 948"/>
              <a:gd name="T89" fmla="*/ 2147483647 h 893"/>
              <a:gd name="T90" fmla="*/ 2147483647 w 948"/>
              <a:gd name="T91" fmla="*/ 2147483647 h 893"/>
              <a:gd name="T92" fmla="*/ 2147483647 w 948"/>
              <a:gd name="T93" fmla="*/ 2147483647 h 893"/>
              <a:gd name="T94" fmla="*/ 2147483647 w 948"/>
              <a:gd name="T95" fmla="*/ 2147483647 h 893"/>
              <a:gd name="T96" fmla="*/ 2147483647 w 948"/>
              <a:gd name="T97" fmla="*/ 2147483647 h 893"/>
              <a:gd name="T98" fmla="*/ 2147483647 w 948"/>
              <a:gd name="T99" fmla="*/ 2147483647 h 893"/>
              <a:gd name="T100" fmla="*/ 2147483647 w 948"/>
              <a:gd name="T101" fmla="*/ 2147483647 h 893"/>
              <a:gd name="T102" fmla="*/ 2147483647 w 948"/>
              <a:gd name="T103" fmla="*/ 2147483647 h 893"/>
              <a:gd name="T104" fmla="*/ 2147483647 w 948"/>
              <a:gd name="T105" fmla="*/ 2147483647 h 893"/>
              <a:gd name="T106" fmla="*/ 2147483647 w 948"/>
              <a:gd name="T107" fmla="*/ 2147483647 h 893"/>
              <a:gd name="T108" fmla="*/ 2147483647 w 948"/>
              <a:gd name="T109" fmla="*/ 2147483647 h 893"/>
              <a:gd name="T110" fmla="*/ 2147483647 w 948"/>
              <a:gd name="T111" fmla="*/ 2147483647 h 893"/>
              <a:gd name="T112" fmla="*/ 2147483647 w 948"/>
              <a:gd name="T113" fmla="*/ 2147483647 h 893"/>
              <a:gd name="T114" fmla="*/ 2147483647 w 948"/>
              <a:gd name="T115" fmla="*/ 2147483647 h 893"/>
              <a:gd name="T116" fmla="*/ 2147483647 w 948"/>
              <a:gd name="T117" fmla="*/ 2147483647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cmpd="sng">
            <a:solidFill>
              <a:srgbClr val="FFFFFF"/>
            </a:solidFill>
            <a:prstDash val="solid"/>
            <a:round/>
            <a:headEnd/>
            <a:tailEnd/>
          </a:ln>
        </p:spPr>
        <p:txBody>
          <a:bodyPr/>
          <a:lstStyle/>
          <a:p>
            <a:endParaRPr lang="en-AU"/>
          </a:p>
        </p:txBody>
      </p:sp>
      <p:sp>
        <p:nvSpPr>
          <p:cNvPr id="2213" name="Freeform 237"/>
          <p:cNvSpPr>
            <a:spLocks/>
          </p:cNvSpPr>
          <p:nvPr>
            <p:custDataLst>
              <p:tags r:id="rId164"/>
            </p:custDataLst>
          </p:nvPr>
        </p:nvSpPr>
        <p:spPr bwMode="auto">
          <a:xfrm>
            <a:off x="3808413" y="2479675"/>
            <a:ext cx="493712" cy="579438"/>
          </a:xfrm>
          <a:custGeom>
            <a:avLst/>
            <a:gdLst>
              <a:gd name="T0" fmla="*/ 2147483647 w 373"/>
              <a:gd name="T1" fmla="*/ 2147483647 h 370"/>
              <a:gd name="T2" fmla="*/ 2147483647 w 373"/>
              <a:gd name="T3" fmla="*/ 2147483647 h 370"/>
              <a:gd name="T4" fmla="*/ 2147483647 w 373"/>
              <a:gd name="T5" fmla="*/ 2147483647 h 370"/>
              <a:gd name="T6" fmla="*/ 2147483647 w 373"/>
              <a:gd name="T7" fmla="*/ 2147483647 h 370"/>
              <a:gd name="T8" fmla="*/ 2147483647 w 373"/>
              <a:gd name="T9" fmla="*/ 2147483647 h 370"/>
              <a:gd name="T10" fmla="*/ 2147483647 w 373"/>
              <a:gd name="T11" fmla="*/ 2147483647 h 370"/>
              <a:gd name="T12" fmla="*/ 2147483647 w 373"/>
              <a:gd name="T13" fmla="*/ 2147483647 h 370"/>
              <a:gd name="T14" fmla="*/ 2147483647 w 373"/>
              <a:gd name="T15" fmla="*/ 2147483647 h 370"/>
              <a:gd name="T16" fmla="*/ 2147483647 w 373"/>
              <a:gd name="T17" fmla="*/ 2147483647 h 370"/>
              <a:gd name="T18" fmla="*/ 2147483647 w 373"/>
              <a:gd name="T19" fmla="*/ 2147483647 h 370"/>
              <a:gd name="T20" fmla="*/ 2147483647 w 373"/>
              <a:gd name="T21" fmla="*/ 2147483647 h 370"/>
              <a:gd name="T22" fmla="*/ 2147483647 w 373"/>
              <a:gd name="T23" fmla="*/ 2147483647 h 370"/>
              <a:gd name="T24" fmla="*/ 2147483647 w 373"/>
              <a:gd name="T25" fmla="*/ 2147483647 h 370"/>
              <a:gd name="T26" fmla="*/ 2147483647 w 373"/>
              <a:gd name="T27" fmla="*/ 2147483647 h 370"/>
              <a:gd name="T28" fmla="*/ 2147483647 w 373"/>
              <a:gd name="T29" fmla="*/ 2147483647 h 370"/>
              <a:gd name="T30" fmla="*/ 2147483647 w 373"/>
              <a:gd name="T31" fmla="*/ 2147483647 h 370"/>
              <a:gd name="T32" fmla="*/ 2147483647 w 373"/>
              <a:gd name="T33" fmla="*/ 2147483647 h 370"/>
              <a:gd name="T34" fmla="*/ 2147483647 w 373"/>
              <a:gd name="T35" fmla="*/ 2147483647 h 370"/>
              <a:gd name="T36" fmla="*/ 2147483647 w 373"/>
              <a:gd name="T37" fmla="*/ 2147483647 h 370"/>
              <a:gd name="T38" fmla="*/ 2147483647 w 373"/>
              <a:gd name="T39" fmla="*/ 2147483647 h 370"/>
              <a:gd name="T40" fmla="*/ 2147483647 w 373"/>
              <a:gd name="T41" fmla="*/ 2147483647 h 370"/>
              <a:gd name="T42" fmla="*/ 2147483647 w 373"/>
              <a:gd name="T43" fmla="*/ 2147483647 h 370"/>
              <a:gd name="T44" fmla="*/ 2147483647 w 373"/>
              <a:gd name="T45" fmla="*/ 2147483647 h 370"/>
              <a:gd name="T46" fmla="*/ 2147483647 w 373"/>
              <a:gd name="T47" fmla="*/ 2147483647 h 370"/>
              <a:gd name="T48" fmla="*/ 2147483647 w 373"/>
              <a:gd name="T49" fmla="*/ 2147483647 h 370"/>
              <a:gd name="T50" fmla="*/ 2147483647 w 373"/>
              <a:gd name="T51" fmla="*/ 2147483647 h 370"/>
              <a:gd name="T52" fmla="*/ 2147483647 w 373"/>
              <a:gd name="T53" fmla="*/ 2147483647 h 370"/>
              <a:gd name="T54" fmla="*/ 2147483647 w 373"/>
              <a:gd name="T55" fmla="*/ 2147483647 h 370"/>
              <a:gd name="T56" fmla="*/ 2147483647 w 373"/>
              <a:gd name="T57" fmla="*/ 2147483647 h 370"/>
              <a:gd name="T58" fmla="*/ 2147483647 w 373"/>
              <a:gd name="T59" fmla="*/ 2147483647 h 370"/>
              <a:gd name="T60" fmla="*/ 2147483647 w 373"/>
              <a:gd name="T61" fmla="*/ 2147483647 h 370"/>
              <a:gd name="T62" fmla="*/ 2147483647 w 373"/>
              <a:gd name="T63" fmla="*/ 2147483647 h 370"/>
              <a:gd name="T64" fmla="*/ 2147483647 w 373"/>
              <a:gd name="T65" fmla="*/ 2147483647 h 370"/>
              <a:gd name="T66" fmla="*/ 2147483647 w 373"/>
              <a:gd name="T67" fmla="*/ 2147483647 h 370"/>
              <a:gd name="T68" fmla="*/ 2147483647 w 373"/>
              <a:gd name="T69" fmla="*/ 2147483647 h 370"/>
              <a:gd name="T70" fmla="*/ 2147483647 w 373"/>
              <a:gd name="T71" fmla="*/ 2147483647 h 370"/>
              <a:gd name="T72" fmla="*/ 2147483647 w 373"/>
              <a:gd name="T73" fmla="*/ 2147483647 h 370"/>
              <a:gd name="T74" fmla="*/ 2147483647 w 373"/>
              <a:gd name="T75" fmla="*/ 2147483647 h 370"/>
              <a:gd name="T76" fmla="*/ 2147483647 w 373"/>
              <a:gd name="T77" fmla="*/ 2147483647 h 370"/>
              <a:gd name="T78" fmla="*/ 2147483647 w 373"/>
              <a:gd name="T79" fmla="*/ 2147483647 h 370"/>
              <a:gd name="T80" fmla="*/ 2147483647 w 373"/>
              <a:gd name="T81" fmla="*/ 2147483647 h 370"/>
              <a:gd name="T82" fmla="*/ 2147483647 w 373"/>
              <a:gd name="T83" fmla="*/ 2147483647 h 370"/>
              <a:gd name="T84" fmla="*/ 2147483647 w 373"/>
              <a:gd name="T85" fmla="*/ 2147483647 h 370"/>
              <a:gd name="T86" fmla="*/ 2147483647 w 373"/>
              <a:gd name="T87" fmla="*/ 2147483647 h 370"/>
              <a:gd name="T88" fmla="*/ 0 w 373"/>
              <a:gd name="T89" fmla="*/ 2147483647 h 370"/>
              <a:gd name="T90" fmla="*/ 2147483647 w 373"/>
              <a:gd name="T91" fmla="*/ 2147483647 h 370"/>
              <a:gd name="T92" fmla="*/ 2147483647 w 373"/>
              <a:gd name="T93" fmla="*/ 2147483647 h 370"/>
              <a:gd name="T94" fmla="*/ 2147483647 w 373"/>
              <a:gd name="T95" fmla="*/ 2147483647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cmpd="sng">
            <a:solidFill>
              <a:srgbClr val="FFFFFF"/>
            </a:solidFill>
            <a:prstDash val="solid"/>
            <a:round/>
            <a:headEnd/>
            <a:tailEnd/>
          </a:ln>
        </p:spPr>
        <p:txBody>
          <a:bodyPr/>
          <a:lstStyle/>
          <a:p>
            <a:endParaRPr lang="en-AU"/>
          </a:p>
        </p:txBody>
      </p:sp>
      <p:sp>
        <p:nvSpPr>
          <p:cNvPr id="2214" name="Freeform 238"/>
          <p:cNvSpPr>
            <a:spLocks/>
          </p:cNvSpPr>
          <p:nvPr>
            <p:custDataLst>
              <p:tags r:id="rId165"/>
            </p:custDataLst>
          </p:nvPr>
        </p:nvSpPr>
        <p:spPr bwMode="auto">
          <a:xfrm>
            <a:off x="4244975" y="2614613"/>
            <a:ext cx="384175" cy="436562"/>
          </a:xfrm>
          <a:custGeom>
            <a:avLst/>
            <a:gdLst>
              <a:gd name="T0" fmla="*/ 2147483647 w 877"/>
              <a:gd name="T1" fmla="*/ 2147483647 h 826"/>
              <a:gd name="T2" fmla="*/ 2147483647 w 877"/>
              <a:gd name="T3" fmla="*/ 2147483647 h 826"/>
              <a:gd name="T4" fmla="*/ 2147483647 w 877"/>
              <a:gd name="T5" fmla="*/ 2147483647 h 826"/>
              <a:gd name="T6" fmla="*/ 2147483647 w 877"/>
              <a:gd name="T7" fmla="*/ 2147483647 h 826"/>
              <a:gd name="T8" fmla="*/ 2147483647 w 877"/>
              <a:gd name="T9" fmla="*/ 2147483647 h 826"/>
              <a:gd name="T10" fmla="*/ 2147483647 w 877"/>
              <a:gd name="T11" fmla="*/ 2147483647 h 826"/>
              <a:gd name="T12" fmla="*/ 2147483647 w 877"/>
              <a:gd name="T13" fmla="*/ 2147483647 h 826"/>
              <a:gd name="T14" fmla="*/ 2147483647 w 877"/>
              <a:gd name="T15" fmla="*/ 2147483647 h 826"/>
              <a:gd name="T16" fmla="*/ 2147483647 w 877"/>
              <a:gd name="T17" fmla="*/ 2147483647 h 826"/>
              <a:gd name="T18" fmla="*/ 2147483647 w 877"/>
              <a:gd name="T19" fmla="*/ 2147483647 h 826"/>
              <a:gd name="T20" fmla="*/ 2147483647 w 877"/>
              <a:gd name="T21" fmla="*/ 2147483647 h 826"/>
              <a:gd name="T22" fmla="*/ 2147483647 w 877"/>
              <a:gd name="T23" fmla="*/ 2147483647 h 826"/>
              <a:gd name="T24" fmla="*/ 2147483647 w 877"/>
              <a:gd name="T25" fmla="*/ 2147483647 h 826"/>
              <a:gd name="T26" fmla="*/ 2147483647 w 877"/>
              <a:gd name="T27" fmla="*/ 2147483647 h 826"/>
              <a:gd name="T28" fmla="*/ 2147483647 w 877"/>
              <a:gd name="T29" fmla="*/ 2147483647 h 826"/>
              <a:gd name="T30" fmla="*/ 2147483647 w 877"/>
              <a:gd name="T31" fmla="*/ 2147483647 h 826"/>
              <a:gd name="T32" fmla="*/ 2147483647 w 877"/>
              <a:gd name="T33" fmla="*/ 2147483647 h 826"/>
              <a:gd name="T34" fmla="*/ 2147483647 w 877"/>
              <a:gd name="T35" fmla="*/ 2147483647 h 826"/>
              <a:gd name="T36" fmla="*/ 2147483647 w 877"/>
              <a:gd name="T37" fmla="*/ 2147483647 h 826"/>
              <a:gd name="T38" fmla="*/ 2147483647 w 877"/>
              <a:gd name="T39" fmla="*/ 2147483647 h 826"/>
              <a:gd name="T40" fmla="*/ 2147483647 w 877"/>
              <a:gd name="T41" fmla="*/ 2147483647 h 826"/>
              <a:gd name="T42" fmla="*/ 2147483647 w 877"/>
              <a:gd name="T43" fmla="*/ 2147483647 h 826"/>
              <a:gd name="T44" fmla="*/ 2147483647 w 877"/>
              <a:gd name="T45" fmla="*/ 2147483647 h 826"/>
              <a:gd name="T46" fmla="*/ 2147483647 w 877"/>
              <a:gd name="T47" fmla="*/ 0 h 826"/>
              <a:gd name="T48" fmla="*/ 2147483647 w 877"/>
              <a:gd name="T49" fmla="*/ 2147483647 h 826"/>
              <a:gd name="T50" fmla="*/ 2147483647 w 877"/>
              <a:gd name="T51" fmla="*/ 2147483647 h 826"/>
              <a:gd name="T52" fmla="*/ 2147483647 w 877"/>
              <a:gd name="T53" fmla="*/ 2147483647 h 826"/>
              <a:gd name="T54" fmla="*/ 2147483647 w 877"/>
              <a:gd name="T55" fmla="*/ 2147483647 h 826"/>
              <a:gd name="T56" fmla="*/ 2147483647 w 877"/>
              <a:gd name="T57" fmla="*/ 2147483647 h 826"/>
              <a:gd name="T58" fmla="*/ 2147483647 w 877"/>
              <a:gd name="T59" fmla="*/ 2147483647 h 826"/>
              <a:gd name="T60" fmla="*/ 2147483647 w 877"/>
              <a:gd name="T61" fmla="*/ 2147483647 h 826"/>
              <a:gd name="T62" fmla="*/ 2147483647 w 877"/>
              <a:gd name="T63" fmla="*/ 2147483647 h 826"/>
              <a:gd name="T64" fmla="*/ 2147483647 w 877"/>
              <a:gd name="T65" fmla="*/ 2147483647 h 826"/>
              <a:gd name="T66" fmla="*/ 2147483647 w 877"/>
              <a:gd name="T67" fmla="*/ 2147483647 h 826"/>
              <a:gd name="T68" fmla="*/ 2147483647 w 877"/>
              <a:gd name="T69" fmla="*/ 2147483647 h 826"/>
              <a:gd name="T70" fmla="*/ 2147483647 w 877"/>
              <a:gd name="T71" fmla="*/ 2147483647 h 826"/>
              <a:gd name="T72" fmla="*/ 2147483647 w 877"/>
              <a:gd name="T73" fmla="*/ 2147483647 h 826"/>
              <a:gd name="T74" fmla="*/ 2147483647 w 877"/>
              <a:gd name="T75" fmla="*/ 2147483647 h 826"/>
              <a:gd name="T76" fmla="*/ 2147483647 w 877"/>
              <a:gd name="T77" fmla="*/ 2147483647 h 826"/>
              <a:gd name="T78" fmla="*/ 2147483647 w 877"/>
              <a:gd name="T79" fmla="*/ 2147483647 h 826"/>
              <a:gd name="T80" fmla="*/ 2147483647 w 877"/>
              <a:gd name="T81" fmla="*/ 2147483647 h 826"/>
              <a:gd name="T82" fmla="*/ 2147483647 w 877"/>
              <a:gd name="T83" fmla="*/ 2147483647 h 826"/>
              <a:gd name="T84" fmla="*/ 2147483647 w 877"/>
              <a:gd name="T85" fmla="*/ 2147483647 h 826"/>
              <a:gd name="T86" fmla="*/ 2147483647 w 877"/>
              <a:gd name="T87" fmla="*/ 2147483647 h 826"/>
              <a:gd name="T88" fmla="*/ 2147483647 w 877"/>
              <a:gd name="T89" fmla="*/ 2147483647 h 826"/>
              <a:gd name="T90" fmla="*/ 2147483647 w 877"/>
              <a:gd name="T91" fmla="*/ 2147483647 h 826"/>
              <a:gd name="T92" fmla="*/ 2147483647 w 877"/>
              <a:gd name="T93" fmla="*/ 2147483647 h 826"/>
              <a:gd name="T94" fmla="*/ 2147483647 w 877"/>
              <a:gd name="T95" fmla="*/ 2147483647 h 826"/>
              <a:gd name="T96" fmla="*/ 2147483647 w 877"/>
              <a:gd name="T97" fmla="*/ 2147483647 h 826"/>
              <a:gd name="T98" fmla="*/ 2147483647 w 877"/>
              <a:gd name="T99" fmla="*/ 2147483647 h 826"/>
              <a:gd name="T100" fmla="*/ 2147483647 w 877"/>
              <a:gd name="T101" fmla="*/ 2147483647 h 826"/>
              <a:gd name="T102" fmla="*/ 2147483647 w 877"/>
              <a:gd name="T103" fmla="*/ 2147483647 h 826"/>
              <a:gd name="T104" fmla="*/ 2147483647 w 877"/>
              <a:gd name="T105" fmla="*/ 2147483647 h 826"/>
              <a:gd name="T106" fmla="*/ 2147483647 w 877"/>
              <a:gd name="T107" fmla="*/ 2147483647 h 826"/>
              <a:gd name="T108" fmla="*/ 2147483647 w 877"/>
              <a:gd name="T109" fmla="*/ 2147483647 h 826"/>
              <a:gd name="T110" fmla="*/ 2147483647 w 877"/>
              <a:gd name="T111" fmla="*/ 2147483647 h 826"/>
              <a:gd name="T112" fmla="*/ 2147483647 w 877"/>
              <a:gd name="T113" fmla="*/ 2147483647 h 826"/>
              <a:gd name="T114" fmla="*/ 2147483647 w 877"/>
              <a:gd name="T115" fmla="*/ 2147483647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cmpd="sng">
            <a:solidFill>
              <a:srgbClr val="FFFFFF"/>
            </a:solidFill>
            <a:prstDash val="solid"/>
            <a:round/>
            <a:headEnd/>
            <a:tailEnd/>
          </a:ln>
        </p:spPr>
        <p:txBody>
          <a:bodyPr/>
          <a:lstStyle/>
          <a:p>
            <a:endParaRPr lang="en-AU"/>
          </a:p>
        </p:txBody>
      </p:sp>
      <p:sp>
        <p:nvSpPr>
          <p:cNvPr id="2215" name="Freeform 239"/>
          <p:cNvSpPr>
            <a:spLocks/>
          </p:cNvSpPr>
          <p:nvPr>
            <p:custDataLst>
              <p:tags r:id="rId166"/>
            </p:custDataLst>
          </p:nvPr>
        </p:nvSpPr>
        <p:spPr bwMode="auto">
          <a:xfrm>
            <a:off x="4197350" y="2479675"/>
            <a:ext cx="93663" cy="236538"/>
          </a:xfrm>
          <a:custGeom>
            <a:avLst/>
            <a:gdLst>
              <a:gd name="T0" fmla="*/ 2147483647 w 206"/>
              <a:gd name="T1" fmla="*/ 2147483647 h 455"/>
              <a:gd name="T2" fmla="*/ 2147483647 w 206"/>
              <a:gd name="T3" fmla="*/ 2147483647 h 455"/>
              <a:gd name="T4" fmla="*/ 2147483647 w 206"/>
              <a:gd name="T5" fmla="*/ 2147483647 h 455"/>
              <a:gd name="T6" fmla="*/ 2147483647 w 206"/>
              <a:gd name="T7" fmla="*/ 2147483647 h 455"/>
              <a:gd name="T8" fmla="*/ 2147483647 w 206"/>
              <a:gd name="T9" fmla="*/ 2147483647 h 455"/>
              <a:gd name="T10" fmla="*/ 2147483647 w 206"/>
              <a:gd name="T11" fmla="*/ 2147483647 h 455"/>
              <a:gd name="T12" fmla="*/ 2147483647 w 206"/>
              <a:gd name="T13" fmla="*/ 2147483647 h 455"/>
              <a:gd name="T14" fmla="*/ 2147483647 w 206"/>
              <a:gd name="T15" fmla="*/ 2147483647 h 455"/>
              <a:gd name="T16" fmla="*/ 2147483647 w 206"/>
              <a:gd name="T17" fmla="*/ 2147483647 h 455"/>
              <a:gd name="T18" fmla="*/ 2147483647 w 206"/>
              <a:gd name="T19" fmla="*/ 2147483647 h 455"/>
              <a:gd name="T20" fmla="*/ 2147483647 w 206"/>
              <a:gd name="T21" fmla="*/ 2147483647 h 455"/>
              <a:gd name="T22" fmla="*/ 2147483647 w 206"/>
              <a:gd name="T23" fmla="*/ 2147483647 h 455"/>
              <a:gd name="T24" fmla="*/ 2147483647 w 206"/>
              <a:gd name="T25" fmla="*/ 2147483647 h 455"/>
              <a:gd name="T26" fmla="*/ 2147483647 w 206"/>
              <a:gd name="T27" fmla="*/ 2147483647 h 455"/>
              <a:gd name="T28" fmla="*/ 2147483647 w 206"/>
              <a:gd name="T29" fmla="*/ 2147483647 h 455"/>
              <a:gd name="T30" fmla="*/ 2147483647 w 206"/>
              <a:gd name="T31" fmla="*/ 2147483647 h 455"/>
              <a:gd name="T32" fmla="*/ 2147483647 w 206"/>
              <a:gd name="T33" fmla="*/ 2147483647 h 455"/>
              <a:gd name="T34" fmla="*/ 2147483647 w 206"/>
              <a:gd name="T35" fmla="*/ 2147483647 h 455"/>
              <a:gd name="T36" fmla="*/ 2147483647 w 206"/>
              <a:gd name="T37" fmla="*/ 2147483647 h 455"/>
              <a:gd name="T38" fmla="*/ 2147483647 w 206"/>
              <a:gd name="T39" fmla="*/ 2147483647 h 455"/>
              <a:gd name="T40" fmla="*/ 2147483647 w 206"/>
              <a:gd name="T41" fmla="*/ 2147483647 h 455"/>
              <a:gd name="T42" fmla="*/ 2147483647 w 206"/>
              <a:gd name="T43" fmla="*/ 2147483647 h 455"/>
              <a:gd name="T44" fmla="*/ 2147483647 w 206"/>
              <a:gd name="T45" fmla="*/ 2147483647 h 455"/>
              <a:gd name="T46" fmla="*/ 2147483647 w 206"/>
              <a:gd name="T47" fmla="*/ 2147483647 h 455"/>
              <a:gd name="T48" fmla="*/ 2147483647 w 206"/>
              <a:gd name="T49" fmla="*/ 2147483647 h 455"/>
              <a:gd name="T50" fmla="*/ 2147483647 w 206"/>
              <a:gd name="T51" fmla="*/ 2147483647 h 455"/>
              <a:gd name="T52" fmla="*/ 2147483647 w 206"/>
              <a:gd name="T53" fmla="*/ 2147483647 h 455"/>
              <a:gd name="T54" fmla="*/ 2147483647 w 206"/>
              <a:gd name="T55" fmla="*/ 2147483647 h 455"/>
              <a:gd name="T56" fmla="*/ 2147483647 w 206"/>
              <a:gd name="T57" fmla="*/ 2147483647 h 455"/>
              <a:gd name="T58" fmla="*/ 2147483647 w 206"/>
              <a:gd name="T59" fmla="*/ 2147483647 h 455"/>
              <a:gd name="T60" fmla="*/ 2147483647 w 206"/>
              <a:gd name="T61" fmla="*/ 2147483647 h 455"/>
              <a:gd name="T62" fmla="*/ 2147483647 w 206"/>
              <a:gd name="T63" fmla="*/ 2147483647 h 455"/>
              <a:gd name="T64" fmla="*/ 2147483647 w 206"/>
              <a:gd name="T65" fmla="*/ 2147483647 h 455"/>
              <a:gd name="T66" fmla="*/ 2147483647 w 206"/>
              <a:gd name="T67" fmla="*/ 2147483647 h 455"/>
              <a:gd name="T68" fmla="*/ 2147483647 w 206"/>
              <a:gd name="T69" fmla="*/ 2147483647 h 455"/>
              <a:gd name="T70" fmla="*/ 2147483647 w 206"/>
              <a:gd name="T71" fmla="*/ 2147483647 h 455"/>
              <a:gd name="T72" fmla="*/ 2147483647 w 206"/>
              <a:gd name="T73" fmla="*/ 2147483647 h 455"/>
              <a:gd name="T74" fmla="*/ 2147483647 w 206"/>
              <a:gd name="T75" fmla="*/ 0 h 455"/>
              <a:gd name="T76" fmla="*/ 2147483647 w 206"/>
              <a:gd name="T77" fmla="*/ 2147483647 h 455"/>
              <a:gd name="T78" fmla="*/ 2147483647 w 206"/>
              <a:gd name="T79" fmla="*/ 2147483647 h 455"/>
              <a:gd name="T80" fmla="*/ 2147483647 w 206"/>
              <a:gd name="T81" fmla="*/ 2147483647 h 455"/>
              <a:gd name="T82" fmla="*/ 2147483647 w 206"/>
              <a:gd name="T83" fmla="*/ 2147483647 h 455"/>
              <a:gd name="T84" fmla="*/ 2147483647 w 206"/>
              <a:gd name="T85" fmla="*/ 2147483647 h 455"/>
              <a:gd name="T86" fmla="*/ 2147483647 w 206"/>
              <a:gd name="T87" fmla="*/ 2147483647 h 455"/>
              <a:gd name="T88" fmla="*/ 2147483647 w 206"/>
              <a:gd name="T89" fmla="*/ 2147483647 h 455"/>
              <a:gd name="T90" fmla="*/ 2147483647 w 206"/>
              <a:gd name="T91" fmla="*/ 2147483647 h 455"/>
              <a:gd name="T92" fmla="*/ 0 w 206"/>
              <a:gd name="T93" fmla="*/ 2147483647 h 455"/>
              <a:gd name="T94" fmla="*/ 2147483647 w 206"/>
              <a:gd name="T95" fmla="*/ 2147483647 h 455"/>
              <a:gd name="T96" fmla="*/ 2147483647 w 206"/>
              <a:gd name="T97" fmla="*/ 2147483647 h 455"/>
              <a:gd name="T98" fmla="*/ 2147483647 w 206"/>
              <a:gd name="T99" fmla="*/ 2147483647 h 455"/>
              <a:gd name="T100" fmla="*/ 2147483647 w 206"/>
              <a:gd name="T101" fmla="*/ 2147483647 h 455"/>
              <a:gd name="T102" fmla="*/ 2147483647 w 206"/>
              <a:gd name="T103" fmla="*/ 2147483647 h 455"/>
              <a:gd name="T104" fmla="*/ 2147483647 w 206"/>
              <a:gd name="T105" fmla="*/ 2147483647 h 455"/>
              <a:gd name="T106" fmla="*/ 2147483647 w 206"/>
              <a:gd name="T107" fmla="*/ 2147483647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C0C0C0"/>
          </a:solidFill>
          <a:ln w="9525" cmpd="sng">
            <a:solidFill>
              <a:srgbClr val="FFFFFF"/>
            </a:solidFill>
            <a:prstDash val="solid"/>
            <a:round/>
            <a:headEnd/>
            <a:tailEnd/>
          </a:ln>
        </p:spPr>
        <p:txBody>
          <a:bodyPr/>
          <a:lstStyle/>
          <a:p>
            <a:endParaRPr lang="en-AU"/>
          </a:p>
        </p:txBody>
      </p:sp>
      <p:sp>
        <p:nvSpPr>
          <p:cNvPr id="2216" name="Freeform 240"/>
          <p:cNvSpPr>
            <a:spLocks/>
          </p:cNvSpPr>
          <p:nvPr>
            <p:custDataLst>
              <p:tags r:id="rId167"/>
            </p:custDataLst>
          </p:nvPr>
        </p:nvSpPr>
        <p:spPr bwMode="auto">
          <a:xfrm>
            <a:off x="3579813" y="2790825"/>
            <a:ext cx="231775" cy="215900"/>
          </a:xfrm>
          <a:custGeom>
            <a:avLst/>
            <a:gdLst>
              <a:gd name="T0" fmla="*/ 2147483647 w 518"/>
              <a:gd name="T1" fmla="*/ 2147483647 h 406"/>
              <a:gd name="T2" fmla="*/ 2147483647 w 518"/>
              <a:gd name="T3" fmla="*/ 2147483647 h 406"/>
              <a:gd name="T4" fmla="*/ 2147483647 w 518"/>
              <a:gd name="T5" fmla="*/ 2147483647 h 406"/>
              <a:gd name="T6" fmla="*/ 2147483647 w 518"/>
              <a:gd name="T7" fmla="*/ 2147483647 h 406"/>
              <a:gd name="T8" fmla="*/ 2147483647 w 518"/>
              <a:gd name="T9" fmla="*/ 2147483647 h 406"/>
              <a:gd name="T10" fmla="*/ 2147483647 w 518"/>
              <a:gd name="T11" fmla="*/ 2147483647 h 406"/>
              <a:gd name="T12" fmla="*/ 2147483647 w 518"/>
              <a:gd name="T13" fmla="*/ 2147483647 h 406"/>
              <a:gd name="T14" fmla="*/ 2147483647 w 518"/>
              <a:gd name="T15" fmla="*/ 2147483647 h 406"/>
              <a:gd name="T16" fmla="*/ 2147483647 w 518"/>
              <a:gd name="T17" fmla="*/ 2147483647 h 406"/>
              <a:gd name="T18" fmla="*/ 2147483647 w 518"/>
              <a:gd name="T19" fmla="*/ 2147483647 h 406"/>
              <a:gd name="T20" fmla="*/ 2147483647 w 518"/>
              <a:gd name="T21" fmla="*/ 2147483647 h 406"/>
              <a:gd name="T22" fmla="*/ 2147483647 w 518"/>
              <a:gd name="T23" fmla="*/ 2147483647 h 406"/>
              <a:gd name="T24" fmla="*/ 2147483647 w 518"/>
              <a:gd name="T25" fmla="*/ 2147483647 h 406"/>
              <a:gd name="T26" fmla="*/ 2147483647 w 518"/>
              <a:gd name="T27" fmla="*/ 2147483647 h 406"/>
              <a:gd name="T28" fmla="*/ 2147483647 w 518"/>
              <a:gd name="T29" fmla="*/ 2147483647 h 406"/>
              <a:gd name="T30" fmla="*/ 2147483647 w 518"/>
              <a:gd name="T31" fmla="*/ 2147483647 h 406"/>
              <a:gd name="T32" fmla="*/ 2147483647 w 518"/>
              <a:gd name="T33" fmla="*/ 2147483647 h 406"/>
              <a:gd name="T34" fmla="*/ 2147483647 w 518"/>
              <a:gd name="T35" fmla="*/ 2147483647 h 406"/>
              <a:gd name="T36" fmla="*/ 2147483647 w 518"/>
              <a:gd name="T37" fmla="*/ 2147483647 h 406"/>
              <a:gd name="T38" fmla="*/ 2147483647 w 518"/>
              <a:gd name="T39" fmla="*/ 2147483647 h 406"/>
              <a:gd name="T40" fmla="*/ 2147483647 w 518"/>
              <a:gd name="T41" fmla="*/ 2147483647 h 406"/>
              <a:gd name="T42" fmla="*/ 2147483647 w 518"/>
              <a:gd name="T43" fmla="*/ 2147483647 h 406"/>
              <a:gd name="T44" fmla="*/ 2147483647 w 518"/>
              <a:gd name="T45" fmla="*/ 2147483647 h 406"/>
              <a:gd name="T46" fmla="*/ 2147483647 w 518"/>
              <a:gd name="T47" fmla="*/ 2147483647 h 406"/>
              <a:gd name="T48" fmla="*/ 2147483647 w 518"/>
              <a:gd name="T49" fmla="*/ 2147483647 h 406"/>
              <a:gd name="T50" fmla="*/ 2147483647 w 518"/>
              <a:gd name="T51" fmla="*/ 2147483647 h 406"/>
              <a:gd name="T52" fmla="*/ 2147483647 w 518"/>
              <a:gd name="T53" fmla="*/ 2147483647 h 406"/>
              <a:gd name="T54" fmla="*/ 2147483647 w 518"/>
              <a:gd name="T55" fmla="*/ 2147483647 h 406"/>
              <a:gd name="T56" fmla="*/ 2147483647 w 518"/>
              <a:gd name="T57" fmla="*/ 2147483647 h 406"/>
              <a:gd name="T58" fmla="*/ 2147483647 w 518"/>
              <a:gd name="T59" fmla="*/ 2147483647 h 406"/>
              <a:gd name="T60" fmla="*/ 2147483647 w 518"/>
              <a:gd name="T61" fmla="*/ 2147483647 h 406"/>
              <a:gd name="T62" fmla="*/ 2147483647 w 518"/>
              <a:gd name="T63" fmla="*/ 2147483647 h 406"/>
              <a:gd name="T64" fmla="*/ 2147483647 w 518"/>
              <a:gd name="T65" fmla="*/ 2147483647 h 406"/>
              <a:gd name="T66" fmla="*/ 2147483647 w 518"/>
              <a:gd name="T67" fmla="*/ 2147483647 h 406"/>
              <a:gd name="T68" fmla="*/ 2147483647 w 518"/>
              <a:gd name="T69" fmla="*/ 2147483647 h 406"/>
              <a:gd name="T70" fmla="*/ 2147483647 w 518"/>
              <a:gd name="T71" fmla="*/ 2147483647 h 406"/>
              <a:gd name="T72" fmla="*/ 2147483647 w 518"/>
              <a:gd name="T73" fmla="*/ 2147483647 h 406"/>
              <a:gd name="T74" fmla="*/ 2147483647 w 518"/>
              <a:gd name="T75" fmla="*/ 2147483647 h 406"/>
              <a:gd name="T76" fmla="*/ 2147483647 w 518"/>
              <a:gd name="T77" fmla="*/ 0 h 406"/>
              <a:gd name="T78" fmla="*/ 2147483647 w 518"/>
              <a:gd name="T79" fmla="*/ 2147483647 h 406"/>
              <a:gd name="T80" fmla="*/ 2147483647 w 518"/>
              <a:gd name="T81" fmla="*/ 2147483647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mpd="sng">
            <a:solidFill>
              <a:srgbClr val="FFFFFF"/>
            </a:solidFill>
            <a:prstDash val="solid"/>
            <a:round/>
            <a:headEnd/>
            <a:tailEnd/>
          </a:ln>
        </p:spPr>
        <p:txBody>
          <a:bodyPr/>
          <a:lstStyle/>
          <a:p>
            <a:endParaRPr lang="en-AU"/>
          </a:p>
        </p:txBody>
      </p:sp>
      <p:sp>
        <p:nvSpPr>
          <p:cNvPr id="2217" name="Freeform 241"/>
          <p:cNvSpPr>
            <a:spLocks/>
          </p:cNvSpPr>
          <p:nvPr>
            <p:custDataLst>
              <p:tags r:id="rId168"/>
            </p:custDataLst>
          </p:nvPr>
        </p:nvSpPr>
        <p:spPr bwMode="auto">
          <a:xfrm>
            <a:off x="3548063" y="1598613"/>
            <a:ext cx="190500" cy="93662"/>
          </a:xfrm>
          <a:custGeom>
            <a:avLst/>
            <a:gdLst>
              <a:gd name="T0" fmla="*/ 2147483647 w 446"/>
              <a:gd name="T1" fmla="*/ 2147483647 h 178"/>
              <a:gd name="T2" fmla="*/ 2147483647 w 446"/>
              <a:gd name="T3" fmla="*/ 2147483647 h 178"/>
              <a:gd name="T4" fmla="*/ 2147483647 w 446"/>
              <a:gd name="T5" fmla="*/ 2147483647 h 178"/>
              <a:gd name="T6" fmla="*/ 2147483647 w 446"/>
              <a:gd name="T7" fmla="*/ 2147483647 h 178"/>
              <a:gd name="T8" fmla="*/ 2147483647 w 446"/>
              <a:gd name="T9" fmla="*/ 2147483647 h 178"/>
              <a:gd name="T10" fmla="*/ 2147483647 w 446"/>
              <a:gd name="T11" fmla="*/ 0 h 178"/>
              <a:gd name="T12" fmla="*/ 2147483647 w 446"/>
              <a:gd name="T13" fmla="*/ 2147483647 h 178"/>
              <a:gd name="T14" fmla="*/ 2147483647 w 446"/>
              <a:gd name="T15" fmla="*/ 2147483647 h 178"/>
              <a:gd name="T16" fmla="*/ 2147483647 w 446"/>
              <a:gd name="T17" fmla="*/ 2147483647 h 178"/>
              <a:gd name="T18" fmla="*/ 2147483647 w 446"/>
              <a:gd name="T19" fmla="*/ 2147483647 h 178"/>
              <a:gd name="T20" fmla="*/ 2147483647 w 446"/>
              <a:gd name="T21" fmla="*/ 2147483647 h 178"/>
              <a:gd name="T22" fmla="*/ 2147483647 w 446"/>
              <a:gd name="T23" fmla="*/ 2147483647 h 178"/>
              <a:gd name="T24" fmla="*/ 2147483647 w 446"/>
              <a:gd name="T25" fmla="*/ 2147483647 h 178"/>
              <a:gd name="T26" fmla="*/ 2147483647 w 446"/>
              <a:gd name="T27" fmla="*/ 2147483647 h 178"/>
              <a:gd name="T28" fmla="*/ 2147483647 w 446"/>
              <a:gd name="T29" fmla="*/ 2147483647 h 178"/>
              <a:gd name="T30" fmla="*/ 2147483647 w 446"/>
              <a:gd name="T31" fmla="*/ 2147483647 h 178"/>
              <a:gd name="T32" fmla="*/ 2147483647 w 446"/>
              <a:gd name="T33" fmla="*/ 2147483647 h 178"/>
              <a:gd name="T34" fmla="*/ 2147483647 w 446"/>
              <a:gd name="T35" fmla="*/ 2147483647 h 178"/>
              <a:gd name="T36" fmla="*/ 2147483647 w 446"/>
              <a:gd name="T37" fmla="*/ 2147483647 h 178"/>
              <a:gd name="T38" fmla="*/ 2147483647 w 446"/>
              <a:gd name="T39" fmla="*/ 2147483647 h 178"/>
              <a:gd name="T40" fmla="*/ 2147483647 w 446"/>
              <a:gd name="T41" fmla="*/ 2147483647 h 178"/>
              <a:gd name="T42" fmla="*/ 2147483647 w 446"/>
              <a:gd name="T43" fmla="*/ 2147483647 h 178"/>
              <a:gd name="T44" fmla="*/ 2147483647 w 446"/>
              <a:gd name="T45" fmla="*/ 2147483647 h 178"/>
              <a:gd name="T46" fmla="*/ 2147483647 w 446"/>
              <a:gd name="T47" fmla="*/ 2147483647 h 178"/>
              <a:gd name="T48" fmla="*/ 2147483647 w 446"/>
              <a:gd name="T49" fmla="*/ 2147483647 h 178"/>
              <a:gd name="T50" fmla="*/ 2147483647 w 446"/>
              <a:gd name="T51" fmla="*/ 2147483647 h 178"/>
              <a:gd name="T52" fmla="*/ 2147483647 w 446"/>
              <a:gd name="T53" fmla="*/ 2147483647 h 178"/>
              <a:gd name="T54" fmla="*/ 2147483647 w 446"/>
              <a:gd name="T55" fmla="*/ 2147483647 h 178"/>
              <a:gd name="T56" fmla="*/ 2147483647 w 446"/>
              <a:gd name="T57" fmla="*/ 2147483647 h 178"/>
              <a:gd name="T58" fmla="*/ 2147483647 w 446"/>
              <a:gd name="T59" fmla="*/ 2147483647 h 178"/>
              <a:gd name="T60" fmla="*/ 2147483647 w 446"/>
              <a:gd name="T61" fmla="*/ 2147483647 h 178"/>
              <a:gd name="T62" fmla="*/ 2147483647 w 446"/>
              <a:gd name="T63" fmla="*/ 2147483647 h 178"/>
              <a:gd name="T64" fmla="*/ 2147483647 w 446"/>
              <a:gd name="T65" fmla="*/ 2147483647 h 178"/>
              <a:gd name="T66" fmla="*/ 2147483647 w 446"/>
              <a:gd name="T67" fmla="*/ 2147483647 h 178"/>
              <a:gd name="T68" fmla="*/ 2147483647 w 446"/>
              <a:gd name="T69" fmla="*/ 2147483647 h 178"/>
              <a:gd name="T70" fmla="*/ 2147483647 w 446"/>
              <a:gd name="T71" fmla="*/ 2147483647 h 178"/>
              <a:gd name="T72" fmla="*/ 2147483647 w 446"/>
              <a:gd name="T73" fmla="*/ 2147483647 h 178"/>
              <a:gd name="T74" fmla="*/ 2147483647 w 446"/>
              <a:gd name="T75" fmla="*/ 2147483647 h 178"/>
              <a:gd name="T76" fmla="*/ 2147483647 w 446"/>
              <a:gd name="T77" fmla="*/ 2147483647 h 178"/>
              <a:gd name="T78" fmla="*/ 2147483647 w 446"/>
              <a:gd name="T79" fmla="*/ 2147483647 h 178"/>
              <a:gd name="T80" fmla="*/ 0 w 446"/>
              <a:gd name="T81" fmla="*/ 2147483647 h 178"/>
              <a:gd name="T82" fmla="*/ 2147483647 w 446"/>
              <a:gd name="T83" fmla="*/ 2147483647 h 178"/>
              <a:gd name="T84" fmla="*/ 2147483647 w 446"/>
              <a:gd name="T85" fmla="*/ 2147483647 h 178"/>
              <a:gd name="T86" fmla="*/ 2147483647 w 446"/>
              <a:gd name="T87" fmla="*/ 2147483647 h 178"/>
              <a:gd name="T88" fmla="*/ 2147483647 w 446"/>
              <a:gd name="T89" fmla="*/ 2147483647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C0C0C0"/>
          </a:solidFill>
          <a:ln w="9525" cmpd="sng">
            <a:solidFill>
              <a:srgbClr val="FFFFFF"/>
            </a:solidFill>
            <a:prstDash val="solid"/>
            <a:round/>
            <a:headEnd/>
            <a:tailEnd/>
          </a:ln>
        </p:spPr>
        <p:txBody>
          <a:bodyPr/>
          <a:lstStyle/>
          <a:p>
            <a:endParaRPr lang="en-AU"/>
          </a:p>
        </p:txBody>
      </p:sp>
      <p:sp>
        <p:nvSpPr>
          <p:cNvPr id="2218" name="Freeform 242"/>
          <p:cNvSpPr>
            <a:spLocks/>
          </p:cNvSpPr>
          <p:nvPr>
            <p:custDataLst>
              <p:tags r:id="rId169"/>
            </p:custDataLst>
          </p:nvPr>
        </p:nvSpPr>
        <p:spPr bwMode="auto">
          <a:xfrm>
            <a:off x="4340225" y="1862138"/>
            <a:ext cx="14288" cy="57150"/>
          </a:xfrm>
          <a:custGeom>
            <a:avLst/>
            <a:gdLst>
              <a:gd name="T0" fmla="*/ 0 w 28"/>
              <a:gd name="T1" fmla="*/ 2147483647 h 73"/>
              <a:gd name="T2" fmla="*/ 2147483647 w 28"/>
              <a:gd name="T3" fmla="*/ 2147483647 h 73"/>
              <a:gd name="T4" fmla="*/ 2147483647 w 28"/>
              <a:gd name="T5" fmla="*/ 2147483647 h 73"/>
              <a:gd name="T6" fmla="*/ 2147483647 w 28"/>
              <a:gd name="T7" fmla="*/ 2147483647 h 73"/>
              <a:gd name="T8" fmla="*/ 2147483647 w 28"/>
              <a:gd name="T9" fmla="*/ 2147483647 h 73"/>
              <a:gd name="T10" fmla="*/ 2147483647 w 28"/>
              <a:gd name="T11" fmla="*/ 2147483647 h 73"/>
              <a:gd name="T12" fmla="*/ 0 w 28"/>
              <a:gd name="T13" fmla="*/ 0 h 73"/>
              <a:gd name="T14" fmla="*/ 2147483647 w 28"/>
              <a:gd name="T15" fmla="*/ 0 h 73"/>
              <a:gd name="T16" fmla="*/ 2147483647 w 28"/>
              <a:gd name="T17" fmla="*/ 2147483647 h 73"/>
              <a:gd name="T18" fmla="*/ 2147483647 w 28"/>
              <a:gd name="T19" fmla="*/ 2147483647 h 73"/>
              <a:gd name="T20" fmla="*/ 2147483647 w 28"/>
              <a:gd name="T21" fmla="*/ 2147483647 h 73"/>
              <a:gd name="T22" fmla="*/ 2147483647 w 28"/>
              <a:gd name="T23" fmla="*/ 2147483647 h 73"/>
              <a:gd name="T24" fmla="*/ 0 w 28"/>
              <a:gd name="T25" fmla="*/ 2147483647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219" name="Freeform 243"/>
          <p:cNvSpPr>
            <a:spLocks/>
          </p:cNvSpPr>
          <p:nvPr>
            <p:custDataLst>
              <p:tags r:id="rId170"/>
            </p:custDataLst>
          </p:nvPr>
        </p:nvSpPr>
        <p:spPr bwMode="auto">
          <a:xfrm>
            <a:off x="4227513" y="1525588"/>
            <a:ext cx="234950" cy="395287"/>
          </a:xfrm>
          <a:custGeom>
            <a:avLst/>
            <a:gdLst>
              <a:gd name="T0" fmla="*/ 2147483647 w 531"/>
              <a:gd name="T1" fmla="*/ 2147483647 h 757"/>
              <a:gd name="T2" fmla="*/ 2147483647 w 531"/>
              <a:gd name="T3" fmla="*/ 2147483647 h 757"/>
              <a:gd name="T4" fmla="*/ 2147483647 w 531"/>
              <a:gd name="T5" fmla="*/ 2147483647 h 757"/>
              <a:gd name="T6" fmla="*/ 2147483647 w 531"/>
              <a:gd name="T7" fmla="*/ 2147483647 h 757"/>
              <a:gd name="T8" fmla="*/ 2147483647 w 531"/>
              <a:gd name="T9" fmla="*/ 2147483647 h 757"/>
              <a:gd name="T10" fmla="*/ 2147483647 w 531"/>
              <a:gd name="T11" fmla="*/ 2147483647 h 757"/>
              <a:gd name="T12" fmla="*/ 2147483647 w 531"/>
              <a:gd name="T13" fmla="*/ 2147483647 h 757"/>
              <a:gd name="T14" fmla="*/ 2147483647 w 531"/>
              <a:gd name="T15" fmla="*/ 2147483647 h 757"/>
              <a:gd name="T16" fmla="*/ 2147483647 w 531"/>
              <a:gd name="T17" fmla="*/ 2147483647 h 757"/>
              <a:gd name="T18" fmla="*/ 2147483647 w 531"/>
              <a:gd name="T19" fmla="*/ 2147483647 h 757"/>
              <a:gd name="T20" fmla="*/ 2147483647 w 531"/>
              <a:gd name="T21" fmla="*/ 2147483647 h 757"/>
              <a:gd name="T22" fmla="*/ 2147483647 w 531"/>
              <a:gd name="T23" fmla="*/ 2147483647 h 757"/>
              <a:gd name="T24" fmla="*/ 2147483647 w 531"/>
              <a:gd name="T25" fmla="*/ 2147483647 h 757"/>
              <a:gd name="T26" fmla="*/ 2147483647 w 531"/>
              <a:gd name="T27" fmla="*/ 2147483647 h 757"/>
              <a:gd name="T28" fmla="*/ 2147483647 w 531"/>
              <a:gd name="T29" fmla="*/ 2147483647 h 757"/>
              <a:gd name="T30" fmla="*/ 2147483647 w 531"/>
              <a:gd name="T31" fmla="*/ 2147483647 h 757"/>
              <a:gd name="T32" fmla="*/ 2147483647 w 531"/>
              <a:gd name="T33" fmla="*/ 2147483647 h 757"/>
              <a:gd name="T34" fmla="*/ 2147483647 w 531"/>
              <a:gd name="T35" fmla="*/ 2147483647 h 757"/>
              <a:gd name="T36" fmla="*/ 2147483647 w 531"/>
              <a:gd name="T37" fmla="*/ 2147483647 h 757"/>
              <a:gd name="T38" fmla="*/ 2147483647 w 531"/>
              <a:gd name="T39" fmla="*/ 2147483647 h 757"/>
              <a:gd name="T40" fmla="*/ 2147483647 w 531"/>
              <a:gd name="T41" fmla="*/ 2147483647 h 757"/>
              <a:gd name="T42" fmla="*/ 2147483647 w 531"/>
              <a:gd name="T43" fmla="*/ 2147483647 h 757"/>
              <a:gd name="T44" fmla="*/ 2147483647 w 531"/>
              <a:gd name="T45" fmla="*/ 2147483647 h 757"/>
              <a:gd name="T46" fmla="*/ 2147483647 w 531"/>
              <a:gd name="T47" fmla="*/ 2147483647 h 757"/>
              <a:gd name="T48" fmla="*/ 2147483647 w 531"/>
              <a:gd name="T49" fmla="*/ 2147483647 h 757"/>
              <a:gd name="T50" fmla="*/ 2147483647 w 531"/>
              <a:gd name="T51" fmla="*/ 2147483647 h 757"/>
              <a:gd name="T52" fmla="*/ 2147483647 w 531"/>
              <a:gd name="T53" fmla="*/ 2147483647 h 757"/>
              <a:gd name="T54" fmla="*/ 2147483647 w 531"/>
              <a:gd name="T55" fmla="*/ 2147483647 h 757"/>
              <a:gd name="T56" fmla="*/ 2147483647 w 531"/>
              <a:gd name="T57" fmla="*/ 2147483647 h 757"/>
              <a:gd name="T58" fmla="*/ 2147483647 w 531"/>
              <a:gd name="T59" fmla="*/ 2147483647 h 757"/>
              <a:gd name="T60" fmla="*/ 2147483647 w 531"/>
              <a:gd name="T61" fmla="*/ 2147483647 h 757"/>
              <a:gd name="T62" fmla="*/ 2147483647 w 531"/>
              <a:gd name="T63" fmla="*/ 2147483647 h 757"/>
              <a:gd name="T64" fmla="*/ 2147483647 w 531"/>
              <a:gd name="T65" fmla="*/ 2147483647 h 757"/>
              <a:gd name="T66" fmla="*/ 2147483647 w 531"/>
              <a:gd name="T67" fmla="*/ 2147483647 h 757"/>
              <a:gd name="T68" fmla="*/ 2147483647 w 531"/>
              <a:gd name="T69" fmla="*/ 2147483647 h 757"/>
              <a:gd name="T70" fmla="*/ 2147483647 w 531"/>
              <a:gd name="T71" fmla="*/ 2147483647 h 757"/>
              <a:gd name="T72" fmla="*/ 2147483647 w 531"/>
              <a:gd name="T73" fmla="*/ 2147483647 h 757"/>
              <a:gd name="T74" fmla="*/ 2147483647 w 531"/>
              <a:gd name="T75" fmla="*/ 2147483647 h 757"/>
              <a:gd name="T76" fmla="*/ 2147483647 w 531"/>
              <a:gd name="T77" fmla="*/ 2147483647 h 757"/>
              <a:gd name="T78" fmla="*/ 2147483647 w 531"/>
              <a:gd name="T79" fmla="*/ 2147483647 h 757"/>
              <a:gd name="T80" fmla="*/ 2147483647 w 531"/>
              <a:gd name="T81" fmla="*/ 2147483647 h 757"/>
              <a:gd name="T82" fmla="*/ 2147483647 w 531"/>
              <a:gd name="T83" fmla="*/ 2147483647 h 757"/>
              <a:gd name="T84" fmla="*/ 2147483647 w 531"/>
              <a:gd name="T85" fmla="*/ 2147483647 h 757"/>
              <a:gd name="T86" fmla="*/ 2147483647 w 531"/>
              <a:gd name="T87" fmla="*/ 2147483647 h 757"/>
              <a:gd name="T88" fmla="*/ 2147483647 w 531"/>
              <a:gd name="T89" fmla="*/ 2147483647 h 757"/>
              <a:gd name="T90" fmla="*/ 2147483647 w 531"/>
              <a:gd name="T91" fmla="*/ 2147483647 h 757"/>
              <a:gd name="T92" fmla="*/ 2147483647 w 531"/>
              <a:gd name="T93" fmla="*/ 2147483647 h 757"/>
              <a:gd name="T94" fmla="*/ 2147483647 w 531"/>
              <a:gd name="T95" fmla="*/ 2147483647 h 757"/>
              <a:gd name="T96" fmla="*/ 2147483647 w 531"/>
              <a:gd name="T97" fmla="*/ 2147483647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220" name="Freeform 244"/>
          <p:cNvSpPr>
            <a:spLocks/>
          </p:cNvSpPr>
          <p:nvPr>
            <p:custDataLst>
              <p:tags r:id="rId171"/>
            </p:custDataLst>
          </p:nvPr>
        </p:nvSpPr>
        <p:spPr bwMode="auto">
          <a:xfrm>
            <a:off x="4365625" y="1839913"/>
            <a:ext cx="26988" cy="57150"/>
          </a:xfrm>
          <a:custGeom>
            <a:avLst/>
            <a:gdLst>
              <a:gd name="T0" fmla="*/ 0 w 60"/>
              <a:gd name="T1" fmla="*/ 2147483647 h 51"/>
              <a:gd name="T2" fmla="*/ 2147483647 w 60"/>
              <a:gd name="T3" fmla="*/ 2147483647 h 51"/>
              <a:gd name="T4" fmla="*/ 2147483647 w 60"/>
              <a:gd name="T5" fmla="*/ 2147483647 h 51"/>
              <a:gd name="T6" fmla="*/ 2147483647 w 60"/>
              <a:gd name="T7" fmla="*/ 2147483647 h 51"/>
              <a:gd name="T8" fmla="*/ 2147483647 w 60"/>
              <a:gd name="T9" fmla="*/ 2147483647 h 51"/>
              <a:gd name="T10" fmla="*/ 2147483647 w 60"/>
              <a:gd name="T11" fmla="*/ 2147483647 h 51"/>
              <a:gd name="T12" fmla="*/ 2147483647 w 60"/>
              <a:gd name="T13" fmla="*/ 0 h 51"/>
              <a:gd name="T14" fmla="*/ 2147483647 w 60"/>
              <a:gd name="T15" fmla="*/ 2147483647 h 51"/>
              <a:gd name="T16" fmla="*/ 2147483647 w 60"/>
              <a:gd name="T17" fmla="*/ 2147483647 h 51"/>
              <a:gd name="T18" fmla="*/ 2147483647 w 60"/>
              <a:gd name="T19" fmla="*/ 2147483647 h 51"/>
              <a:gd name="T20" fmla="*/ 2147483647 w 60"/>
              <a:gd name="T21" fmla="*/ 2147483647 h 51"/>
              <a:gd name="T22" fmla="*/ 2147483647 w 60"/>
              <a:gd name="T23" fmla="*/ 2147483647 h 51"/>
              <a:gd name="T24" fmla="*/ 2147483647 w 60"/>
              <a:gd name="T25" fmla="*/ 2147483647 h 51"/>
              <a:gd name="T26" fmla="*/ 2147483647 w 60"/>
              <a:gd name="T27" fmla="*/ 2147483647 h 51"/>
              <a:gd name="T28" fmla="*/ 2147483647 w 60"/>
              <a:gd name="T29" fmla="*/ 2147483647 h 51"/>
              <a:gd name="T30" fmla="*/ 2147483647 w 60"/>
              <a:gd name="T31" fmla="*/ 2147483647 h 51"/>
              <a:gd name="T32" fmla="*/ 2147483647 w 60"/>
              <a:gd name="T33" fmla="*/ 2147483647 h 51"/>
              <a:gd name="T34" fmla="*/ 2147483647 w 60"/>
              <a:gd name="T35" fmla="*/ 2147483647 h 51"/>
              <a:gd name="T36" fmla="*/ 2147483647 w 60"/>
              <a:gd name="T37" fmla="*/ 2147483647 h 51"/>
              <a:gd name="T38" fmla="*/ 2147483647 w 60"/>
              <a:gd name="T39" fmla="*/ 2147483647 h 51"/>
              <a:gd name="T40" fmla="*/ 2147483647 w 60"/>
              <a:gd name="T41" fmla="*/ 2147483647 h 51"/>
              <a:gd name="T42" fmla="*/ 2147483647 w 60"/>
              <a:gd name="T43" fmla="*/ 2147483647 h 51"/>
              <a:gd name="T44" fmla="*/ 0 w 60"/>
              <a:gd name="T45" fmla="*/ 2147483647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221" name="Freeform 245"/>
          <p:cNvSpPr>
            <a:spLocks/>
          </p:cNvSpPr>
          <p:nvPr>
            <p:custDataLst>
              <p:tags r:id="rId172"/>
            </p:custDataLst>
          </p:nvPr>
        </p:nvSpPr>
        <p:spPr bwMode="auto">
          <a:xfrm>
            <a:off x="3810000" y="2001838"/>
            <a:ext cx="28575" cy="57150"/>
          </a:xfrm>
          <a:custGeom>
            <a:avLst/>
            <a:gdLst>
              <a:gd name="T0" fmla="*/ 2147483647 w 66"/>
              <a:gd name="T1" fmla="*/ 2147483647 h 51"/>
              <a:gd name="T2" fmla="*/ 2147483647 w 66"/>
              <a:gd name="T3" fmla="*/ 2147483647 h 51"/>
              <a:gd name="T4" fmla="*/ 2147483647 w 66"/>
              <a:gd name="T5" fmla="*/ 2147483647 h 51"/>
              <a:gd name="T6" fmla="*/ 2147483647 w 66"/>
              <a:gd name="T7" fmla="*/ 2147483647 h 51"/>
              <a:gd name="T8" fmla="*/ 2147483647 w 66"/>
              <a:gd name="T9" fmla="*/ 2147483647 h 51"/>
              <a:gd name="T10" fmla="*/ 2147483647 w 66"/>
              <a:gd name="T11" fmla="*/ 2147483647 h 51"/>
              <a:gd name="T12" fmla="*/ 2147483647 w 66"/>
              <a:gd name="T13" fmla="*/ 2147483647 h 51"/>
              <a:gd name="T14" fmla="*/ 2147483647 w 66"/>
              <a:gd name="T15" fmla="*/ 2147483647 h 51"/>
              <a:gd name="T16" fmla="*/ 2147483647 w 66"/>
              <a:gd name="T17" fmla="*/ 2147483647 h 51"/>
              <a:gd name="T18" fmla="*/ 0 w 66"/>
              <a:gd name="T19" fmla="*/ 2147483647 h 51"/>
              <a:gd name="T20" fmla="*/ 0 w 66"/>
              <a:gd name="T21" fmla="*/ 2147483647 h 51"/>
              <a:gd name="T22" fmla="*/ 2147483647 w 66"/>
              <a:gd name="T23" fmla="*/ 2147483647 h 51"/>
              <a:gd name="T24" fmla="*/ 2147483647 w 66"/>
              <a:gd name="T25" fmla="*/ 2147483647 h 51"/>
              <a:gd name="T26" fmla="*/ 2147483647 w 66"/>
              <a:gd name="T27" fmla="*/ 2147483647 h 51"/>
              <a:gd name="T28" fmla="*/ 2147483647 w 66"/>
              <a:gd name="T29" fmla="*/ 2147483647 h 51"/>
              <a:gd name="T30" fmla="*/ 2147483647 w 66"/>
              <a:gd name="T31" fmla="*/ 2147483647 h 51"/>
              <a:gd name="T32" fmla="*/ 2147483647 w 66"/>
              <a:gd name="T33" fmla="*/ 0 h 51"/>
              <a:gd name="T34" fmla="*/ 2147483647 w 66"/>
              <a:gd name="T35" fmla="*/ 2147483647 h 51"/>
              <a:gd name="T36" fmla="*/ 2147483647 w 66"/>
              <a:gd name="T37" fmla="*/ 2147483647 h 51"/>
              <a:gd name="T38" fmla="*/ 2147483647 w 66"/>
              <a:gd name="T39" fmla="*/ 2147483647 h 51"/>
              <a:gd name="T40" fmla="*/ 2147483647 w 66"/>
              <a:gd name="T41" fmla="*/ 0 h 51"/>
              <a:gd name="T42" fmla="*/ 2147483647 w 66"/>
              <a:gd name="T43" fmla="*/ 2147483647 h 51"/>
              <a:gd name="T44" fmla="*/ 2147483647 w 66"/>
              <a:gd name="T45" fmla="*/ 2147483647 h 51"/>
              <a:gd name="T46" fmla="*/ 2147483647 w 66"/>
              <a:gd name="T47" fmla="*/ 2147483647 h 51"/>
              <a:gd name="T48" fmla="*/ 2147483647 w 66"/>
              <a:gd name="T49" fmla="*/ 2147483647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222" name="Freeform 246"/>
          <p:cNvSpPr>
            <a:spLocks/>
          </p:cNvSpPr>
          <p:nvPr>
            <p:custDataLst>
              <p:tags r:id="rId173"/>
            </p:custDataLst>
          </p:nvPr>
        </p:nvSpPr>
        <p:spPr bwMode="auto">
          <a:xfrm>
            <a:off x="4762500" y="2530475"/>
            <a:ext cx="50800" cy="57150"/>
          </a:xfrm>
          <a:custGeom>
            <a:avLst/>
            <a:gdLst>
              <a:gd name="T0" fmla="*/ 0 w 113"/>
              <a:gd name="T1" fmla="*/ 2147483647 h 74"/>
              <a:gd name="T2" fmla="*/ 2147483647 w 113"/>
              <a:gd name="T3" fmla="*/ 2147483647 h 74"/>
              <a:gd name="T4" fmla="*/ 2147483647 w 113"/>
              <a:gd name="T5" fmla="*/ 2147483647 h 74"/>
              <a:gd name="T6" fmla="*/ 2147483647 w 113"/>
              <a:gd name="T7" fmla="*/ 2147483647 h 74"/>
              <a:gd name="T8" fmla="*/ 2147483647 w 113"/>
              <a:gd name="T9" fmla="*/ 2147483647 h 74"/>
              <a:gd name="T10" fmla="*/ 2147483647 w 113"/>
              <a:gd name="T11" fmla="*/ 2147483647 h 74"/>
              <a:gd name="T12" fmla="*/ 2147483647 w 113"/>
              <a:gd name="T13" fmla="*/ 2147483647 h 74"/>
              <a:gd name="T14" fmla="*/ 2147483647 w 113"/>
              <a:gd name="T15" fmla="*/ 2147483647 h 74"/>
              <a:gd name="T16" fmla="*/ 2147483647 w 113"/>
              <a:gd name="T17" fmla="*/ 2147483647 h 74"/>
              <a:gd name="T18" fmla="*/ 2147483647 w 113"/>
              <a:gd name="T19" fmla="*/ 2147483647 h 74"/>
              <a:gd name="T20" fmla="*/ 2147483647 w 113"/>
              <a:gd name="T21" fmla="*/ 2147483647 h 74"/>
              <a:gd name="T22" fmla="*/ 2147483647 w 113"/>
              <a:gd name="T23" fmla="*/ 2147483647 h 74"/>
              <a:gd name="T24" fmla="*/ 2147483647 w 113"/>
              <a:gd name="T25" fmla="*/ 2147483647 h 74"/>
              <a:gd name="T26" fmla="*/ 2147483647 w 113"/>
              <a:gd name="T27" fmla="*/ 2147483647 h 74"/>
              <a:gd name="T28" fmla="*/ 2147483647 w 113"/>
              <a:gd name="T29" fmla="*/ 2147483647 h 74"/>
              <a:gd name="T30" fmla="*/ 2147483647 w 113"/>
              <a:gd name="T31" fmla="*/ 2147483647 h 74"/>
              <a:gd name="T32" fmla="*/ 2147483647 w 113"/>
              <a:gd name="T33" fmla="*/ 2147483647 h 74"/>
              <a:gd name="T34" fmla="*/ 2147483647 w 113"/>
              <a:gd name="T35" fmla="*/ 2147483647 h 74"/>
              <a:gd name="T36" fmla="*/ 2147483647 w 113"/>
              <a:gd name="T37" fmla="*/ 2147483647 h 74"/>
              <a:gd name="T38" fmla="*/ 2147483647 w 113"/>
              <a:gd name="T39" fmla="*/ 0 h 74"/>
              <a:gd name="T40" fmla="*/ 2147483647 w 113"/>
              <a:gd name="T41" fmla="*/ 2147483647 h 74"/>
              <a:gd name="T42" fmla="*/ 2147483647 w 113"/>
              <a:gd name="T43" fmla="*/ 2147483647 h 74"/>
              <a:gd name="T44" fmla="*/ 2147483647 w 113"/>
              <a:gd name="T45" fmla="*/ 2147483647 h 74"/>
              <a:gd name="T46" fmla="*/ 2147483647 w 113"/>
              <a:gd name="T47" fmla="*/ 2147483647 h 74"/>
              <a:gd name="T48" fmla="*/ 2147483647 w 113"/>
              <a:gd name="T49" fmla="*/ 2147483647 h 74"/>
              <a:gd name="T50" fmla="*/ 0 w 113"/>
              <a:gd name="T51" fmla="*/ 2147483647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cmpd="sng">
            <a:solidFill>
              <a:srgbClr val="FFFFFF"/>
            </a:solidFill>
            <a:prstDash val="solid"/>
            <a:round/>
            <a:headEnd/>
            <a:tailEnd/>
          </a:ln>
        </p:spPr>
        <p:txBody>
          <a:bodyPr/>
          <a:lstStyle/>
          <a:p>
            <a:endParaRPr lang="en-AU"/>
          </a:p>
        </p:txBody>
      </p:sp>
      <p:sp>
        <p:nvSpPr>
          <p:cNvPr id="2223" name="Freeform 247"/>
          <p:cNvSpPr>
            <a:spLocks/>
          </p:cNvSpPr>
          <p:nvPr>
            <p:custDataLst>
              <p:tags r:id="rId174"/>
            </p:custDataLst>
          </p:nvPr>
        </p:nvSpPr>
        <p:spPr bwMode="auto">
          <a:xfrm>
            <a:off x="4370388" y="3322638"/>
            <a:ext cx="325437" cy="244475"/>
          </a:xfrm>
          <a:custGeom>
            <a:avLst/>
            <a:gdLst>
              <a:gd name="T0" fmla="*/ 2147483647 w 746"/>
              <a:gd name="T1" fmla="*/ 2147483647 h 469"/>
              <a:gd name="T2" fmla="*/ 2147483647 w 746"/>
              <a:gd name="T3" fmla="*/ 2147483647 h 469"/>
              <a:gd name="T4" fmla="*/ 2147483647 w 746"/>
              <a:gd name="T5" fmla="*/ 2147483647 h 469"/>
              <a:gd name="T6" fmla="*/ 2147483647 w 746"/>
              <a:gd name="T7" fmla="*/ 2147483647 h 469"/>
              <a:gd name="T8" fmla="*/ 0 w 746"/>
              <a:gd name="T9" fmla="*/ 2147483647 h 469"/>
              <a:gd name="T10" fmla="*/ 2147483647 w 746"/>
              <a:gd name="T11" fmla="*/ 2147483647 h 469"/>
              <a:gd name="T12" fmla="*/ 2147483647 w 746"/>
              <a:gd name="T13" fmla="*/ 2147483647 h 469"/>
              <a:gd name="T14" fmla="*/ 2147483647 w 746"/>
              <a:gd name="T15" fmla="*/ 2147483647 h 469"/>
              <a:gd name="T16" fmla="*/ 2147483647 w 746"/>
              <a:gd name="T17" fmla="*/ 2147483647 h 469"/>
              <a:gd name="T18" fmla="*/ 2147483647 w 746"/>
              <a:gd name="T19" fmla="*/ 2147483647 h 469"/>
              <a:gd name="T20" fmla="*/ 2147483647 w 746"/>
              <a:gd name="T21" fmla="*/ 2147483647 h 469"/>
              <a:gd name="T22" fmla="*/ 2147483647 w 746"/>
              <a:gd name="T23" fmla="*/ 2147483647 h 469"/>
              <a:gd name="T24" fmla="*/ 2147483647 w 746"/>
              <a:gd name="T25" fmla="*/ 2147483647 h 469"/>
              <a:gd name="T26" fmla="*/ 2147483647 w 746"/>
              <a:gd name="T27" fmla="*/ 2147483647 h 469"/>
              <a:gd name="T28" fmla="*/ 2147483647 w 746"/>
              <a:gd name="T29" fmla="*/ 2147483647 h 469"/>
              <a:gd name="T30" fmla="*/ 2147483647 w 746"/>
              <a:gd name="T31" fmla="*/ 2147483647 h 469"/>
              <a:gd name="T32" fmla="*/ 2147483647 w 746"/>
              <a:gd name="T33" fmla="*/ 2147483647 h 469"/>
              <a:gd name="T34" fmla="*/ 2147483647 w 746"/>
              <a:gd name="T35" fmla="*/ 2147483647 h 469"/>
              <a:gd name="T36" fmla="*/ 2147483647 w 746"/>
              <a:gd name="T37" fmla="*/ 2147483647 h 469"/>
              <a:gd name="T38" fmla="*/ 2147483647 w 746"/>
              <a:gd name="T39" fmla="*/ 0 h 469"/>
              <a:gd name="T40" fmla="*/ 2147483647 w 746"/>
              <a:gd name="T41" fmla="*/ 2147483647 h 469"/>
              <a:gd name="T42" fmla="*/ 2147483647 w 746"/>
              <a:gd name="T43" fmla="*/ 2147483647 h 469"/>
              <a:gd name="T44" fmla="*/ 2147483647 w 746"/>
              <a:gd name="T45" fmla="*/ 2147483647 h 469"/>
              <a:gd name="T46" fmla="*/ 2147483647 w 746"/>
              <a:gd name="T47" fmla="*/ 2147483647 h 469"/>
              <a:gd name="T48" fmla="*/ 2147483647 w 746"/>
              <a:gd name="T49" fmla="*/ 2147483647 h 469"/>
              <a:gd name="T50" fmla="*/ 2147483647 w 746"/>
              <a:gd name="T51" fmla="*/ 2147483647 h 469"/>
              <a:gd name="T52" fmla="*/ 2147483647 w 746"/>
              <a:gd name="T53" fmla="*/ 2147483647 h 469"/>
              <a:gd name="T54" fmla="*/ 2147483647 w 746"/>
              <a:gd name="T55" fmla="*/ 2147483647 h 469"/>
              <a:gd name="T56" fmla="*/ 2147483647 w 746"/>
              <a:gd name="T57" fmla="*/ 2147483647 h 469"/>
              <a:gd name="T58" fmla="*/ 2147483647 w 746"/>
              <a:gd name="T59" fmla="*/ 2147483647 h 469"/>
              <a:gd name="T60" fmla="*/ 2147483647 w 746"/>
              <a:gd name="T61" fmla="*/ 2147483647 h 469"/>
              <a:gd name="T62" fmla="*/ 2147483647 w 746"/>
              <a:gd name="T63" fmla="*/ 2147483647 h 469"/>
              <a:gd name="T64" fmla="*/ 2147483647 w 746"/>
              <a:gd name="T65" fmla="*/ 2147483647 h 469"/>
              <a:gd name="T66" fmla="*/ 2147483647 w 746"/>
              <a:gd name="T67" fmla="*/ 2147483647 h 469"/>
              <a:gd name="T68" fmla="*/ 2147483647 w 746"/>
              <a:gd name="T69" fmla="*/ 2147483647 h 469"/>
              <a:gd name="T70" fmla="*/ 2147483647 w 746"/>
              <a:gd name="T71" fmla="*/ 2147483647 h 469"/>
              <a:gd name="T72" fmla="*/ 2147483647 w 746"/>
              <a:gd name="T73" fmla="*/ 2147483647 h 469"/>
              <a:gd name="T74" fmla="*/ 2147483647 w 746"/>
              <a:gd name="T75" fmla="*/ 2147483647 h 469"/>
              <a:gd name="T76" fmla="*/ 2147483647 w 746"/>
              <a:gd name="T77" fmla="*/ 2147483647 h 469"/>
              <a:gd name="T78" fmla="*/ 2147483647 w 746"/>
              <a:gd name="T79" fmla="*/ 2147483647 h 469"/>
              <a:gd name="T80" fmla="*/ 2147483647 w 746"/>
              <a:gd name="T81" fmla="*/ 2147483647 h 469"/>
              <a:gd name="T82" fmla="*/ 2147483647 w 746"/>
              <a:gd name="T83" fmla="*/ 2147483647 h 469"/>
              <a:gd name="T84" fmla="*/ 2147483647 w 746"/>
              <a:gd name="T85" fmla="*/ 2147483647 h 469"/>
              <a:gd name="T86" fmla="*/ 2147483647 w 746"/>
              <a:gd name="T87" fmla="*/ 2147483647 h 469"/>
              <a:gd name="T88" fmla="*/ 2147483647 w 746"/>
              <a:gd name="T89" fmla="*/ 2147483647 h 469"/>
              <a:gd name="T90" fmla="*/ 2147483647 w 746"/>
              <a:gd name="T91" fmla="*/ 2147483647 h 469"/>
              <a:gd name="T92" fmla="*/ 2147483647 w 746"/>
              <a:gd name="T93" fmla="*/ 2147483647 h 469"/>
              <a:gd name="T94" fmla="*/ 2147483647 w 746"/>
              <a:gd name="T95" fmla="*/ 2147483647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mpd="sng">
            <a:solidFill>
              <a:srgbClr val="FFFFFF"/>
            </a:solidFill>
            <a:prstDash val="solid"/>
            <a:round/>
            <a:headEnd/>
            <a:tailEnd/>
          </a:ln>
        </p:spPr>
        <p:txBody>
          <a:bodyPr/>
          <a:lstStyle/>
          <a:p>
            <a:endParaRPr lang="en-AU"/>
          </a:p>
        </p:txBody>
      </p:sp>
      <p:sp>
        <p:nvSpPr>
          <p:cNvPr id="2224" name="Freeform 248"/>
          <p:cNvSpPr>
            <a:spLocks/>
          </p:cNvSpPr>
          <p:nvPr>
            <p:custDataLst>
              <p:tags r:id="rId175"/>
            </p:custDataLst>
          </p:nvPr>
        </p:nvSpPr>
        <p:spPr bwMode="auto">
          <a:xfrm>
            <a:off x="4306888" y="3490913"/>
            <a:ext cx="500062" cy="552450"/>
          </a:xfrm>
          <a:custGeom>
            <a:avLst/>
            <a:gdLst>
              <a:gd name="T0" fmla="*/ 2147483647 w 1145"/>
              <a:gd name="T1" fmla="*/ 2147483647 h 1053"/>
              <a:gd name="T2" fmla="*/ 2147483647 w 1145"/>
              <a:gd name="T3" fmla="*/ 2147483647 h 1053"/>
              <a:gd name="T4" fmla="*/ 2147483647 w 1145"/>
              <a:gd name="T5" fmla="*/ 2147483647 h 1053"/>
              <a:gd name="T6" fmla="*/ 2147483647 w 1145"/>
              <a:gd name="T7" fmla="*/ 2147483647 h 1053"/>
              <a:gd name="T8" fmla="*/ 2147483647 w 1145"/>
              <a:gd name="T9" fmla="*/ 2147483647 h 1053"/>
              <a:gd name="T10" fmla="*/ 2147483647 w 1145"/>
              <a:gd name="T11" fmla="*/ 2147483647 h 1053"/>
              <a:gd name="T12" fmla="*/ 2147483647 w 1145"/>
              <a:gd name="T13" fmla="*/ 2147483647 h 1053"/>
              <a:gd name="T14" fmla="*/ 2147483647 w 1145"/>
              <a:gd name="T15" fmla="*/ 2147483647 h 1053"/>
              <a:gd name="T16" fmla="*/ 2147483647 w 1145"/>
              <a:gd name="T17" fmla="*/ 2147483647 h 1053"/>
              <a:gd name="T18" fmla="*/ 2147483647 w 1145"/>
              <a:gd name="T19" fmla="*/ 2147483647 h 1053"/>
              <a:gd name="T20" fmla="*/ 2147483647 w 1145"/>
              <a:gd name="T21" fmla="*/ 2147483647 h 1053"/>
              <a:gd name="T22" fmla="*/ 2147483647 w 1145"/>
              <a:gd name="T23" fmla="*/ 2147483647 h 1053"/>
              <a:gd name="T24" fmla="*/ 2147483647 w 1145"/>
              <a:gd name="T25" fmla="*/ 2147483647 h 1053"/>
              <a:gd name="T26" fmla="*/ 2147483647 w 1145"/>
              <a:gd name="T27" fmla="*/ 2147483647 h 1053"/>
              <a:gd name="T28" fmla="*/ 2147483647 w 1145"/>
              <a:gd name="T29" fmla="*/ 2147483647 h 1053"/>
              <a:gd name="T30" fmla="*/ 2147483647 w 1145"/>
              <a:gd name="T31" fmla="*/ 2147483647 h 1053"/>
              <a:gd name="T32" fmla="*/ 2147483647 w 1145"/>
              <a:gd name="T33" fmla="*/ 2147483647 h 1053"/>
              <a:gd name="T34" fmla="*/ 2147483647 w 1145"/>
              <a:gd name="T35" fmla="*/ 2147483647 h 1053"/>
              <a:gd name="T36" fmla="*/ 2147483647 w 1145"/>
              <a:gd name="T37" fmla="*/ 2147483647 h 1053"/>
              <a:gd name="T38" fmla="*/ 2147483647 w 1145"/>
              <a:gd name="T39" fmla="*/ 2147483647 h 1053"/>
              <a:gd name="T40" fmla="*/ 2147483647 w 1145"/>
              <a:gd name="T41" fmla="*/ 2147483647 h 1053"/>
              <a:gd name="T42" fmla="*/ 2147483647 w 1145"/>
              <a:gd name="T43" fmla="*/ 2147483647 h 1053"/>
              <a:gd name="T44" fmla="*/ 2147483647 w 1145"/>
              <a:gd name="T45" fmla="*/ 2147483647 h 1053"/>
              <a:gd name="T46" fmla="*/ 2147483647 w 1145"/>
              <a:gd name="T47" fmla="*/ 2147483647 h 1053"/>
              <a:gd name="T48" fmla="*/ 2147483647 w 1145"/>
              <a:gd name="T49" fmla="*/ 2147483647 h 1053"/>
              <a:gd name="T50" fmla="*/ 2147483647 w 1145"/>
              <a:gd name="T51" fmla="*/ 2147483647 h 1053"/>
              <a:gd name="T52" fmla="*/ 2147483647 w 1145"/>
              <a:gd name="T53" fmla="*/ 2147483647 h 1053"/>
              <a:gd name="T54" fmla="*/ 2147483647 w 1145"/>
              <a:gd name="T55" fmla="*/ 2147483647 h 1053"/>
              <a:gd name="T56" fmla="*/ 2147483647 w 1145"/>
              <a:gd name="T57" fmla="*/ 2147483647 h 1053"/>
              <a:gd name="T58" fmla="*/ 2147483647 w 1145"/>
              <a:gd name="T59" fmla="*/ 2147483647 h 1053"/>
              <a:gd name="T60" fmla="*/ 2147483647 w 1145"/>
              <a:gd name="T61" fmla="*/ 2147483647 h 1053"/>
              <a:gd name="T62" fmla="*/ 2147483647 w 1145"/>
              <a:gd name="T63" fmla="*/ 2147483647 h 1053"/>
              <a:gd name="T64" fmla="*/ 2147483647 w 1145"/>
              <a:gd name="T65" fmla="*/ 2147483647 h 1053"/>
              <a:gd name="T66" fmla="*/ 2147483647 w 1145"/>
              <a:gd name="T67" fmla="*/ 2147483647 h 1053"/>
              <a:gd name="T68" fmla="*/ 2147483647 w 1145"/>
              <a:gd name="T69" fmla="*/ 2147483647 h 1053"/>
              <a:gd name="T70" fmla="*/ 2147483647 w 1145"/>
              <a:gd name="T71" fmla="*/ 2147483647 h 1053"/>
              <a:gd name="T72" fmla="*/ 2147483647 w 1145"/>
              <a:gd name="T73" fmla="*/ 2147483647 h 1053"/>
              <a:gd name="T74" fmla="*/ 2147483647 w 1145"/>
              <a:gd name="T75" fmla="*/ 2147483647 h 1053"/>
              <a:gd name="T76" fmla="*/ 2147483647 w 1145"/>
              <a:gd name="T77" fmla="*/ 2147483647 h 1053"/>
              <a:gd name="T78" fmla="*/ 2147483647 w 1145"/>
              <a:gd name="T79" fmla="*/ 2147483647 h 1053"/>
              <a:gd name="T80" fmla="*/ 2147483647 w 1145"/>
              <a:gd name="T81" fmla="*/ 2147483647 h 1053"/>
              <a:gd name="T82" fmla="*/ 2147483647 w 1145"/>
              <a:gd name="T83" fmla="*/ 2147483647 h 1053"/>
              <a:gd name="T84" fmla="*/ 2147483647 w 1145"/>
              <a:gd name="T85" fmla="*/ 2147483647 h 1053"/>
              <a:gd name="T86" fmla="*/ 2147483647 w 1145"/>
              <a:gd name="T87" fmla="*/ 2147483647 h 1053"/>
              <a:gd name="T88" fmla="*/ 2147483647 w 1145"/>
              <a:gd name="T89" fmla="*/ 2147483647 h 1053"/>
              <a:gd name="T90" fmla="*/ 2147483647 w 1145"/>
              <a:gd name="T91" fmla="*/ 2147483647 h 1053"/>
              <a:gd name="T92" fmla="*/ 2147483647 w 1145"/>
              <a:gd name="T93" fmla="*/ 2147483647 h 1053"/>
              <a:gd name="T94" fmla="*/ 2147483647 w 1145"/>
              <a:gd name="T95" fmla="*/ 2147483647 h 1053"/>
              <a:gd name="T96" fmla="*/ 2147483647 w 1145"/>
              <a:gd name="T97" fmla="*/ 2147483647 h 1053"/>
              <a:gd name="T98" fmla="*/ 2147483647 w 1145"/>
              <a:gd name="T99" fmla="*/ 2147483647 h 1053"/>
              <a:gd name="T100" fmla="*/ 2147483647 w 1145"/>
              <a:gd name="T101" fmla="*/ 2147483647 h 1053"/>
              <a:gd name="T102" fmla="*/ 2147483647 w 1145"/>
              <a:gd name="T103" fmla="*/ 2147483647 h 1053"/>
              <a:gd name="T104" fmla="*/ 2147483647 w 1145"/>
              <a:gd name="T105" fmla="*/ 2147483647 h 1053"/>
              <a:gd name="T106" fmla="*/ 2147483647 w 1145"/>
              <a:gd name="T107" fmla="*/ 2147483647 h 1053"/>
              <a:gd name="T108" fmla="*/ 2147483647 w 1145"/>
              <a:gd name="T109" fmla="*/ 2147483647 h 1053"/>
              <a:gd name="T110" fmla="*/ 2147483647 w 1145"/>
              <a:gd name="T111" fmla="*/ 2147483647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C0C0C0"/>
          </a:solidFill>
          <a:ln w="9525" cmpd="sng">
            <a:solidFill>
              <a:srgbClr val="FFFFFF"/>
            </a:solidFill>
            <a:prstDash val="solid"/>
            <a:round/>
            <a:headEnd/>
            <a:tailEnd/>
          </a:ln>
        </p:spPr>
        <p:txBody>
          <a:bodyPr/>
          <a:lstStyle/>
          <a:p>
            <a:endParaRPr lang="en-AU"/>
          </a:p>
        </p:txBody>
      </p:sp>
      <p:sp>
        <p:nvSpPr>
          <p:cNvPr id="2225" name="Freeform 249"/>
          <p:cNvSpPr>
            <a:spLocks/>
          </p:cNvSpPr>
          <p:nvPr>
            <p:custDataLst>
              <p:tags r:id="rId176"/>
            </p:custDataLst>
          </p:nvPr>
        </p:nvSpPr>
        <p:spPr bwMode="auto">
          <a:xfrm>
            <a:off x="4243388" y="3590925"/>
            <a:ext cx="55562" cy="55563"/>
          </a:xfrm>
          <a:custGeom>
            <a:avLst/>
            <a:gdLst>
              <a:gd name="T0" fmla="*/ 2147483647 w 125"/>
              <a:gd name="T1" fmla="*/ 0 h 81"/>
              <a:gd name="T2" fmla="*/ 2147483647 w 125"/>
              <a:gd name="T3" fmla="*/ 2147483647 h 81"/>
              <a:gd name="T4" fmla="*/ 2147483647 w 125"/>
              <a:gd name="T5" fmla="*/ 2147483647 h 81"/>
              <a:gd name="T6" fmla="*/ 2147483647 w 125"/>
              <a:gd name="T7" fmla="*/ 2147483647 h 81"/>
              <a:gd name="T8" fmla="*/ 2147483647 w 125"/>
              <a:gd name="T9" fmla="*/ 2147483647 h 81"/>
              <a:gd name="T10" fmla="*/ 2147483647 w 125"/>
              <a:gd name="T11" fmla="*/ 2147483647 h 81"/>
              <a:gd name="T12" fmla="*/ 2147483647 w 125"/>
              <a:gd name="T13" fmla="*/ 2147483647 h 81"/>
              <a:gd name="T14" fmla="*/ 2147483647 w 125"/>
              <a:gd name="T15" fmla="*/ 2147483647 h 81"/>
              <a:gd name="T16" fmla="*/ 2147483647 w 125"/>
              <a:gd name="T17" fmla="*/ 2147483647 h 81"/>
              <a:gd name="T18" fmla="*/ 2147483647 w 125"/>
              <a:gd name="T19" fmla="*/ 2147483647 h 81"/>
              <a:gd name="T20" fmla="*/ 2147483647 w 125"/>
              <a:gd name="T21" fmla="*/ 2147483647 h 81"/>
              <a:gd name="T22" fmla="*/ 2147483647 w 125"/>
              <a:gd name="T23" fmla="*/ 2147483647 h 81"/>
              <a:gd name="T24" fmla="*/ 2147483647 w 125"/>
              <a:gd name="T25" fmla="*/ 2147483647 h 81"/>
              <a:gd name="T26" fmla="*/ 2147483647 w 125"/>
              <a:gd name="T27" fmla="*/ 2147483647 h 81"/>
              <a:gd name="T28" fmla="*/ 2147483647 w 125"/>
              <a:gd name="T29" fmla="*/ 2147483647 h 81"/>
              <a:gd name="T30" fmla="*/ 2147483647 w 125"/>
              <a:gd name="T31" fmla="*/ 2147483647 h 81"/>
              <a:gd name="T32" fmla="*/ 0 w 125"/>
              <a:gd name="T33" fmla="*/ 2147483647 h 81"/>
              <a:gd name="T34" fmla="*/ 0 w 125"/>
              <a:gd name="T35" fmla="*/ 2147483647 h 81"/>
              <a:gd name="T36" fmla="*/ 2147483647 w 125"/>
              <a:gd name="T37" fmla="*/ 2147483647 h 81"/>
              <a:gd name="T38" fmla="*/ 2147483647 w 125"/>
              <a:gd name="T39" fmla="*/ 2147483647 h 81"/>
              <a:gd name="T40" fmla="*/ 2147483647 w 125"/>
              <a:gd name="T41" fmla="*/ 2147483647 h 81"/>
              <a:gd name="T42" fmla="*/ 2147483647 w 125"/>
              <a:gd name="T43" fmla="*/ 2147483647 h 81"/>
              <a:gd name="T44" fmla="*/ 2147483647 w 125"/>
              <a:gd name="T45" fmla="*/ 2147483647 h 81"/>
              <a:gd name="T46" fmla="*/ 2147483647 w 125"/>
              <a:gd name="T47" fmla="*/ 2147483647 h 81"/>
              <a:gd name="T48" fmla="*/ 2147483647 w 125"/>
              <a:gd name="T49" fmla="*/ 0 h 81"/>
              <a:gd name="T50" fmla="*/ 2147483647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mpd="sng">
            <a:solidFill>
              <a:srgbClr val="FFFFFF"/>
            </a:solidFill>
            <a:prstDash val="solid"/>
            <a:round/>
            <a:headEnd/>
            <a:tailEnd/>
          </a:ln>
        </p:spPr>
        <p:txBody>
          <a:bodyPr/>
          <a:lstStyle/>
          <a:p>
            <a:endParaRPr lang="en-AU"/>
          </a:p>
        </p:txBody>
      </p:sp>
      <p:sp>
        <p:nvSpPr>
          <p:cNvPr id="2226" name="Freeform 250"/>
          <p:cNvSpPr>
            <a:spLocks/>
          </p:cNvSpPr>
          <p:nvPr>
            <p:custDataLst>
              <p:tags r:id="rId177"/>
            </p:custDataLst>
          </p:nvPr>
        </p:nvSpPr>
        <p:spPr bwMode="auto">
          <a:xfrm>
            <a:off x="4225925" y="3590925"/>
            <a:ext cx="152400" cy="201613"/>
          </a:xfrm>
          <a:custGeom>
            <a:avLst/>
            <a:gdLst>
              <a:gd name="T0" fmla="*/ 2147483647 w 355"/>
              <a:gd name="T1" fmla="*/ 2147483647 h 388"/>
              <a:gd name="T2" fmla="*/ 2147483647 w 355"/>
              <a:gd name="T3" fmla="*/ 2147483647 h 388"/>
              <a:gd name="T4" fmla="*/ 2147483647 w 355"/>
              <a:gd name="T5" fmla="*/ 2147483647 h 388"/>
              <a:gd name="T6" fmla="*/ 2147483647 w 355"/>
              <a:gd name="T7" fmla="*/ 2147483647 h 388"/>
              <a:gd name="T8" fmla="*/ 2147483647 w 355"/>
              <a:gd name="T9" fmla="*/ 2147483647 h 388"/>
              <a:gd name="T10" fmla="*/ 2147483647 w 355"/>
              <a:gd name="T11" fmla="*/ 2147483647 h 388"/>
              <a:gd name="T12" fmla="*/ 2147483647 w 355"/>
              <a:gd name="T13" fmla="*/ 2147483647 h 388"/>
              <a:gd name="T14" fmla="*/ 2147483647 w 355"/>
              <a:gd name="T15" fmla="*/ 2147483647 h 388"/>
              <a:gd name="T16" fmla="*/ 2147483647 w 355"/>
              <a:gd name="T17" fmla="*/ 2147483647 h 388"/>
              <a:gd name="T18" fmla="*/ 2147483647 w 355"/>
              <a:gd name="T19" fmla="*/ 2147483647 h 388"/>
              <a:gd name="T20" fmla="*/ 2147483647 w 355"/>
              <a:gd name="T21" fmla="*/ 2147483647 h 388"/>
              <a:gd name="T22" fmla="*/ 2147483647 w 355"/>
              <a:gd name="T23" fmla="*/ 2147483647 h 388"/>
              <a:gd name="T24" fmla="*/ 2147483647 w 355"/>
              <a:gd name="T25" fmla="*/ 2147483647 h 388"/>
              <a:gd name="T26" fmla="*/ 2147483647 w 355"/>
              <a:gd name="T27" fmla="*/ 2147483647 h 388"/>
              <a:gd name="T28" fmla="*/ 2147483647 w 355"/>
              <a:gd name="T29" fmla="*/ 2147483647 h 388"/>
              <a:gd name="T30" fmla="*/ 2147483647 w 355"/>
              <a:gd name="T31" fmla="*/ 2147483647 h 388"/>
              <a:gd name="T32" fmla="*/ 2147483647 w 355"/>
              <a:gd name="T33" fmla="*/ 2147483647 h 388"/>
              <a:gd name="T34" fmla="*/ 2147483647 w 355"/>
              <a:gd name="T35" fmla="*/ 2147483647 h 388"/>
              <a:gd name="T36" fmla="*/ 2147483647 w 355"/>
              <a:gd name="T37" fmla="*/ 2147483647 h 388"/>
              <a:gd name="T38" fmla="*/ 2147483647 w 355"/>
              <a:gd name="T39" fmla="*/ 2147483647 h 388"/>
              <a:gd name="T40" fmla="*/ 2147483647 w 355"/>
              <a:gd name="T41" fmla="*/ 2147483647 h 388"/>
              <a:gd name="T42" fmla="*/ 2147483647 w 355"/>
              <a:gd name="T43" fmla="*/ 2147483647 h 388"/>
              <a:gd name="T44" fmla="*/ 2147483647 w 355"/>
              <a:gd name="T45" fmla="*/ 2147483647 h 388"/>
              <a:gd name="T46" fmla="*/ 2147483647 w 355"/>
              <a:gd name="T47" fmla="*/ 2147483647 h 388"/>
              <a:gd name="T48" fmla="*/ 2147483647 w 355"/>
              <a:gd name="T49" fmla="*/ 2147483647 h 388"/>
              <a:gd name="T50" fmla="*/ 2147483647 w 355"/>
              <a:gd name="T51" fmla="*/ 2147483647 h 388"/>
              <a:gd name="T52" fmla="*/ 2147483647 w 355"/>
              <a:gd name="T53" fmla="*/ 2147483647 h 388"/>
              <a:gd name="T54" fmla="*/ 2147483647 w 355"/>
              <a:gd name="T55" fmla="*/ 2147483647 h 388"/>
              <a:gd name="T56" fmla="*/ 2147483647 w 355"/>
              <a:gd name="T57" fmla="*/ 2147483647 h 388"/>
              <a:gd name="T58" fmla="*/ 2147483647 w 355"/>
              <a:gd name="T59" fmla="*/ 2147483647 h 388"/>
              <a:gd name="T60" fmla="*/ 2147483647 w 355"/>
              <a:gd name="T61" fmla="*/ 2147483647 h 388"/>
              <a:gd name="T62" fmla="*/ 2147483647 w 355"/>
              <a:gd name="T63" fmla="*/ 2147483647 h 388"/>
              <a:gd name="T64" fmla="*/ 2147483647 w 355"/>
              <a:gd name="T65" fmla="*/ 2147483647 h 388"/>
              <a:gd name="T66" fmla="*/ 2147483647 w 355"/>
              <a:gd name="T67" fmla="*/ 2147483647 h 388"/>
              <a:gd name="T68" fmla="*/ 2147483647 w 355"/>
              <a:gd name="T69" fmla="*/ 2147483647 h 388"/>
              <a:gd name="T70" fmla="*/ 2147483647 w 355"/>
              <a:gd name="T71" fmla="*/ 2147483647 h 388"/>
              <a:gd name="T72" fmla="*/ 2147483647 w 355"/>
              <a:gd name="T73" fmla="*/ 2147483647 h 388"/>
              <a:gd name="T74" fmla="*/ 2147483647 w 355"/>
              <a:gd name="T75" fmla="*/ 2147483647 h 388"/>
              <a:gd name="T76" fmla="*/ 2147483647 w 355"/>
              <a:gd name="T77" fmla="*/ 2147483647 h 388"/>
              <a:gd name="T78" fmla="*/ 2147483647 w 355"/>
              <a:gd name="T79" fmla="*/ 2147483647 h 388"/>
              <a:gd name="T80" fmla="*/ 2147483647 w 355"/>
              <a:gd name="T81" fmla="*/ 2147483647 h 388"/>
              <a:gd name="T82" fmla="*/ 2147483647 w 355"/>
              <a:gd name="T83" fmla="*/ 2147483647 h 388"/>
              <a:gd name="T84" fmla="*/ 2147483647 w 355"/>
              <a:gd name="T85" fmla="*/ 2147483647 h 388"/>
              <a:gd name="T86" fmla="*/ 2147483647 w 355"/>
              <a:gd name="T87" fmla="*/ 2147483647 h 388"/>
              <a:gd name="T88" fmla="*/ 2147483647 w 355"/>
              <a:gd name="T89" fmla="*/ 2147483647 h 388"/>
              <a:gd name="T90" fmla="*/ 2147483647 w 355"/>
              <a:gd name="T91" fmla="*/ 2147483647 h 388"/>
              <a:gd name="T92" fmla="*/ 2147483647 w 355"/>
              <a:gd name="T93" fmla="*/ 2147483647 h 388"/>
              <a:gd name="T94" fmla="*/ 2147483647 w 355"/>
              <a:gd name="T95" fmla="*/ 2147483647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mpd="sng">
            <a:solidFill>
              <a:srgbClr val="FFFFFF"/>
            </a:solidFill>
            <a:prstDash val="solid"/>
            <a:round/>
            <a:headEnd/>
            <a:tailEnd/>
          </a:ln>
        </p:spPr>
        <p:txBody>
          <a:bodyPr/>
          <a:lstStyle/>
          <a:p>
            <a:endParaRPr lang="en-AU"/>
          </a:p>
        </p:txBody>
      </p:sp>
      <p:sp>
        <p:nvSpPr>
          <p:cNvPr id="2227" name="Freeform 251"/>
          <p:cNvSpPr>
            <a:spLocks/>
          </p:cNvSpPr>
          <p:nvPr>
            <p:custDataLst>
              <p:tags r:id="rId178"/>
            </p:custDataLst>
          </p:nvPr>
        </p:nvSpPr>
        <p:spPr bwMode="auto">
          <a:xfrm>
            <a:off x="4759325" y="3995738"/>
            <a:ext cx="260350" cy="520700"/>
          </a:xfrm>
          <a:custGeom>
            <a:avLst/>
            <a:gdLst>
              <a:gd name="T0" fmla="*/ 0 w 599"/>
              <a:gd name="T1" fmla="*/ 2147483647 h 993"/>
              <a:gd name="T2" fmla="*/ 2147483647 w 599"/>
              <a:gd name="T3" fmla="*/ 2147483647 h 993"/>
              <a:gd name="T4" fmla="*/ 2147483647 w 599"/>
              <a:gd name="T5" fmla="*/ 2147483647 h 993"/>
              <a:gd name="T6" fmla="*/ 2147483647 w 599"/>
              <a:gd name="T7" fmla="*/ 2147483647 h 993"/>
              <a:gd name="T8" fmla="*/ 2147483647 w 599"/>
              <a:gd name="T9" fmla="*/ 2147483647 h 993"/>
              <a:gd name="T10" fmla="*/ 2147483647 w 599"/>
              <a:gd name="T11" fmla="*/ 2147483647 h 993"/>
              <a:gd name="T12" fmla="*/ 2147483647 w 599"/>
              <a:gd name="T13" fmla="*/ 2147483647 h 993"/>
              <a:gd name="T14" fmla="*/ 2147483647 w 599"/>
              <a:gd name="T15" fmla="*/ 2147483647 h 993"/>
              <a:gd name="T16" fmla="*/ 2147483647 w 599"/>
              <a:gd name="T17" fmla="*/ 2147483647 h 993"/>
              <a:gd name="T18" fmla="*/ 2147483647 w 599"/>
              <a:gd name="T19" fmla="*/ 2147483647 h 993"/>
              <a:gd name="T20" fmla="*/ 2147483647 w 599"/>
              <a:gd name="T21" fmla="*/ 2147483647 h 993"/>
              <a:gd name="T22" fmla="*/ 2147483647 w 599"/>
              <a:gd name="T23" fmla="*/ 2147483647 h 993"/>
              <a:gd name="T24" fmla="*/ 2147483647 w 599"/>
              <a:gd name="T25" fmla="*/ 2147483647 h 993"/>
              <a:gd name="T26" fmla="*/ 2147483647 w 599"/>
              <a:gd name="T27" fmla="*/ 2147483647 h 993"/>
              <a:gd name="T28" fmla="*/ 2147483647 w 599"/>
              <a:gd name="T29" fmla="*/ 2147483647 h 993"/>
              <a:gd name="T30" fmla="*/ 2147483647 w 599"/>
              <a:gd name="T31" fmla="*/ 2147483647 h 993"/>
              <a:gd name="T32" fmla="*/ 2147483647 w 599"/>
              <a:gd name="T33" fmla="*/ 2147483647 h 993"/>
              <a:gd name="T34" fmla="*/ 2147483647 w 599"/>
              <a:gd name="T35" fmla="*/ 2147483647 h 993"/>
              <a:gd name="T36" fmla="*/ 2147483647 w 599"/>
              <a:gd name="T37" fmla="*/ 2147483647 h 993"/>
              <a:gd name="T38" fmla="*/ 2147483647 w 599"/>
              <a:gd name="T39" fmla="*/ 2147483647 h 993"/>
              <a:gd name="T40" fmla="*/ 2147483647 w 599"/>
              <a:gd name="T41" fmla="*/ 2147483647 h 993"/>
              <a:gd name="T42" fmla="*/ 2147483647 w 599"/>
              <a:gd name="T43" fmla="*/ 2147483647 h 993"/>
              <a:gd name="T44" fmla="*/ 2147483647 w 599"/>
              <a:gd name="T45" fmla="*/ 2147483647 h 993"/>
              <a:gd name="T46" fmla="*/ 2147483647 w 599"/>
              <a:gd name="T47" fmla="*/ 2147483647 h 993"/>
              <a:gd name="T48" fmla="*/ 2147483647 w 599"/>
              <a:gd name="T49" fmla="*/ 2147483647 h 993"/>
              <a:gd name="T50" fmla="*/ 2147483647 w 599"/>
              <a:gd name="T51" fmla="*/ 2147483647 h 993"/>
              <a:gd name="T52" fmla="*/ 2147483647 w 599"/>
              <a:gd name="T53" fmla="*/ 2147483647 h 993"/>
              <a:gd name="T54" fmla="*/ 2147483647 w 599"/>
              <a:gd name="T55" fmla="*/ 2147483647 h 993"/>
              <a:gd name="T56" fmla="*/ 2147483647 w 599"/>
              <a:gd name="T57" fmla="*/ 2147483647 h 993"/>
              <a:gd name="T58" fmla="*/ 2147483647 w 599"/>
              <a:gd name="T59" fmla="*/ 2147483647 h 993"/>
              <a:gd name="T60" fmla="*/ 2147483647 w 599"/>
              <a:gd name="T61" fmla="*/ 2147483647 h 993"/>
              <a:gd name="T62" fmla="*/ 2147483647 w 599"/>
              <a:gd name="T63" fmla="*/ 2147483647 h 993"/>
              <a:gd name="T64" fmla="*/ 2147483647 w 599"/>
              <a:gd name="T65" fmla="*/ 2147483647 h 993"/>
              <a:gd name="T66" fmla="*/ 2147483647 w 599"/>
              <a:gd name="T67" fmla="*/ 2147483647 h 993"/>
              <a:gd name="T68" fmla="*/ 2147483647 w 599"/>
              <a:gd name="T69" fmla="*/ 2147483647 h 993"/>
              <a:gd name="T70" fmla="*/ 2147483647 w 599"/>
              <a:gd name="T71" fmla="*/ 2147483647 h 993"/>
              <a:gd name="T72" fmla="*/ 2147483647 w 599"/>
              <a:gd name="T73" fmla="*/ 2147483647 h 993"/>
              <a:gd name="T74" fmla="*/ 2147483647 w 599"/>
              <a:gd name="T75" fmla="*/ 2147483647 h 993"/>
              <a:gd name="T76" fmla="*/ 2147483647 w 599"/>
              <a:gd name="T77" fmla="*/ 2147483647 h 993"/>
              <a:gd name="T78" fmla="*/ 2147483647 w 599"/>
              <a:gd name="T79" fmla="*/ 2147483647 h 993"/>
              <a:gd name="T80" fmla="*/ 2147483647 w 599"/>
              <a:gd name="T81" fmla="*/ 2147483647 h 993"/>
              <a:gd name="T82" fmla="*/ 2147483647 w 599"/>
              <a:gd name="T83" fmla="*/ 2147483647 h 993"/>
              <a:gd name="T84" fmla="*/ 2147483647 w 599"/>
              <a:gd name="T85" fmla="*/ 2147483647 h 993"/>
              <a:gd name="T86" fmla="*/ 2147483647 w 599"/>
              <a:gd name="T87" fmla="*/ 2147483647 h 993"/>
              <a:gd name="T88" fmla="*/ 2147483647 w 599"/>
              <a:gd name="T89" fmla="*/ 2147483647 h 993"/>
              <a:gd name="T90" fmla="*/ 2147483647 w 599"/>
              <a:gd name="T91" fmla="*/ 2147483647 h 993"/>
              <a:gd name="T92" fmla="*/ 2147483647 w 599"/>
              <a:gd name="T93" fmla="*/ 2147483647 h 993"/>
              <a:gd name="T94" fmla="*/ 2147483647 w 599"/>
              <a:gd name="T95" fmla="*/ 2147483647 h 993"/>
              <a:gd name="T96" fmla="*/ 2147483647 w 599"/>
              <a:gd name="T97" fmla="*/ 2147483647 h 993"/>
              <a:gd name="T98" fmla="*/ 2147483647 w 599"/>
              <a:gd name="T99" fmla="*/ 2147483647 h 993"/>
              <a:gd name="T100" fmla="*/ 2147483647 w 599"/>
              <a:gd name="T101" fmla="*/ 2147483647 h 993"/>
              <a:gd name="T102" fmla="*/ 2147483647 w 599"/>
              <a:gd name="T103" fmla="*/ 2147483647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C0C0C0"/>
          </a:solidFill>
          <a:ln w="9525" cmpd="sng">
            <a:solidFill>
              <a:srgbClr val="FFFFFF"/>
            </a:solidFill>
            <a:prstDash val="solid"/>
            <a:round/>
            <a:headEnd/>
            <a:tailEnd/>
          </a:ln>
        </p:spPr>
        <p:txBody>
          <a:bodyPr/>
          <a:lstStyle/>
          <a:p>
            <a:endParaRPr lang="en-AU"/>
          </a:p>
        </p:txBody>
      </p:sp>
      <p:sp>
        <p:nvSpPr>
          <p:cNvPr id="2228" name="Freeform 252"/>
          <p:cNvSpPr>
            <a:spLocks/>
          </p:cNvSpPr>
          <p:nvPr>
            <p:custDataLst>
              <p:tags r:id="rId179"/>
            </p:custDataLst>
          </p:nvPr>
        </p:nvSpPr>
        <p:spPr bwMode="auto">
          <a:xfrm>
            <a:off x="4494213" y="4235450"/>
            <a:ext cx="238125" cy="287338"/>
          </a:xfrm>
          <a:custGeom>
            <a:avLst/>
            <a:gdLst>
              <a:gd name="T0" fmla="*/ 2147483647 w 545"/>
              <a:gd name="T1" fmla="*/ 2147483647 h 549"/>
              <a:gd name="T2" fmla="*/ 2147483647 w 545"/>
              <a:gd name="T3" fmla="*/ 2147483647 h 549"/>
              <a:gd name="T4" fmla="*/ 2147483647 w 545"/>
              <a:gd name="T5" fmla="*/ 2147483647 h 549"/>
              <a:gd name="T6" fmla="*/ 2147483647 w 545"/>
              <a:gd name="T7" fmla="*/ 2147483647 h 549"/>
              <a:gd name="T8" fmla="*/ 2147483647 w 545"/>
              <a:gd name="T9" fmla="*/ 2147483647 h 549"/>
              <a:gd name="T10" fmla="*/ 2147483647 w 545"/>
              <a:gd name="T11" fmla="*/ 2147483647 h 549"/>
              <a:gd name="T12" fmla="*/ 2147483647 w 545"/>
              <a:gd name="T13" fmla="*/ 2147483647 h 549"/>
              <a:gd name="T14" fmla="*/ 2147483647 w 545"/>
              <a:gd name="T15" fmla="*/ 2147483647 h 549"/>
              <a:gd name="T16" fmla="*/ 2147483647 w 545"/>
              <a:gd name="T17" fmla="*/ 2147483647 h 549"/>
              <a:gd name="T18" fmla="*/ 2147483647 w 545"/>
              <a:gd name="T19" fmla="*/ 2147483647 h 549"/>
              <a:gd name="T20" fmla="*/ 2147483647 w 545"/>
              <a:gd name="T21" fmla="*/ 2147483647 h 549"/>
              <a:gd name="T22" fmla="*/ 2147483647 w 545"/>
              <a:gd name="T23" fmla="*/ 2147483647 h 549"/>
              <a:gd name="T24" fmla="*/ 2147483647 w 545"/>
              <a:gd name="T25" fmla="*/ 2147483647 h 549"/>
              <a:gd name="T26" fmla="*/ 2147483647 w 545"/>
              <a:gd name="T27" fmla="*/ 2147483647 h 549"/>
              <a:gd name="T28" fmla="*/ 2147483647 w 545"/>
              <a:gd name="T29" fmla="*/ 2147483647 h 549"/>
              <a:gd name="T30" fmla="*/ 2147483647 w 545"/>
              <a:gd name="T31" fmla="*/ 2147483647 h 549"/>
              <a:gd name="T32" fmla="*/ 2147483647 w 545"/>
              <a:gd name="T33" fmla="*/ 2147483647 h 549"/>
              <a:gd name="T34" fmla="*/ 2147483647 w 545"/>
              <a:gd name="T35" fmla="*/ 2147483647 h 549"/>
              <a:gd name="T36" fmla="*/ 2147483647 w 545"/>
              <a:gd name="T37" fmla="*/ 2147483647 h 549"/>
              <a:gd name="T38" fmla="*/ 2147483647 w 545"/>
              <a:gd name="T39" fmla="*/ 2147483647 h 549"/>
              <a:gd name="T40" fmla="*/ 2147483647 w 545"/>
              <a:gd name="T41" fmla="*/ 2147483647 h 549"/>
              <a:gd name="T42" fmla="*/ 2147483647 w 545"/>
              <a:gd name="T43" fmla="*/ 2147483647 h 549"/>
              <a:gd name="T44" fmla="*/ 2147483647 w 545"/>
              <a:gd name="T45" fmla="*/ 2147483647 h 549"/>
              <a:gd name="T46" fmla="*/ 2147483647 w 545"/>
              <a:gd name="T47" fmla="*/ 2147483647 h 549"/>
              <a:gd name="T48" fmla="*/ 2147483647 w 545"/>
              <a:gd name="T49" fmla="*/ 2147483647 h 549"/>
              <a:gd name="T50" fmla="*/ 2147483647 w 545"/>
              <a:gd name="T51" fmla="*/ 2147483647 h 549"/>
              <a:gd name="T52" fmla="*/ 2147483647 w 545"/>
              <a:gd name="T53" fmla="*/ 2147483647 h 549"/>
              <a:gd name="T54" fmla="*/ 2147483647 w 545"/>
              <a:gd name="T55" fmla="*/ 2147483647 h 549"/>
              <a:gd name="T56" fmla="*/ 2147483647 w 545"/>
              <a:gd name="T57" fmla="*/ 2147483647 h 549"/>
              <a:gd name="T58" fmla="*/ 2147483647 w 545"/>
              <a:gd name="T59" fmla="*/ 2147483647 h 549"/>
              <a:gd name="T60" fmla="*/ 2147483647 w 545"/>
              <a:gd name="T61" fmla="*/ 2147483647 h 549"/>
              <a:gd name="T62" fmla="*/ 2147483647 w 545"/>
              <a:gd name="T63" fmla="*/ 2147483647 h 549"/>
              <a:gd name="T64" fmla="*/ 2147483647 w 545"/>
              <a:gd name="T65" fmla="*/ 0 h 549"/>
              <a:gd name="T66" fmla="*/ 2147483647 w 545"/>
              <a:gd name="T67" fmla="*/ 2147483647 h 549"/>
              <a:gd name="T68" fmla="*/ 2147483647 w 545"/>
              <a:gd name="T69" fmla="*/ 2147483647 h 549"/>
              <a:gd name="T70" fmla="*/ 2147483647 w 545"/>
              <a:gd name="T71" fmla="*/ 2147483647 h 549"/>
              <a:gd name="T72" fmla="*/ 2147483647 w 545"/>
              <a:gd name="T73" fmla="*/ 2147483647 h 549"/>
              <a:gd name="T74" fmla="*/ 2147483647 w 545"/>
              <a:gd name="T75" fmla="*/ 2147483647 h 549"/>
              <a:gd name="T76" fmla="*/ 2147483647 w 545"/>
              <a:gd name="T77" fmla="*/ 2147483647 h 549"/>
              <a:gd name="T78" fmla="*/ 2147483647 w 545"/>
              <a:gd name="T79" fmla="*/ 2147483647 h 549"/>
              <a:gd name="T80" fmla="*/ 2147483647 w 545"/>
              <a:gd name="T81" fmla="*/ 2147483647 h 549"/>
              <a:gd name="T82" fmla="*/ 2147483647 w 545"/>
              <a:gd name="T83" fmla="*/ 2147483647 h 549"/>
              <a:gd name="T84" fmla="*/ 2147483647 w 545"/>
              <a:gd name="T85" fmla="*/ 2147483647 h 549"/>
              <a:gd name="T86" fmla="*/ 2147483647 w 545"/>
              <a:gd name="T87" fmla="*/ 2147483647 h 549"/>
              <a:gd name="T88" fmla="*/ 2147483647 w 545"/>
              <a:gd name="T89" fmla="*/ 2147483647 h 549"/>
              <a:gd name="T90" fmla="*/ 2147483647 w 545"/>
              <a:gd name="T91" fmla="*/ 2147483647 h 549"/>
              <a:gd name="T92" fmla="*/ 2147483647 w 545"/>
              <a:gd name="T93" fmla="*/ 2147483647 h 549"/>
              <a:gd name="T94" fmla="*/ 2147483647 w 545"/>
              <a:gd name="T95" fmla="*/ 2147483647 h 549"/>
              <a:gd name="T96" fmla="*/ 2147483647 w 545"/>
              <a:gd name="T97" fmla="*/ 2147483647 h 549"/>
              <a:gd name="T98" fmla="*/ 0 w 545"/>
              <a:gd name="T99" fmla="*/ 2147483647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C0C0C0"/>
          </a:solidFill>
          <a:ln w="9525" cmpd="sng">
            <a:solidFill>
              <a:srgbClr val="FFFFFF"/>
            </a:solidFill>
            <a:prstDash val="solid"/>
            <a:round/>
            <a:headEnd/>
            <a:tailEnd/>
          </a:ln>
        </p:spPr>
        <p:txBody>
          <a:bodyPr/>
          <a:lstStyle/>
          <a:p>
            <a:endParaRPr lang="en-AU"/>
          </a:p>
        </p:txBody>
      </p:sp>
      <p:sp>
        <p:nvSpPr>
          <p:cNvPr id="2229" name="Freeform 253"/>
          <p:cNvSpPr>
            <a:spLocks/>
          </p:cNvSpPr>
          <p:nvPr>
            <p:custDataLst>
              <p:tags r:id="rId180"/>
            </p:custDataLst>
          </p:nvPr>
        </p:nvSpPr>
        <p:spPr bwMode="auto">
          <a:xfrm>
            <a:off x="5067300" y="4037013"/>
            <a:ext cx="196850" cy="434975"/>
          </a:xfrm>
          <a:custGeom>
            <a:avLst/>
            <a:gdLst>
              <a:gd name="T0" fmla="*/ 2147483647 w 452"/>
              <a:gd name="T1" fmla="*/ 2147483647 h 832"/>
              <a:gd name="T2" fmla="*/ 2147483647 w 452"/>
              <a:gd name="T3" fmla="*/ 2147483647 h 832"/>
              <a:gd name="T4" fmla="*/ 2147483647 w 452"/>
              <a:gd name="T5" fmla="*/ 2147483647 h 832"/>
              <a:gd name="T6" fmla="*/ 2147483647 w 452"/>
              <a:gd name="T7" fmla="*/ 2147483647 h 832"/>
              <a:gd name="T8" fmla="*/ 2147483647 w 452"/>
              <a:gd name="T9" fmla="*/ 2147483647 h 832"/>
              <a:gd name="T10" fmla="*/ 2147483647 w 452"/>
              <a:gd name="T11" fmla="*/ 2147483647 h 832"/>
              <a:gd name="T12" fmla="*/ 2147483647 w 452"/>
              <a:gd name="T13" fmla="*/ 2147483647 h 832"/>
              <a:gd name="T14" fmla="*/ 2147483647 w 452"/>
              <a:gd name="T15" fmla="*/ 2147483647 h 832"/>
              <a:gd name="T16" fmla="*/ 2147483647 w 452"/>
              <a:gd name="T17" fmla="*/ 2147483647 h 832"/>
              <a:gd name="T18" fmla="*/ 2147483647 w 452"/>
              <a:gd name="T19" fmla="*/ 2147483647 h 832"/>
              <a:gd name="T20" fmla="*/ 2147483647 w 452"/>
              <a:gd name="T21" fmla="*/ 2147483647 h 832"/>
              <a:gd name="T22" fmla="*/ 2147483647 w 452"/>
              <a:gd name="T23" fmla="*/ 2147483647 h 832"/>
              <a:gd name="T24" fmla="*/ 2147483647 w 452"/>
              <a:gd name="T25" fmla="*/ 0 h 832"/>
              <a:gd name="T26" fmla="*/ 2147483647 w 452"/>
              <a:gd name="T27" fmla="*/ 2147483647 h 832"/>
              <a:gd name="T28" fmla="*/ 2147483647 w 452"/>
              <a:gd name="T29" fmla="*/ 2147483647 h 832"/>
              <a:gd name="T30" fmla="*/ 2147483647 w 452"/>
              <a:gd name="T31" fmla="*/ 2147483647 h 832"/>
              <a:gd name="T32" fmla="*/ 2147483647 w 452"/>
              <a:gd name="T33" fmla="*/ 2147483647 h 832"/>
              <a:gd name="T34" fmla="*/ 2147483647 w 452"/>
              <a:gd name="T35" fmla="*/ 2147483647 h 832"/>
              <a:gd name="T36" fmla="*/ 2147483647 w 452"/>
              <a:gd name="T37" fmla="*/ 2147483647 h 832"/>
              <a:gd name="T38" fmla="*/ 2147483647 w 452"/>
              <a:gd name="T39" fmla="*/ 2147483647 h 832"/>
              <a:gd name="T40" fmla="*/ 2147483647 w 452"/>
              <a:gd name="T41" fmla="*/ 2147483647 h 832"/>
              <a:gd name="T42" fmla="*/ 2147483647 w 452"/>
              <a:gd name="T43" fmla="*/ 2147483647 h 832"/>
              <a:gd name="T44" fmla="*/ 2147483647 w 452"/>
              <a:gd name="T45" fmla="*/ 2147483647 h 832"/>
              <a:gd name="T46" fmla="*/ 2147483647 w 452"/>
              <a:gd name="T47" fmla="*/ 2147483647 h 832"/>
              <a:gd name="T48" fmla="*/ 2147483647 w 452"/>
              <a:gd name="T49" fmla="*/ 2147483647 h 832"/>
              <a:gd name="T50" fmla="*/ 2147483647 w 452"/>
              <a:gd name="T51" fmla="*/ 2147483647 h 832"/>
              <a:gd name="T52" fmla="*/ 2147483647 w 452"/>
              <a:gd name="T53" fmla="*/ 2147483647 h 832"/>
              <a:gd name="T54" fmla="*/ 2147483647 w 452"/>
              <a:gd name="T55" fmla="*/ 2147483647 h 832"/>
              <a:gd name="T56" fmla="*/ 2147483647 w 452"/>
              <a:gd name="T57" fmla="*/ 2147483647 h 832"/>
              <a:gd name="T58" fmla="*/ 2147483647 w 452"/>
              <a:gd name="T59" fmla="*/ 2147483647 h 832"/>
              <a:gd name="T60" fmla="*/ 2147483647 w 452"/>
              <a:gd name="T61" fmla="*/ 2147483647 h 832"/>
              <a:gd name="T62" fmla="*/ 2147483647 w 452"/>
              <a:gd name="T63" fmla="*/ 2147483647 h 832"/>
              <a:gd name="T64" fmla="*/ 2147483647 w 452"/>
              <a:gd name="T65" fmla="*/ 2147483647 h 832"/>
              <a:gd name="T66" fmla="*/ 2147483647 w 452"/>
              <a:gd name="T67" fmla="*/ 2147483647 h 832"/>
              <a:gd name="T68" fmla="*/ 2147483647 w 452"/>
              <a:gd name="T69" fmla="*/ 2147483647 h 832"/>
              <a:gd name="T70" fmla="*/ 2147483647 w 452"/>
              <a:gd name="T71" fmla="*/ 2147483647 h 832"/>
              <a:gd name="T72" fmla="*/ 2147483647 w 452"/>
              <a:gd name="T73" fmla="*/ 2147483647 h 832"/>
              <a:gd name="T74" fmla="*/ 2147483647 w 452"/>
              <a:gd name="T75" fmla="*/ 2147483647 h 832"/>
              <a:gd name="T76" fmla="*/ 2147483647 w 452"/>
              <a:gd name="T77" fmla="*/ 2147483647 h 832"/>
              <a:gd name="T78" fmla="*/ 2147483647 w 452"/>
              <a:gd name="T79" fmla="*/ 2147483647 h 832"/>
              <a:gd name="T80" fmla="*/ 2147483647 w 452"/>
              <a:gd name="T81" fmla="*/ 2147483647 h 832"/>
              <a:gd name="T82" fmla="*/ 2147483647 w 452"/>
              <a:gd name="T83" fmla="*/ 2147483647 h 832"/>
              <a:gd name="T84" fmla="*/ 2147483647 w 452"/>
              <a:gd name="T85" fmla="*/ 2147483647 h 832"/>
              <a:gd name="T86" fmla="*/ 2147483647 w 452"/>
              <a:gd name="T87" fmla="*/ 2147483647 h 832"/>
              <a:gd name="T88" fmla="*/ 2147483647 w 452"/>
              <a:gd name="T89" fmla="*/ 2147483647 h 832"/>
              <a:gd name="T90" fmla="*/ 2147483647 w 452"/>
              <a:gd name="T91" fmla="*/ 2147483647 h 832"/>
              <a:gd name="T92" fmla="*/ 0 w 452"/>
              <a:gd name="T93" fmla="*/ 2147483647 h 832"/>
              <a:gd name="T94" fmla="*/ 2147483647 w 452"/>
              <a:gd name="T95" fmla="*/ 2147483647 h 832"/>
              <a:gd name="T96" fmla="*/ 2147483647 w 452"/>
              <a:gd name="T97" fmla="*/ 2147483647 h 832"/>
              <a:gd name="T98" fmla="*/ 2147483647 w 452"/>
              <a:gd name="T99" fmla="*/ 2147483647 h 832"/>
              <a:gd name="T100" fmla="*/ 0 w 452"/>
              <a:gd name="T101" fmla="*/ 2147483647 h 832"/>
              <a:gd name="T102" fmla="*/ 2147483647 w 452"/>
              <a:gd name="T103" fmla="*/ 2147483647 h 832"/>
              <a:gd name="T104" fmla="*/ 2147483647 w 452"/>
              <a:gd name="T105" fmla="*/ 2147483647 h 832"/>
              <a:gd name="T106" fmla="*/ 2147483647 w 452"/>
              <a:gd name="T107" fmla="*/ 2147483647 h 832"/>
              <a:gd name="T108" fmla="*/ 2147483647 w 452"/>
              <a:gd name="T109" fmla="*/ 2147483647 h 832"/>
              <a:gd name="T110" fmla="*/ 2147483647 w 452"/>
              <a:gd name="T111" fmla="*/ 2147483647 h 832"/>
              <a:gd name="T112" fmla="*/ 2147483647 w 452"/>
              <a:gd name="T113" fmla="*/ 2147483647 h 832"/>
              <a:gd name="T114" fmla="*/ 2147483647 w 452"/>
              <a:gd name="T115" fmla="*/ 2147483647 h 832"/>
              <a:gd name="T116" fmla="*/ 2147483647 w 452"/>
              <a:gd name="T117" fmla="*/ 2147483647 h 832"/>
              <a:gd name="T118" fmla="*/ 2147483647 w 452"/>
              <a:gd name="T119" fmla="*/ 2147483647 h 832"/>
              <a:gd name="T120" fmla="*/ 2147483647 w 452"/>
              <a:gd name="T121" fmla="*/ 2147483647 h 832"/>
              <a:gd name="T122" fmla="*/ 2147483647 w 452"/>
              <a:gd name="T123" fmla="*/ 2147483647 h 832"/>
              <a:gd name="T124" fmla="*/ 2147483647 w 452"/>
              <a:gd name="T125" fmla="*/ 2147483647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C0C0C0"/>
          </a:solidFill>
          <a:ln w="9525" cmpd="sng">
            <a:solidFill>
              <a:srgbClr val="FFFFFF"/>
            </a:solidFill>
            <a:prstDash val="solid"/>
            <a:round/>
            <a:headEnd/>
            <a:tailEnd/>
          </a:ln>
        </p:spPr>
        <p:txBody>
          <a:bodyPr/>
          <a:lstStyle/>
          <a:p>
            <a:endParaRPr lang="en-AU"/>
          </a:p>
        </p:txBody>
      </p:sp>
      <p:sp>
        <p:nvSpPr>
          <p:cNvPr id="2230" name="Freeform 254"/>
          <p:cNvSpPr>
            <a:spLocks/>
          </p:cNvSpPr>
          <p:nvPr>
            <p:custDataLst>
              <p:tags r:id="rId181"/>
            </p:custDataLst>
          </p:nvPr>
        </p:nvSpPr>
        <p:spPr bwMode="auto">
          <a:xfrm>
            <a:off x="4743450" y="3735388"/>
            <a:ext cx="36513" cy="66675"/>
          </a:xfrm>
          <a:custGeom>
            <a:avLst/>
            <a:gdLst>
              <a:gd name="T0" fmla="*/ 2147483647 w 80"/>
              <a:gd name="T1" fmla="*/ 2147483647 h 126"/>
              <a:gd name="T2" fmla="*/ 2147483647 w 80"/>
              <a:gd name="T3" fmla="*/ 2147483647 h 126"/>
              <a:gd name="T4" fmla="*/ 2147483647 w 80"/>
              <a:gd name="T5" fmla="*/ 2147483647 h 126"/>
              <a:gd name="T6" fmla="*/ 2147483647 w 80"/>
              <a:gd name="T7" fmla="*/ 2147483647 h 126"/>
              <a:gd name="T8" fmla="*/ 2147483647 w 80"/>
              <a:gd name="T9" fmla="*/ 2147483647 h 126"/>
              <a:gd name="T10" fmla="*/ 2147483647 w 80"/>
              <a:gd name="T11" fmla="*/ 2147483647 h 126"/>
              <a:gd name="T12" fmla="*/ 2147483647 w 80"/>
              <a:gd name="T13" fmla="*/ 2147483647 h 126"/>
              <a:gd name="T14" fmla="*/ 2147483647 w 80"/>
              <a:gd name="T15" fmla="*/ 2147483647 h 126"/>
              <a:gd name="T16" fmla="*/ 2147483647 w 80"/>
              <a:gd name="T17" fmla="*/ 2147483647 h 126"/>
              <a:gd name="T18" fmla="*/ 2147483647 w 80"/>
              <a:gd name="T19" fmla="*/ 2147483647 h 126"/>
              <a:gd name="T20" fmla="*/ 2147483647 w 80"/>
              <a:gd name="T21" fmla="*/ 2147483647 h 126"/>
              <a:gd name="T22" fmla="*/ 0 w 80"/>
              <a:gd name="T23" fmla="*/ 2147483647 h 126"/>
              <a:gd name="T24" fmla="*/ 2147483647 w 80"/>
              <a:gd name="T25" fmla="*/ 2147483647 h 126"/>
              <a:gd name="T26" fmla="*/ 2147483647 w 80"/>
              <a:gd name="T27" fmla="*/ 2147483647 h 126"/>
              <a:gd name="T28" fmla="*/ 2147483647 w 80"/>
              <a:gd name="T29" fmla="*/ 2147483647 h 126"/>
              <a:gd name="T30" fmla="*/ 2147483647 w 80"/>
              <a:gd name="T31" fmla="*/ 2147483647 h 126"/>
              <a:gd name="T32" fmla="*/ 2147483647 w 80"/>
              <a:gd name="T33" fmla="*/ 2147483647 h 126"/>
              <a:gd name="T34" fmla="*/ 2147483647 w 80"/>
              <a:gd name="T35" fmla="*/ 0 h 126"/>
              <a:gd name="T36" fmla="*/ 2147483647 w 80"/>
              <a:gd name="T37" fmla="*/ 0 h 126"/>
              <a:gd name="T38" fmla="*/ 2147483647 w 80"/>
              <a:gd name="T39" fmla="*/ 2147483647 h 126"/>
              <a:gd name="T40" fmla="*/ 2147483647 w 80"/>
              <a:gd name="T41" fmla="*/ 2147483647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cmpd="sng">
            <a:solidFill>
              <a:srgbClr val="FFFFFF"/>
            </a:solidFill>
            <a:prstDash val="solid"/>
            <a:round/>
            <a:headEnd/>
            <a:tailEnd/>
          </a:ln>
        </p:spPr>
        <p:txBody>
          <a:bodyPr/>
          <a:lstStyle/>
          <a:p>
            <a:endParaRPr lang="en-AU"/>
          </a:p>
        </p:txBody>
      </p:sp>
      <p:sp>
        <p:nvSpPr>
          <p:cNvPr id="2231" name="Freeform 255"/>
          <p:cNvSpPr>
            <a:spLocks/>
          </p:cNvSpPr>
          <p:nvPr>
            <p:custDataLst>
              <p:tags r:id="rId182"/>
            </p:custDataLst>
          </p:nvPr>
        </p:nvSpPr>
        <p:spPr bwMode="auto">
          <a:xfrm>
            <a:off x="4732338" y="3695700"/>
            <a:ext cx="55562" cy="60325"/>
          </a:xfrm>
          <a:custGeom>
            <a:avLst/>
            <a:gdLst>
              <a:gd name="T0" fmla="*/ 2147483647 w 124"/>
              <a:gd name="T1" fmla="*/ 0 h 117"/>
              <a:gd name="T2" fmla="*/ 2147483647 w 124"/>
              <a:gd name="T3" fmla="*/ 2147483647 h 117"/>
              <a:gd name="T4" fmla="*/ 2147483647 w 124"/>
              <a:gd name="T5" fmla="*/ 2147483647 h 117"/>
              <a:gd name="T6" fmla="*/ 2147483647 w 124"/>
              <a:gd name="T7" fmla="*/ 2147483647 h 117"/>
              <a:gd name="T8" fmla="*/ 2147483647 w 124"/>
              <a:gd name="T9" fmla="*/ 2147483647 h 117"/>
              <a:gd name="T10" fmla="*/ 2147483647 w 124"/>
              <a:gd name="T11" fmla="*/ 2147483647 h 117"/>
              <a:gd name="T12" fmla="*/ 2147483647 w 124"/>
              <a:gd name="T13" fmla="*/ 2147483647 h 117"/>
              <a:gd name="T14" fmla="*/ 2147483647 w 124"/>
              <a:gd name="T15" fmla="*/ 2147483647 h 117"/>
              <a:gd name="T16" fmla="*/ 2147483647 w 124"/>
              <a:gd name="T17" fmla="*/ 2147483647 h 117"/>
              <a:gd name="T18" fmla="*/ 2147483647 w 124"/>
              <a:gd name="T19" fmla="*/ 2147483647 h 117"/>
              <a:gd name="T20" fmla="*/ 2147483647 w 124"/>
              <a:gd name="T21" fmla="*/ 2147483647 h 117"/>
              <a:gd name="T22" fmla="*/ 2147483647 w 124"/>
              <a:gd name="T23" fmla="*/ 2147483647 h 117"/>
              <a:gd name="T24" fmla="*/ 2147483647 w 124"/>
              <a:gd name="T25" fmla="*/ 2147483647 h 117"/>
              <a:gd name="T26" fmla="*/ 2147483647 w 124"/>
              <a:gd name="T27" fmla="*/ 2147483647 h 117"/>
              <a:gd name="T28" fmla="*/ 2147483647 w 124"/>
              <a:gd name="T29" fmla="*/ 2147483647 h 117"/>
              <a:gd name="T30" fmla="*/ 2147483647 w 124"/>
              <a:gd name="T31" fmla="*/ 2147483647 h 117"/>
              <a:gd name="T32" fmla="*/ 2147483647 w 124"/>
              <a:gd name="T33" fmla="*/ 2147483647 h 117"/>
              <a:gd name="T34" fmla="*/ 2147483647 w 124"/>
              <a:gd name="T35" fmla="*/ 2147483647 h 117"/>
              <a:gd name="T36" fmla="*/ 2147483647 w 124"/>
              <a:gd name="T37" fmla="*/ 2147483647 h 117"/>
              <a:gd name="T38" fmla="*/ 2147483647 w 124"/>
              <a:gd name="T39" fmla="*/ 2147483647 h 117"/>
              <a:gd name="T40" fmla="*/ 0 w 124"/>
              <a:gd name="T41" fmla="*/ 2147483647 h 117"/>
              <a:gd name="T42" fmla="*/ 2147483647 w 124"/>
              <a:gd name="T43" fmla="*/ 2147483647 h 117"/>
              <a:gd name="T44" fmla="*/ 2147483647 w 124"/>
              <a:gd name="T45" fmla="*/ 2147483647 h 117"/>
              <a:gd name="T46" fmla="*/ 2147483647 w 124"/>
              <a:gd name="T47" fmla="*/ 2147483647 h 117"/>
              <a:gd name="T48" fmla="*/ 2147483647 w 124"/>
              <a:gd name="T49" fmla="*/ 2147483647 h 117"/>
              <a:gd name="T50" fmla="*/ 2147483647 w 124"/>
              <a:gd name="T51" fmla="*/ 2147483647 h 117"/>
              <a:gd name="T52" fmla="*/ 2147483647 w 124"/>
              <a:gd name="T53" fmla="*/ 2147483647 h 117"/>
              <a:gd name="T54" fmla="*/ 2147483647 w 124"/>
              <a:gd name="T55" fmla="*/ 2147483647 h 117"/>
              <a:gd name="T56" fmla="*/ 2147483647 w 124"/>
              <a:gd name="T57" fmla="*/ 2147483647 h 117"/>
              <a:gd name="T58" fmla="*/ 2147483647 w 124"/>
              <a:gd name="T59" fmla="*/ 2147483647 h 117"/>
              <a:gd name="T60" fmla="*/ 2147483647 w 124"/>
              <a:gd name="T61" fmla="*/ 2147483647 h 117"/>
              <a:gd name="T62" fmla="*/ 2147483647 w 124"/>
              <a:gd name="T63" fmla="*/ 2147483647 h 117"/>
              <a:gd name="T64" fmla="*/ 2147483647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cmpd="sng">
            <a:solidFill>
              <a:srgbClr val="FFFFFF"/>
            </a:solidFill>
            <a:prstDash val="solid"/>
            <a:round/>
            <a:headEnd/>
            <a:tailEnd/>
          </a:ln>
        </p:spPr>
        <p:txBody>
          <a:bodyPr/>
          <a:lstStyle/>
          <a:p>
            <a:endParaRPr lang="en-AU"/>
          </a:p>
        </p:txBody>
      </p:sp>
      <p:sp>
        <p:nvSpPr>
          <p:cNvPr id="2232" name="Freeform 256"/>
          <p:cNvSpPr>
            <a:spLocks/>
          </p:cNvSpPr>
          <p:nvPr>
            <p:custDataLst>
              <p:tags r:id="rId183"/>
            </p:custDataLst>
          </p:nvPr>
        </p:nvSpPr>
        <p:spPr bwMode="auto">
          <a:xfrm>
            <a:off x="5041900" y="2395538"/>
            <a:ext cx="503238" cy="473075"/>
          </a:xfrm>
          <a:custGeom>
            <a:avLst/>
            <a:gdLst>
              <a:gd name="T0" fmla="*/ 2147483647 w 1156"/>
              <a:gd name="T1" fmla="*/ 2147483647 h 900"/>
              <a:gd name="T2" fmla="*/ 2147483647 w 1156"/>
              <a:gd name="T3" fmla="*/ 2147483647 h 900"/>
              <a:gd name="T4" fmla="*/ 2147483647 w 1156"/>
              <a:gd name="T5" fmla="*/ 2147483647 h 900"/>
              <a:gd name="T6" fmla="*/ 2147483647 w 1156"/>
              <a:gd name="T7" fmla="*/ 2147483647 h 900"/>
              <a:gd name="T8" fmla="*/ 2147483647 w 1156"/>
              <a:gd name="T9" fmla="*/ 2147483647 h 900"/>
              <a:gd name="T10" fmla="*/ 2147483647 w 1156"/>
              <a:gd name="T11" fmla="*/ 2147483647 h 900"/>
              <a:gd name="T12" fmla="*/ 2147483647 w 1156"/>
              <a:gd name="T13" fmla="*/ 2147483647 h 900"/>
              <a:gd name="T14" fmla="*/ 2147483647 w 1156"/>
              <a:gd name="T15" fmla="*/ 2147483647 h 900"/>
              <a:gd name="T16" fmla="*/ 2147483647 w 1156"/>
              <a:gd name="T17" fmla="*/ 2147483647 h 900"/>
              <a:gd name="T18" fmla="*/ 2147483647 w 1156"/>
              <a:gd name="T19" fmla="*/ 2147483647 h 900"/>
              <a:gd name="T20" fmla="*/ 2147483647 w 1156"/>
              <a:gd name="T21" fmla="*/ 2147483647 h 900"/>
              <a:gd name="T22" fmla="*/ 2147483647 w 1156"/>
              <a:gd name="T23" fmla="*/ 2147483647 h 900"/>
              <a:gd name="T24" fmla="*/ 2147483647 w 1156"/>
              <a:gd name="T25" fmla="*/ 2147483647 h 900"/>
              <a:gd name="T26" fmla="*/ 2147483647 w 1156"/>
              <a:gd name="T27" fmla="*/ 2147483647 h 900"/>
              <a:gd name="T28" fmla="*/ 2147483647 w 1156"/>
              <a:gd name="T29" fmla="*/ 2147483647 h 900"/>
              <a:gd name="T30" fmla="*/ 2147483647 w 1156"/>
              <a:gd name="T31" fmla="*/ 2147483647 h 900"/>
              <a:gd name="T32" fmla="*/ 2147483647 w 1156"/>
              <a:gd name="T33" fmla="*/ 2147483647 h 900"/>
              <a:gd name="T34" fmla="*/ 2147483647 w 1156"/>
              <a:gd name="T35" fmla="*/ 2147483647 h 900"/>
              <a:gd name="T36" fmla="*/ 2147483647 w 1156"/>
              <a:gd name="T37" fmla="*/ 2147483647 h 900"/>
              <a:gd name="T38" fmla="*/ 2147483647 w 1156"/>
              <a:gd name="T39" fmla="*/ 2147483647 h 900"/>
              <a:gd name="T40" fmla="*/ 2147483647 w 1156"/>
              <a:gd name="T41" fmla="*/ 2147483647 h 900"/>
              <a:gd name="T42" fmla="*/ 2147483647 w 1156"/>
              <a:gd name="T43" fmla="*/ 2147483647 h 900"/>
              <a:gd name="T44" fmla="*/ 2147483647 w 1156"/>
              <a:gd name="T45" fmla="*/ 2147483647 h 900"/>
              <a:gd name="T46" fmla="*/ 2147483647 w 1156"/>
              <a:gd name="T47" fmla="*/ 2147483647 h 900"/>
              <a:gd name="T48" fmla="*/ 2147483647 w 1156"/>
              <a:gd name="T49" fmla="*/ 2147483647 h 900"/>
              <a:gd name="T50" fmla="*/ 2147483647 w 1156"/>
              <a:gd name="T51" fmla="*/ 2147483647 h 900"/>
              <a:gd name="T52" fmla="*/ 2147483647 w 1156"/>
              <a:gd name="T53" fmla="*/ 2147483647 h 900"/>
              <a:gd name="T54" fmla="*/ 2147483647 w 1156"/>
              <a:gd name="T55" fmla="*/ 2147483647 h 900"/>
              <a:gd name="T56" fmla="*/ 2147483647 w 1156"/>
              <a:gd name="T57" fmla="*/ 2147483647 h 900"/>
              <a:gd name="T58" fmla="*/ 2147483647 w 1156"/>
              <a:gd name="T59" fmla="*/ 2147483647 h 900"/>
              <a:gd name="T60" fmla="*/ 2147483647 w 1156"/>
              <a:gd name="T61" fmla="*/ 2147483647 h 900"/>
              <a:gd name="T62" fmla="*/ 2147483647 w 1156"/>
              <a:gd name="T63" fmla="*/ 2147483647 h 900"/>
              <a:gd name="T64" fmla="*/ 2147483647 w 1156"/>
              <a:gd name="T65" fmla="*/ 2147483647 h 900"/>
              <a:gd name="T66" fmla="*/ 2147483647 w 1156"/>
              <a:gd name="T67" fmla="*/ 2147483647 h 900"/>
              <a:gd name="T68" fmla="*/ 2147483647 w 1156"/>
              <a:gd name="T69" fmla="*/ 2147483647 h 900"/>
              <a:gd name="T70" fmla="*/ 2147483647 w 1156"/>
              <a:gd name="T71" fmla="*/ 2147483647 h 900"/>
              <a:gd name="T72" fmla="*/ 2147483647 w 1156"/>
              <a:gd name="T73" fmla="*/ 2147483647 h 900"/>
              <a:gd name="T74" fmla="*/ 2147483647 w 1156"/>
              <a:gd name="T75" fmla="*/ 2147483647 h 900"/>
              <a:gd name="T76" fmla="*/ 2147483647 w 1156"/>
              <a:gd name="T77" fmla="*/ 2147483647 h 900"/>
              <a:gd name="T78" fmla="*/ 2147483647 w 1156"/>
              <a:gd name="T79" fmla="*/ 2147483647 h 900"/>
              <a:gd name="T80" fmla="*/ 2147483647 w 1156"/>
              <a:gd name="T81" fmla="*/ 2147483647 h 900"/>
              <a:gd name="T82" fmla="*/ 2147483647 w 1156"/>
              <a:gd name="T83" fmla="*/ 2147483647 h 900"/>
              <a:gd name="T84" fmla="*/ 2147483647 w 1156"/>
              <a:gd name="T85" fmla="*/ 2147483647 h 900"/>
              <a:gd name="T86" fmla="*/ 2147483647 w 1156"/>
              <a:gd name="T87" fmla="*/ 2147483647 h 900"/>
              <a:gd name="T88" fmla="*/ 2147483647 w 1156"/>
              <a:gd name="T89" fmla="*/ 2147483647 h 900"/>
              <a:gd name="T90" fmla="*/ 2147483647 w 1156"/>
              <a:gd name="T91" fmla="*/ 2147483647 h 900"/>
              <a:gd name="T92" fmla="*/ 2147483647 w 1156"/>
              <a:gd name="T93" fmla="*/ 2147483647 h 900"/>
              <a:gd name="T94" fmla="*/ 2147483647 w 1156"/>
              <a:gd name="T95" fmla="*/ 2147483647 h 900"/>
              <a:gd name="T96" fmla="*/ 2147483647 w 1156"/>
              <a:gd name="T97" fmla="*/ 2147483647 h 900"/>
              <a:gd name="T98" fmla="*/ 2147483647 w 1156"/>
              <a:gd name="T99" fmla="*/ 2147483647 h 900"/>
              <a:gd name="T100" fmla="*/ 2147483647 w 1156"/>
              <a:gd name="T101" fmla="*/ 2147483647 h 900"/>
              <a:gd name="T102" fmla="*/ 2147483647 w 1156"/>
              <a:gd name="T103" fmla="*/ 2147483647 h 900"/>
              <a:gd name="T104" fmla="*/ 2147483647 w 1156"/>
              <a:gd name="T105" fmla="*/ 2147483647 h 900"/>
              <a:gd name="T106" fmla="*/ 2147483647 w 1156"/>
              <a:gd name="T107" fmla="*/ 2147483647 h 900"/>
              <a:gd name="T108" fmla="*/ 2147483647 w 1156"/>
              <a:gd name="T109" fmla="*/ 2147483647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FF0000"/>
          </a:solidFill>
          <a:ln w="9525" cmpd="sng">
            <a:solidFill>
              <a:srgbClr val="FFFFFF"/>
            </a:solidFill>
            <a:prstDash val="solid"/>
            <a:round/>
            <a:headEnd/>
            <a:tailEnd/>
          </a:ln>
        </p:spPr>
        <p:txBody>
          <a:bodyPr/>
          <a:lstStyle/>
          <a:p>
            <a:endParaRPr lang="en-AU"/>
          </a:p>
        </p:txBody>
      </p:sp>
      <p:sp>
        <p:nvSpPr>
          <p:cNvPr id="2233" name="Freeform 257"/>
          <p:cNvSpPr>
            <a:spLocks/>
          </p:cNvSpPr>
          <p:nvPr>
            <p:custDataLst>
              <p:tags r:id="rId184"/>
            </p:custDataLst>
          </p:nvPr>
        </p:nvSpPr>
        <p:spPr bwMode="auto">
          <a:xfrm>
            <a:off x="5065713" y="3052763"/>
            <a:ext cx="247650" cy="228600"/>
          </a:xfrm>
          <a:custGeom>
            <a:avLst/>
            <a:gdLst>
              <a:gd name="T0" fmla="*/ 2147483647 w 571"/>
              <a:gd name="T1" fmla="*/ 2147483647 h 443"/>
              <a:gd name="T2" fmla="*/ 2147483647 w 571"/>
              <a:gd name="T3" fmla="*/ 2147483647 h 443"/>
              <a:gd name="T4" fmla="*/ 2147483647 w 571"/>
              <a:gd name="T5" fmla="*/ 2147483647 h 443"/>
              <a:gd name="T6" fmla="*/ 2147483647 w 571"/>
              <a:gd name="T7" fmla="*/ 2147483647 h 443"/>
              <a:gd name="T8" fmla="*/ 2147483647 w 571"/>
              <a:gd name="T9" fmla="*/ 2147483647 h 443"/>
              <a:gd name="T10" fmla="*/ 2147483647 w 571"/>
              <a:gd name="T11" fmla="*/ 2147483647 h 443"/>
              <a:gd name="T12" fmla="*/ 2147483647 w 571"/>
              <a:gd name="T13" fmla="*/ 2147483647 h 443"/>
              <a:gd name="T14" fmla="*/ 2147483647 w 571"/>
              <a:gd name="T15" fmla="*/ 2147483647 h 443"/>
              <a:gd name="T16" fmla="*/ 2147483647 w 571"/>
              <a:gd name="T17" fmla="*/ 2147483647 h 443"/>
              <a:gd name="T18" fmla="*/ 2147483647 w 571"/>
              <a:gd name="T19" fmla="*/ 2147483647 h 443"/>
              <a:gd name="T20" fmla="*/ 2147483647 w 571"/>
              <a:gd name="T21" fmla="*/ 2147483647 h 443"/>
              <a:gd name="T22" fmla="*/ 2147483647 w 571"/>
              <a:gd name="T23" fmla="*/ 2147483647 h 443"/>
              <a:gd name="T24" fmla="*/ 2147483647 w 571"/>
              <a:gd name="T25" fmla="*/ 2147483647 h 443"/>
              <a:gd name="T26" fmla="*/ 2147483647 w 571"/>
              <a:gd name="T27" fmla="*/ 2147483647 h 443"/>
              <a:gd name="T28" fmla="*/ 2147483647 w 571"/>
              <a:gd name="T29" fmla="*/ 2147483647 h 443"/>
              <a:gd name="T30" fmla="*/ 2147483647 w 571"/>
              <a:gd name="T31" fmla="*/ 2147483647 h 443"/>
              <a:gd name="T32" fmla="*/ 2147483647 w 571"/>
              <a:gd name="T33" fmla="*/ 2147483647 h 443"/>
              <a:gd name="T34" fmla="*/ 2147483647 w 571"/>
              <a:gd name="T35" fmla="*/ 2147483647 h 443"/>
              <a:gd name="T36" fmla="*/ 2147483647 w 571"/>
              <a:gd name="T37" fmla="*/ 2147483647 h 443"/>
              <a:gd name="T38" fmla="*/ 2147483647 w 571"/>
              <a:gd name="T39" fmla="*/ 2147483647 h 443"/>
              <a:gd name="T40" fmla="*/ 2147483647 w 571"/>
              <a:gd name="T41" fmla="*/ 2147483647 h 443"/>
              <a:gd name="T42" fmla="*/ 2147483647 w 571"/>
              <a:gd name="T43" fmla="*/ 2147483647 h 443"/>
              <a:gd name="T44" fmla="*/ 2147483647 w 571"/>
              <a:gd name="T45" fmla="*/ 2147483647 h 443"/>
              <a:gd name="T46" fmla="*/ 2147483647 w 571"/>
              <a:gd name="T47" fmla="*/ 2147483647 h 443"/>
              <a:gd name="T48" fmla="*/ 2147483647 w 571"/>
              <a:gd name="T49" fmla="*/ 2147483647 h 443"/>
              <a:gd name="T50" fmla="*/ 2147483647 w 571"/>
              <a:gd name="T51" fmla="*/ 2147483647 h 443"/>
              <a:gd name="T52" fmla="*/ 2147483647 w 571"/>
              <a:gd name="T53" fmla="*/ 2147483647 h 443"/>
              <a:gd name="T54" fmla="*/ 2147483647 w 571"/>
              <a:gd name="T55" fmla="*/ 2147483647 h 443"/>
              <a:gd name="T56" fmla="*/ 2147483647 w 571"/>
              <a:gd name="T57" fmla="*/ 2147483647 h 443"/>
              <a:gd name="T58" fmla="*/ 2147483647 w 571"/>
              <a:gd name="T59" fmla="*/ 2147483647 h 443"/>
              <a:gd name="T60" fmla="*/ 2147483647 w 571"/>
              <a:gd name="T61" fmla="*/ 2147483647 h 443"/>
              <a:gd name="T62" fmla="*/ 2147483647 w 571"/>
              <a:gd name="T63" fmla="*/ 2147483647 h 443"/>
              <a:gd name="T64" fmla="*/ 2147483647 w 571"/>
              <a:gd name="T65" fmla="*/ 2147483647 h 443"/>
              <a:gd name="T66" fmla="*/ 2147483647 w 571"/>
              <a:gd name="T67" fmla="*/ 2147483647 h 443"/>
              <a:gd name="T68" fmla="*/ 2147483647 w 571"/>
              <a:gd name="T69" fmla="*/ 2147483647 h 443"/>
              <a:gd name="T70" fmla="*/ 2147483647 w 571"/>
              <a:gd name="T71" fmla="*/ 2147483647 h 443"/>
              <a:gd name="T72" fmla="*/ 2147483647 w 571"/>
              <a:gd name="T73" fmla="*/ 2147483647 h 443"/>
              <a:gd name="T74" fmla="*/ 2147483647 w 571"/>
              <a:gd name="T75" fmla="*/ 2147483647 h 443"/>
              <a:gd name="T76" fmla="*/ 2147483647 w 571"/>
              <a:gd name="T77" fmla="*/ 2147483647 h 443"/>
              <a:gd name="T78" fmla="*/ 2147483647 w 571"/>
              <a:gd name="T79" fmla="*/ 2147483647 h 443"/>
              <a:gd name="T80" fmla="*/ 2147483647 w 571"/>
              <a:gd name="T81" fmla="*/ 2147483647 h 443"/>
              <a:gd name="T82" fmla="*/ 0 w 571"/>
              <a:gd name="T83" fmla="*/ 2147483647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9525" cmpd="sng">
            <a:solidFill>
              <a:srgbClr val="FFFFFF"/>
            </a:solidFill>
            <a:prstDash val="solid"/>
            <a:round/>
            <a:headEnd/>
            <a:tailEnd/>
          </a:ln>
        </p:spPr>
        <p:txBody>
          <a:bodyPr/>
          <a:lstStyle/>
          <a:p>
            <a:endParaRPr lang="en-AU"/>
          </a:p>
        </p:txBody>
      </p:sp>
      <p:sp>
        <p:nvSpPr>
          <p:cNvPr id="2234" name="Freeform 258"/>
          <p:cNvSpPr>
            <a:spLocks/>
          </p:cNvSpPr>
          <p:nvPr>
            <p:custDataLst>
              <p:tags r:id="rId185"/>
            </p:custDataLst>
          </p:nvPr>
        </p:nvSpPr>
        <p:spPr bwMode="auto">
          <a:xfrm>
            <a:off x="5260975" y="2827338"/>
            <a:ext cx="120650" cy="120650"/>
          </a:xfrm>
          <a:custGeom>
            <a:avLst/>
            <a:gdLst>
              <a:gd name="T0" fmla="*/ 0 w 286"/>
              <a:gd name="T1" fmla="*/ 2147483647 h 228"/>
              <a:gd name="T2" fmla="*/ 2147483647 w 286"/>
              <a:gd name="T3" fmla="*/ 2147483647 h 228"/>
              <a:gd name="T4" fmla="*/ 2147483647 w 286"/>
              <a:gd name="T5" fmla="*/ 2147483647 h 228"/>
              <a:gd name="T6" fmla="*/ 2147483647 w 286"/>
              <a:gd name="T7" fmla="*/ 2147483647 h 228"/>
              <a:gd name="T8" fmla="*/ 2147483647 w 286"/>
              <a:gd name="T9" fmla="*/ 2147483647 h 228"/>
              <a:gd name="T10" fmla="*/ 2147483647 w 286"/>
              <a:gd name="T11" fmla="*/ 2147483647 h 228"/>
              <a:gd name="T12" fmla="*/ 2147483647 w 286"/>
              <a:gd name="T13" fmla="*/ 2147483647 h 228"/>
              <a:gd name="T14" fmla="*/ 2147483647 w 286"/>
              <a:gd name="T15" fmla="*/ 2147483647 h 228"/>
              <a:gd name="T16" fmla="*/ 2147483647 w 286"/>
              <a:gd name="T17" fmla="*/ 2147483647 h 228"/>
              <a:gd name="T18" fmla="*/ 2147483647 w 286"/>
              <a:gd name="T19" fmla="*/ 2147483647 h 228"/>
              <a:gd name="T20" fmla="*/ 2147483647 w 286"/>
              <a:gd name="T21" fmla="*/ 2147483647 h 228"/>
              <a:gd name="T22" fmla="*/ 2147483647 w 286"/>
              <a:gd name="T23" fmla="*/ 2147483647 h 228"/>
              <a:gd name="T24" fmla="*/ 2147483647 w 286"/>
              <a:gd name="T25" fmla="*/ 2147483647 h 228"/>
              <a:gd name="T26" fmla="*/ 2147483647 w 286"/>
              <a:gd name="T27" fmla="*/ 2147483647 h 228"/>
              <a:gd name="T28" fmla="*/ 2147483647 w 286"/>
              <a:gd name="T29" fmla="*/ 2147483647 h 228"/>
              <a:gd name="T30" fmla="*/ 2147483647 w 286"/>
              <a:gd name="T31" fmla="*/ 2147483647 h 228"/>
              <a:gd name="T32" fmla="*/ 2147483647 w 286"/>
              <a:gd name="T33" fmla="*/ 2147483647 h 228"/>
              <a:gd name="T34" fmla="*/ 2147483647 w 286"/>
              <a:gd name="T35" fmla="*/ 2147483647 h 228"/>
              <a:gd name="T36" fmla="*/ 2147483647 w 286"/>
              <a:gd name="T37" fmla="*/ 2147483647 h 228"/>
              <a:gd name="T38" fmla="*/ 2147483647 w 286"/>
              <a:gd name="T39" fmla="*/ 2147483647 h 228"/>
              <a:gd name="T40" fmla="*/ 2147483647 w 286"/>
              <a:gd name="T41" fmla="*/ 2147483647 h 228"/>
              <a:gd name="T42" fmla="*/ 2147483647 w 286"/>
              <a:gd name="T43" fmla="*/ 2147483647 h 228"/>
              <a:gd name="T44" fmla="*/ 2147483647 w 286"/>
              <a:gd name="T45" fmla="*/ 2147483647 h 228"/>
              <a:gd name="T46" fmla="*/ 2147483647 w 286"/>
              <a:gd name="T47" fmla="*/ 2147483647 h 228"/>
              <a:gd name="T48" fmla="*/ 2147483647 w 286"/>
              <a:gd name="T49" fmla="*/ 2147483647 h 228"/>
              <a:gd name="T50" fmla="*/ 2147483647 w 286"/>
              <a:gd name="T51" fmla="*/ 2147483647 h 228"/>
              <a:gd name="T52" fmla="*/ 2147483647 w 286"/>
              <a:gd name="T53" fmla="*/ 2147483647 h 228"/>
              <a:gd name="T54" fmla="*/ 2147483647 w 286"/>
              <a:gd name="T55" fmla="*/ 2147483647 h 228"/>
              <a:gd name="T56" fmla="*/ 2147483647 w 286"/>
              <a:gd name="T57" fmla="*/ 0 h 228"/>
              <a:gd name="T58" fmla="*/ 2147483647 w 286"/>
              <a:gd name="T59" fmla="*/ 2147483647 h 228"/>
              <a:gd name="T60" fmla="*/ 2147483647 w 286"/>
              <a:gd name="T61" fmla="*/ 2147483647 h 228"/>
              <a:gd name="T62" fmla="*/ 2147483647 w 286"/>
              <a:gd name="T63" fmla="*/ 2147483647 h 228"/>
              <a:gd name="T64" fmla="*/ 2147483647 w 286"/>
              <a:gd name="T65" fmla="*/ 2147483647 h 228"/>
              <a:gd name="T66" fmla="*/ 2147483647 w 286"/>
              <a:gd name="T67" fmla="*/ 2147483647 h 228"/>
              <a:gd name="T68" fmla="*/ 2147483647 w 286"/>
              <a:gd name="T69" fmla="*/ 2147483647 h 228"/>
              <a:gd name="T70" fmla="*/ 2147483647 w 286"/>
              <a:gd name="T71" fmla="*/ 2147483647 h 228"/>
              <a:gd name="T72" fmla="*/ 2147483647 w 286"/>
              <a:gd name="T73" fmla="*/ 2147483647 h 228"/>
              <a:gd name="T74" fmla="*/ 2147483647 w 286"/>
              <a:gd name="T75" fmla="*/ 2147483647 h 228"/>
              <a:gd name="T76" fmla="*/ 0 w 286"/>
              <a:gd name="T77" fmla="*/ 214748364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235" name="Freeform 259"/>
          <p:cNvSpPr>
            <a:spLocks/>
          </p:cNvSpPr>
          <p:nvPr>
            <p:custDataLst>
              <p:tags r:id="rId186"/>
            </p:custDataLst>
          </p:nvPr>
        </p:nvSpPr>
        <p:spPr bwMode="auto">
          <a:xfrm>
            <a:off x="4948238" y="2479675"/>
            <a:ext cx="222250" cy="263525"/>
          </a:xfrm>
          <a:custGeom>
            <a:avLst/>
            <a:gdLst>
              <a:gd name="T0" fmla="*/ 2147483647 w 524"/>
              <a:gd name="T1" fmla="*/ 2147483647 h 505"/>
              <a:gd name="T2" fmla="*/ 2147483647 w 524"/>
              <a:gd name="T3" fmla="*/ 2147483647 h 505"/>
              <a:gd name="T4" fmla="*/ 2147483647 w 524"/>
              <a:gd name="T5" fmla="*/ 2147483647 h 505"/>
              <a:gd name="T6" fmla="*/ 2147483647 w 524"/>
              <a:gd name="T7" fmla="*/ 2147483647 h 505"/>
              <a:gd name="T8" fmla="*/ 2147483647 w 524"/>
              <a:gd name="T9" fmla="*/ 2147483647 h 505"/>
              <a:gd name="T10" fmla="*/ 2147483647 w 524"/>
              <a:gd name="T11" fmla="*/ 2147483647 h 505"/>
              <a:gd name="T12" fmla="*/ 2147483647 w 524"/>
              <a:gd name="T13" fmla="*/ 2147483647 h 505"/>
              <a:gd name="T14" fmla="*/ 2147483647 w 524"/>
              <a:gd name="T15" fmla="*/ 2147483647 h 505"/>
              <a:gd name="T16" fmla="*/ 2147483647 w 524"/>
              <a:gd name="T17" fmla="*/ 2147483647 h 505"/>
              <a:gd name="T18" fmla="*/ 2147483647 w 524"/>
              <a:gd name="T19" fmla="*/ 2147483647 h 505"/>
              <a:gd name="T20" fmla="*/ 2147483647 w 524"/>
              <a:gd name="T21" fmla="*/ 2147483647 h 505"/>
              <a:gd name="T22" fmla="*/ 2147483647 w 524"/>
              <a:gd name="T23" fmla="*/ 2147483647 h 505"/>
              <a:gd name="T24" fmla="*/ 2147483647 w 524"/>
              <a:gd name="T25" fmla="*/ 2147483647 h 505"/>
              <a:gd name="T26" fmla="*/ 2147483647 w 524"/>
              <a:gd name="T27" fmla="*/ 2147483647 h 505"/>
              <a:gd name="T28" fmla="*/ 2147483647 w 524"/>
              <a:gd name="T29" fmla="*/ 2147483647 h 505"/>
              <a:gd name="T30" fmla="*/ 2147483647 w 524"/>
              <a:gd name="T31" fmla="*/ 2147483647 h 505"/>
              <a:gd name="T32" fmla="*/ 2147483647 w 524"/>
              <a:gd name="T33" fmla="*/ 2147483647 h 505"/>
              <a:gd name="T34" fmla="*/ 2147483647 w 524"/>
              <a:gd name="T35" fmla="*/ 2147483647 h 505"/>
              <a:gd name="T36" fmla="*/ 2147483647 w 524"/>
              <a:gd name="T37" fmla="*/ 2147483647 h 505"/>
              <a:gd name="T38" fmla="*/ 2147483647 w 524"/>
              <a:gd name="T39" fmla="*/ 2147483647 h 505"/>
              <a:gd name="T40" fmla="*/ 2147483647 w 524"/>
              <a:gd name="T41" fmla="*/ 2147483647 h 505"/>
              <a:gd name="T42" fmla="*/ 2147483647 w 524"/>
              <a:gd name="T43" fmla="*/ 2147483647 h 505"/>
              <a:gd name="T44" fmla="*/ 2147483647 w 524"/>
              <a:gd name="T45" fmla="*/ 2147483647 h 505"/>
              <a:gd name="T46" fmla="*/ 2147483647 w 524"/>
              <a:gd name="T47" fmla="*/ 2147483647 h 505"/>
              <a:gd name="T48" fmla="*/ 2147483647 w 524"/>
              <a:gd name="T49" fmla="*/ 2147483647 h 505"/>
              <a:gd name="T50" fmla="*/ 2147483647 w 524"/>
              <a:gd name="T51" fmla="*/ 2147483647 h 505"/>
              <a:gd name="T52" fmla="*/ 2147483647 w 524"/>
              <a:gd name="T53" fmla="*/ 2147483647 h 505"/>
              <a:gd name="T54" fmla="*/ 2147483647 w 524"/>
              <a:gd name="T55" fmla="*/ 2147483647 h 505"/>
              <a:gd name="T56" fmla="*/ 2147483647 w 524"/>
              <a:gd name="T57" fmla="*/ 2147483647 h 505"/>
              <a:gd name="T58" fmla="*/ 2147483647 w 524"/>
              <a:gd name="T59" fmla="*/ 2147483647 h 505"/>
              <a:gd name="T60" fmla="*/ 2147483647 w 524"/>
              <a:gd name="T61" fmla="*/ 2147483647 h 505"/>
              <a:gd name="T62" fmla="*/ 2147483647 w 524"/>
              <a:gd name="T63" fmla="*/ 2147483647 h 505"/>
              <a:gd name="T64" fmla="*/ 2147483647 w 524"/>
              <a:gd name="T65" fmla="*/ 2147483647 h 505"/>
              <a:gd name="T66" fmla="*/ 2147483647 w 524"/>
              <a:gd name="T67" fmla="*/ 2147483647 h 505"/>
              <a:gd name="T68" fmla="*/ 2147483647 w 524"/>
              <a:gd name="T69" fmla="*/ 2147483647 h 505"/>
              <a:gd name="T70" fmla="*/ 2147483647 w 524"/>
              <a:gd name="T71" fmla="*/ 2147483647 h 505"/>
              <a:gd name="T72" fmla="*/ 2147483647 w 524"/>
              <a:gd name="T73" fmla="*/ 2147483647 h 505"/>
              <a:gd name="T74" fmla="*/ 2147483647 w 524"/>
              <a:gd name="T75" fmla="*/ 2147483647 h 505"/>
              <a:gd name="T76" fmla="*/ 0 w 524"/>
              <a:gd name="T77" fmla="*/ 2147483647 h 505"/>
              <a:gd name="T78" fmla="*/ 0 w 524"/>
              <a:gd name="T79" fmla="*/ 2147483647 h 505"/>
              <a:gd name="T80" fmla="*/ 2147483647 w 524"/>
              <a:gd name="T81" fmla="*/ 2147483647 h 505"/>
              <a:gd name="T82" fmla="*/ 2147483647 w 524"/>
              <a:gd name="T83" fmla="*/ 2147483647 h 505"/>
              <a:gd name="T84" fmla="*/ 2147483647 w 524"/>
              <a:gd name="T85" fmla="*/ 2147483647 h 505"/>
              <a:gd name="T86" fmla="*/ 2147483647 w 524"/>
              <a:gd name="T87" fmla="*/ 2147483647 h 505"/>
              <a:gd name="T88" fmla="*/ 2147483647 w 524"/>
              <a:gd name="T89" fmla="*/ 2147483647 h 505"/>
              <a:gd name="T90" fmla="*/ 2147483647 w 524"/>
              <a:gd name="T91" fmla="*/ 2147483647 h 505"/>
              <a:gd name="T92" fmla="*/ 2147483647 w 524"/>
              <a:gd name="T93" fmla="*/ 2147483647 h 505"/>
              <a:gd name="T94" fmla="*/ 2147483647 w 524"/>
              <a:gd name="T95" fmla="*/ 2147483647 h 505"/>
              <a:gd name="T96" fmla="*/ 2147483647 w 524"/>
              <a:gd name="T97" fmla="*/ 2147483647 h 505"/>
              <a:gd name="T98" fmla="*/ 2147483647 w 524"/>
              <a:gd name="T99" fmla="*/ 2147483647 h 505"/>
              <a:gd name="T100" fmla="*/ 2147483647 w 524"/>
              <a:gd name="T101" fmla="*/ 2147483647 h 505"/>
              <a:gd name="T102" fmla="*/ 2147483647 w 524"/>
              <a:gd name="T103" fmla="*/ 2147483647 h 505"/>
              <a:gd name="T104" fmla="*/ 2147483647 w 524"/>
              <a:gd name="T105" fmla="*/ 2147483647 h 505"/>
              <a:gd name="T106" fmla="*/ 2147483647 w 524"/>
              <a:gd name="T107" fmla="*/ 2147483647 h 505"/>
              <a:gd name="T108" fmla="*/ 2147483647 w 524"/>
              <a:gd name="T109" fmla="*/ 2147483647 h 505"/>
              <a:gd name="T110" fmla="*/ 2147483647 w 524"/>
              <a:gd name="T111" fmla="*/ 2147483647 h 505"/>
              <a:gd name="T112" fmla="*/ 2147483647 w 524"/>
              <a:gd name="T113" fmla="*/ 2147483647 h 505"/>
              <a:gd name="T114" fmla="*/ 2147483647 w 524"/>
              <a:gd name="T115" fmla="*/ 2147483647 h 505"/>
              <a:gd name="T116" fmla="*/ 2147483647 w 524"/>
              <a:gd name="T117" fmla="*/ 2147483647 h 505"/>
              <a:gd name="T118" fmla="*/ 2147483647 w 524"/>
              <a:gd name="T119" fmla="*/ 2147483647 h 505"/>
              <a:gd name="T120" fmla="*/ 2147483647 w 524"/>
              <a:gd name="T121" fmla="*/ 2147483647 h 505"/>
              <a:gd name="T122" fmla="*/ 2147483647 w 524"/>
              <a:gd name="T123" fmla="*/ 2147483647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cmpd="sng">
            <a:solidFill>
              <a:srgbClr val="FFFFFF"/>
            </a:solidFill>
            <a:prstDash val="solid"/>
            <a:round/>
            <a:headEnd/>
            <a:tailEnd/>
          </a:ln>
        </p:spPr>
        <p:txBody>
          <a:bodyPr/>
          <a:lstStyle/>
          <a:p>
            <a:endParaRPr lang="en-AU"/>
          </a:p>
        </p:txBody>
      </p:sp>
      <p:sp>
        <p:nvSpPr>
          <p:cNvPr id="2236" name="Freeform 260"/>
          <p:cNvSpPr>
            <a:spLocks/>
          </p:cNvSpPr>
          <p:nvPr>
            <p:custDataLst>
              <p:tags r:id="rId187"/>
            </p:custDataLst>
          </p:nvPr>
        </p:nvSpPr>
        <p:spPr bwMode="auto">
          <a:xfrm>
            <a:off x="5448300" y="2439988"/>
            <a:ext cx="331788" cy="290512"/>
          </a:xfrm>
          <a:custGeom>
            <a:avLst/>
            <a:gdLst>
              <a:gd name="T0" fmla="*/ 2147483647 w 764"/>
              <a:gd name="T1" fmla="*/ 2147483647 h 555"/>
              <a:gd name="T2" fmla="*/ 2147483647 w 764"/>
              <a:gd name="T3" fmla="*/ 2147483647 h 555"/>
              <a:gd name="T4" fmla="*/ 2147483647 w 764"/>
              <a:gd name="T5" fmla="*/ 2147483647 h 555"/>
              <a:gd name="T6" fmla="*/ 2147483647 w 764"/>
              <a:gd name="T7" fmla="*/ 2147483647 h 555"/>
              <a:gd name="T8" fmla="*/ 2147483647 w 764"/>
              <a:gd name="T9" fmla="*/ 2147483647 h 555"/>
              <a:gd name="T10" fmla="*/ 2147483647 w 764"/>
              <a:gd name="T11" fmla="*/ 2147483647 h 555"/>
              <a:gd name="T12" fmla="*/ 2147483647 w 764"/>
              <a:gd name="T13" fmla="*/ 2147483647 h 555"/>
              <a:gd name="T14" fmla="*/ 2147483647 w 764"/>
              <a:gd name="T15" fmla="*/ 2147483647 h 555"/>
              <a:gd name="T16" fmla="*/ 2147483647 w 764"/>
              <a:gd name="T17" fmla="*/ 2147483647 h 555"/>
              <a:gd name="T18" fmla="*/ 2147483647 w 764"/>
              <a:gd name="T19" fmla="*/ 2147483647 h 555"/>
              <a:gd name="T20" fmla="*/ 2147483647 w 764"/>
              <a:gd name="T21" fmla="*/ 2147483647 h 555"/>
              <a:gd name="T22" fmla="*/ 2147483647 w 764"/>
              <a:gd name="T23" fmla="*/ 2147483647 h 555"/>
              <a:gd name="T24" fmla="*/ 2147483647 w 764"/>
              <a:gd name="T25" fmla="*/ 2147483647 h 555"/>
              <a:gd name="T26" fmla="*/ 2147483647 w 764"/>
              <a:gd name="T27" fmla="*/ 2147483647 h 555"/>
              <a:gd name="T28" fmla="*/ 2147483647 w 764"/>
              <a:gd name="T29" fmla="*/ 2147483647 h 555"/>
              <a:gd name="T30" fmla="*/ 2147483647 w 764"/>
              <a:gd name="T31" fmla="*/ 2147483647 h 555"/>
              <a:gd name="T32" fmla="*/ 2147483647 w 764"/>
              <a:gd name="T33" fmla="*/ 2147483647 h 555"/>
              <a:gd name="T34" fmla="*/ 2147483647 w 764"/>
              <a:gd name="T35" fmla="*/ 2147483647 h 555"/>
              <a:gd name="T36" fmla="*/ 2147483647 w 764"/>
              <a:gd name="T37" fmla="*/ 2147483647 h 555"/>
              <a:gd name="T38" fmla="*/ 2147483647 w 764"/>
              <a:gd name="T39" fmla="*/ 2147483647 h 555"/>
              <a:gd name="T40" fmla="*/ 2147483647 w 764"/>
              <a:gd name="T41" fmla="*/ 2147483647 h 555"/>
              <a:gd name="T42" fmla="*/ 2147483647 w 764"/>
              <a:gd name="T43" fmla="*/ 2147483647 h 555"/>
              <a:gd name="T44" fmla="*/ 2147483647 w 764"/>
              <a:gd name="T45" fmla="*/ 2147483647 h 555"/>
              <a:gd name="T46" fmla="*/ 2147483647 w 764"/>
              <a:gd name="T47" fmla="*/ 2147483647 h 555"/>
              <a:gd name="T48" fmla="*/ 2147483647 w 764"/>
              <a:gd name="T49" fmla="*/ 2147483647 h 555"/>
              <a:gd name="T50" fmla="*/ 2147483647 w 764"/>
              <a:gd name="T51" fmla="*/ 2147483647 h 555"/>
              <a:gd name="T52" fmla="*/ 2147483647 w 764"/>
              <a:gd name="T53" fmla="*/ 2147483647 h 555"/>
              <a:gd name="T54" fmla="*/ 2147483647 w 764"/>
              <a:gd name="T55" fmla="*/ 2147483647 h 555"/>
              <a:gd name="T56" fmla="*/ 2147483647 w 764"/>
              <a:gd name="T57" fmla="*/ 2147483647 h 555"/>
              <a:gd name="T58" fmla="*/ 2147483647 w 764"/>
              <a:gd name="T59" fmla="*/ 2147483647 h 555"/>
              <a:gd name="T60" fmla="*/ 2147483647 w 764"/>
              <a:gd name="T61" fmla="*/ 2147483647 h 555"/>
              <a:gd name="T62" fmla="*/ 2147483647 w 764"/>
              <a:gd name="T63" fmla="*/ 2147483647 h 555"/>
              <a:gd name="T64" fmla="*/ 2147483647 w 764"/>
              <a:gd name="T65" fmla="*/ 2147483647 h 555"/>
              <a:gd name="T66" fmla="*/ 2147483647 w 764"/>
              <a:gd name="T67" fmla="*/ 2147483647 h 555"/>
              <a:gd name="T68" fmla="*/ 2147483647 w 764"/>
              <a:gd name="T69" fmla="*/ 2147483647 h 555"/>
              <a:gd name="T70" fmla="*/ 2147483647 w 764"/>
              <a:gd name="T71" fmla="*/ 2147483647 h 555"/>
              <a:gd name="T72" fmla="*/ 2147483647 w 764"/>
              <a:gd name="T73" fmla="*/ 2147483647 h 555"/>
              <a:gd name="T74" fmla="*/ 2147483647 w 764"/>
              <a:gd name="T75" fmla="*/ 2147483647 h 555"/>
              <a:gd name="T76" fmla="*/ 2147483647 w 764"/>
              <a:gd name="T77" fmla="*/ 2147483647 h 555"/>
              <a:gd name="T78" fmla="*/ 2147483647 w 764"/>
              <a:gd name="T79" fmla="*/ 2147483647 h 555"/>
              <a:gd name="T80" fmla="*/ 2147483647 w 764"/>
              <a:gd name="T81" fmla="*/ 2147483647 h 555"/>
              <a:gd name="T82" fmla="*/ 2147483647 w 764"/>
              <a:gd name="T83" fmla="*/ 2147483647 h 555"/>
              <a:gd name="T84" fmla="*/ 2147483647 w 764"/>
              <a:gd name="T85" fmla="*/ 2147483647 h 555"/>
              <a:gd name="T86" fmla="*/ 2147483647 w 764"/>
              <a:gd name="T87" fmla="*/ 2147483647 h 555"/>
              <a:gd name="T88" fmla="*/ 2147483647 w 764"/>
              <a:gd name="T89" fmla="*/ 2147483647 h 555"/>
              <a:gd name="T90" fmla="*/ 2147483647 w 764"/>
              <a:gd name="T91" fmla="*/ 2147483647 h 555"/>
              <a:gd name="T92" fmla="*/ 2147483647 w 764"/>
              <a:gd name="T93" fmla="*/ 2147483647 h 555"/>
              <a:gd name="T94" fmla="*/ 2147483647 w 764"/>
              <a:gd name="T95" fmla="*/ 2147483647 h 555"/>
              <a:gd name="T96" fmla="*/ 2147483647 w 764"/>
              <a:gd name="T97" fmla="*/ 2147483647 h 555"/>
              <a:gd name="T98" fmla="*/ 2147483647 w 764"/>
              <a:gd name="T99" fmla="*/ 2147483647 h 555"/>
              <a:gd name="T100" fmla="*/ 2147483647 w 764"/>
              <a:gd name="T101" fmla="*/ 2147483647 h 555"/>
              <a:gd name="T102" fmla="*/ 2147483647 w 764"/>
              <a:gd name="T103" fmla="*/ 2147483647 h 555"/>
              <a:gd name="T104" fmla="*/ 2147483647 w 764"/>
              <a:gd name="T105" fmla="*/ 2147483647 h 555"/>
              <a:gd name="T106" fmla="*/ 2147483647 w 764"/>
              <a:gd name="T107" fmla="*/ 2147483647 h 555"/>
              <a:gd name="T108" fmla="*/ 2147483647 w 764"/>
              <a:gd name="T109" fmla="*/ 2147483647 h 555"/>
              <a:gd name="T110" fmla="*/ 2147483647 w 764"/>
              <a:gd name="T111" fmla="*/ 2147483647 h 555"/>
              <a:gd name="T112" fmla="*/ 2147483647 w 764"/>
              <a:gd name="T113" fmla="*/ 2147483647 h 555"/>
              <a:gd name="T114" fmla="*/ 2147483647 w 764"/>
              <a:gd name="T115" fmla="*/ 2147483647 h 555"/>
              <a:gd name="T116" fmla="*/ 2147483647 w 764"/>
              <a:gd name="T117" fmla="*/ 2147483647 h 555"/>
              <a:gd name="T118" fmla="*/ 0 w 764"/>
              <a:gd name="T119" fmla="*/ 2147483647 h 555"/>
              <a:gd name="T120" fmla="*/ 2147483647 w 764"/>
              <a:gd name="T121" fmla="*/ 2147483647 h 555"/>
              <a:gd name="T122" fmla="*/ 2147483647 w 764"/>
              <a:gd name="T123" fmla="*/ 2147483647 h 555"/>
              <a:gd name="T124" fmla="*/ 2147483647 w 764"/>
              <a:gd name="T125" fmla="*/ 2147483647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0000FF"/>
          </a:solidFill>
          <a:ln w="9525" cmpd="sng">
            <a:solidFill>
              <a:srgbClr val="FFFFFF"/>
            </a:solidFill>
            <a:prstDash val="solid"/>
            <a:round/>
            <a:headEnd/>
            <a:tailEnd/>
          </a:ln>
        </p:spPr>
        <p:txBody>
          <a:bodyPr/>
          <a:lstStyle/>
          <a:p>
            <a:endParaRPr lang="en-AU"/>
          </a:p>
        </p:txBody>
      </p:sp>
      <p:sp>
        <p:nvSpPr>
          <p:cNvPr id="2237" name="Freeform 261"/>
          <p:cNvSpPr>
            <a:spLocks/>
          </p:cNvSpPr>
          <p:nvPr>
            <p:custDataLst>
              <p:tags r:id="rId188"/>
            </p:custDataLst>
          </p:nvPr>
        </p:nvSpPr>
        <p:spPr bwMode="auto">
          <a:xfrm>
            <a:off x="5480050" y="2489200"/>
            <a:ext cx="365125" cy="423863"/>
          </a:xfrm>
          <a:custGeom>
            <a:avLst/>
            <a:gdLst>
              <a:gd name="T0" fmla="*/ 2147483647 w 831"/>
              <a:gd name="T1" fmla="*/ 2147483647 h 812"/>
              <a:gd name="T2" fmla="*/ 2147483647 w 831"/>
              <a:gd name="T3" fmla="*/ 2147483647 h 812"/>
              <a:gd name="T4" fmla="*/ 2147483647 w 831"/>
              <a:gd name="T5" fmla="*/ 2147483647 h 812"/>
              <a:gd name="T6" fmla="*/ 2147483647 w 831"/>
              <a:gd name="T7" fmla="*/ 2147483647 h 812"/>
              <a:gd name="T8" fmla="*/ 2147483647 w 831"/>
              <a:gd name="T9" fmla="*/ 2147483647 h 812"/>
              <a:gd name="T10" fmla="*/ 2147483647 w 831"/>
              <a:gd name="T11" fmla="*/ 2147483647 h 812"/>
              <a:gd name="T12" fmla="*/ 2147483647 w 831"/>
              <a:gd name="T13" fmla="*/ 2147483647 h 812"/>
              <a:gd name="T14" fmla="*/ 2147483647 w 831"/>
              <a:gd name="T15" fmla="*/ 2147483647 h 812"/>
              <a:gd name="T16" fmla="*/ 2147483647 w 831"/>
              <a:gd name="T17" fmla="*/ 2147483647 h 812"/>
              <a:gd name="T18" fmla="*/ 2147483647 w 831"/>
              <a:gd name="T19" fmla="*/ 2147483647 h 812"/>
              <a:gd name="T20" fmla="*/ 2147483647 w 831"/>
              <a:gd name="T21" fmla="*/ 2147483647 h 812"/>
              <a:gd name="T22" fmla="*/ 2147483647 w 831"/>
              <a:gd name="T23" fmla="*/ 2147483647 h 812"/>
              <a:gd name="T24" fmla="*/ 2147483647 w 831"/>
              <a:gd name="T25" fmla="*/ 2147483647 h 812"/>
              <a:gd name="T26" fmla="*/ 2147483647 w 831"/>
              <a:gd name="T27" fmla="*/ 2147483647 h 812"/>
              <a:gd name="T28" fmla="*/ 2147483647 w 831"/>
              <a:gd name="T29" fmla="*/ 2147483647 h 812"/>
              <a:gd name="T30" fmla="*/ 2147483647 w 831"/>
              <a:gd name="T31" fmla="*/ 2147483647 h 812"/>
              <a:gd name="T32" fmla="*/ 2147483647 w 831"/>
              <a:gd name="T33" fmla="*/ 2147483647 h 812"/>
              <a:gd name="T34" fmla="*/ 2147483647 w 831"/>
              <a:gd name="T35" fmla="*/ 2147483647 h 812"/>
              <a:gd name="T36" fmla="*/ 2147483647 w 831"/>
              <a:gd name="T37" fmla="*/ 2147483647 h 812"/>
              <a:gd name="T38" fmla="*/ 2147483647 w 831"/>
              <a:gd name="T39" fmla="*/ 2147483647 h 812"/>
              <a:gd name="T40" fmla="*/ 2147483647 w 831"/>
              <a:gd name="T41" fmla="*/ 2147483647 h 812"/>
              <a:gd name="T42" fmla="*/ 2147483647 w 831"/>
              <a:gd name="T43" fmla="*/ 2147483647 h 812"/>
              <a:gd name="T44" fmla="*/ 2147483647 w 831"/>
              <a:gd name="T45" fmla="*/ 2147483647 h 812"/>
              <a:gd name="T46" fmla="*/ 2147483647 w 831"/>
              <a:gd name="T47" fmla="*/ 2147483647 h 812"/>
              <a:gd name="T48" fmla="*/ 2147483647 w 831"/>
              <a:gd name="T49" fmla="*/ 2147483647 h 812"/>
              <a:gd name="T50" fmla="*/ 2147483647 w 831"/>
              <a:gd name="T51" fmla="*/ 2147483647 h 812"/>
              <a:gd name="T52" fmla="*/ 2147483647 w 831"/>
              <a:gd name="T53" fmla="*/ 2147483647 h 812"/>
              <a:gd name="T54" fmla="*/ 2147483647 w 831"/>
              <a:gd name="T55" fmla="*/ 2147483647 h 812"/>
              <a:gd name="T56" fmla="*/ 2147483647 w 831"/>
              <a:gd name="T57" fmla="*/ 2147483647 h 812"/>
              <a:gd name="T58" fmla="*/ 2147483647 w 831"/>
              <a:gd name="T59" fmla="*/ 2147483647 h 812"/>
              <a:gd name="T60" fmla="*/ 2147483647 w 831"/>
              <a:gd name="T61" fmla="*/ 2147483647 h 812"/>
              <a:gd name="T62" fmla="*/ 2147483647 w 831"/>
              <a:gd name="T63" fmla="*/ 2147483647 h 812"/>
              <a:gd name="T64" fmla="*/ 2147483647 w 831"/>
              <a:gd name="T65" fmla="*/ 2147483647 h 812"/>
              <a:gd name="T66" fmla="*/ 2147483647 w 831"/>
              <a:gd name="T67" fmla="*/ 2147483647 h 812"/>
              <a:gd name="T68" fmla="*/ 2147483647 w 831"/>
              <a:gd name="T69" fmla="*/ 2147483647 h 812"/>
              <a:gd name="T70" fmla="*/ 2147483647 w 831"/>
              <a:gd name="T71" fmla="*/ 2147483647 h 812"/>
              <a:gd name="T72" fmla="*/ 2147483647 w 831"/>
              <a:gd name="T73" fmla="*/ 2147483647 h 812"/>
              <a:gd name="T74" fmla="*/ 2147483647 w 831"/>
              <a:gd name="T75" fmla="*/ 2147483647 h 812"/>
              <a:gd name="T76" fmla="*/ 2147483647 w 831"/>
              <a:gd name="T77" fmla="*/ 2147483647 h 812"/>
              <a:gd name="T78" fmla="*/ 2147483647 w 831"/>
              <a:gd name="T79" fmla="*/ 2147483647 h 812"/>
              <a:gd name="T80" fmla="*/ 2147483647 w 831"/>
              <a:gd name="T81" fmla="*/ 2147483647 h 812"/>
              <a:gd name="T82" fmla="*/ 2147483647 w 831"/>
              <a:gd name="T83" fmla="*/ 2147483647 h 812"/>
              <a:gd name="T84" fmla="*/ 2147483647 w 831"/>
              <a:gd name="T85" fmla="*/ 2147483647 h 812"/>
              <a:gd name="T86" fmla="*/ 2147483647 w 831"/>
              <a:gd name="T87" fmla="*/ 2147483647 h 812"/>
              <a:gd name="T88" fmla="*/ 2147483647 w 831"/>
              <a:gd name="T89" fmla="*/ 2147483647 h 812"/>
              <a:gd name="T90" fmla="*/ 2147483647 w 831"/>
              <a:gd name="T91" fmla="*/ 2147483647 h 812"/>
              <a:gd name="T92" fmla="*/ 2147483647 w 831"/>
              <a:gd name="T93" fmla="*/ 2147483647 h 812"/>
              <a:gd name="T94" fmla="*/ 2147483647 w 831"/>
              <a:gd name="T95" fmla="*/ 2147483647 h 812"/>
              <a:gd name="T96" fmla="*/ 2147483647 w 831"/>
              <a:gd name="T97" fmla="*/ 2147483647 h 812"/>
              <a:gd name="T98" fmla="*/ 2147483647 w 831"/>
              <a:gd name="T99" fmla="*/ 2147483647 h 812"/>
              <a:gd name="T100" fmla="*/ 2147483647 w 831"/>
              <a:gd name="T101" fmla="*/ 2147483647 h 812"/>
              <a:gd name="T102" fmla="*/ 2147483647 w 831"/>
              <a:gd name="T103" fmla="*/ 2147483647 h 812"/>
              <a:gd name="T104" fmla="*/ 2147483647 w 831"/>
              <a:gd name="T105" fmla="*/ 2147483647 h 812"/>
              <a:gd name="T106" fmla="*/ 2147483647 w 831"/>
              <a:gd name="T107" fmla="*/ 2147483647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FF0000"/>
          </a:solidFill>
          <a:ln w="9525" cmpd="sng">
            <a:solidFill>
              <a:srgbClr val="FFFFFF"/>
            </a:solidFill>
            <a:prstDash val="solid"/>
            <a:round/>
            <a:headEnd/>
            <a:tailEnd/>
          </a:ln>
        </p:spPr>
        <p:txBody>
          <a:bodyPr/>
          <a:lstStyle/>
          <a:p>
            <a:endParaRPr lang="en-AU"/>
          </a:p>
        </p:txBody>
      </p:sp>
      <p:sp>
        <p:nvSpPr>
          <p:cNvPr id="2238" name="Freeform 262"/>
          <p:cNvSpPr>
            <a:spLocks/>
          </p:cNvSpPr>
          <p:nvPr>
            <p:custDataLst>
              <p:tags r:id="rId189"/>
            </p:custDataLst>
          </p:nvPr>
        </p:nvSpPr>
        <p:spPr bwMode="auto">
          <a:xfrm>
            <a:off x="6270625" y="2757488"/>
            <a:ext cx="220663" cy="585787"/>
          </a:xfrm>
          <a:custGeom>
            <a:avLst/>
            <a:gdLst>
              <a:gd name="T0" fmla="*/ 2147483647 w 505"/>
              <a:gd name="T1" fmla="*/ 2147483647 h 1121"/>
              <a:gd name="T2" fmla="*/ 2147483647 w 505"/>
              <a:gd name="T3" fmla="*/ 2147483647 h 1121"/>
              <a:gd name="T4" fmla="*/ 2147483647 w 505"/>
              <a:gd name="T5" fmla="*/ 2147483647 h 1121"/>
              <a:gd name="T6" fmla="*/ 2147483647 w 505"/>
              <a:gd name="T7" fmla="*/ 2147483647 h 1121"/>
              <a:gd name="T8" fmla="*/ 2147483647 w 505"/>
              <a:gd name="T9" fmla="*/ 2147483647 h 1121"/>
              <a:gd name="T10" fmla="*/ 2147483647 w 505"/>
              <a:gd name="T11" fmla="*/ 2147483647 h 1121"/>
              <a:gd name="T12" fmla="*/ 2147483647 w 505"/>
              <a:gd name="T13" fmla="*/ 2147483647 h 1121"/>
              <a:gd name="T14" fmla="*/ 2147483647 w 505"/>
              <a:gd name="T15" fmla="*/ 2147483647 h 1121"/>
              <a:gd name="T16" fmla="*/ 2147483647 w 505"/>
              <a:gd name="T17" fmla="*/ 2147483647 h 1121"/>
              <a:gd name="T18" fmla="*/ 2147483647 w 505"/>
              <a:gd name="T19" fmla="*/ 2147483647 h 1121"/>
              <a:gd name="T20" fmla="*/ 2147483647 w 505"/>
              <a:gd name="T21" fmla="*/ 2147483647 h 1121"/>
              <a:gd name="T22" fmla="*/ 2147483647 w 505"/>
              <a:gd name="T23" fmla="*/ 2147483647 h 1121"/>
              <a:gd name="T24" fmla="*/ 2147483647 w 505"/>
              <a:gd name="T25" fmla="*/ 2147483647 h 1121"/>
              <a:gd name="T26" fmla="*/ 2147483647 w 505"/>
              <a:gd name="T27" fmla="*/ 2147483647 h 1121"/>
              <a:gd name="T28" fmla="*/ 2147483647 w 505"/>
              <a:gd name="T29" fmla="*/ 2147483647 h 1121"/>
              <a:gd name="T30" fmla="*/ 2147483647 w 505"/>
              <a:gd name="T31" fmla="*/ 2147483647 h 1121"/>
              <a:gd name="T32" fmla="*/ 2147483647 w 505"/>
              <a:gd name="T33" fmla="*/ 2147483647 h 1121"/>
              <a:gd name="T34" fmla="*/ 2147483647 w 505"/>
              <a:gd name="T35" fmla="*/ 2147483647 h 1121"/>
              <a:gd name="T36" fmla="*/ 2147483647 w 505"/>
              <a:gd name="T37" fmla="*/ 2147483647 h 1121"/>
              <a:gd name="T38" fmla="*/ 2147483647 w 505"/>
              <a:gd name="T39" fmla="*/ 2147483647 h 1121"/>
              <a:gd name="T40" fmla="*/ 2147483647 w 505"/>
              <a:gd name="T41" fmla="*/ 2147483647 h 1121"/>
              <a:gd name="T42" fmla="*/ 2147483647 w 505"/>
              <a:gd name="T43" fmla="*/ 2147483647 h 1121"/>
              <a:gd name="T44" fmla="*/ 2147483647 w 505"/>
              <a:gd name="T45" fmla="*/ 2147483647 h 1121"/>
              <a:gd name="T46" fmla="*/ 2147483647 w 505"/>
              <a:gd name="T47" fmla="*/ 2147483647 h 1121"/>
              <a:gd name="T48" fmla="*/ 2147483647 w 505"/>
              <a:gd name="T49" fmla="*/ 2147483647 h 1121"/>
              <a:gd name="T50" fmla="*/ 2147483647 w 505"/>
              <a:gd name="T51" fmla="*/ 2147483647 h 1121"/>
              <a:gd name="T52" fmla="*/ 2147483647 w 505"/>
              <a:gd name="T53" fmla="*/ 2147483647 h 1121"/>
              <a:gd name="T54" fmla="*/ 2147483647 w 505"/>
              <a:gd name="T55" fmla="*/ 2147483647 h 1121"/>
              <a:gd name="T56" fmla="*/ 2147483647 w 505"/>
              <a:gd name="T57" fmla="*/ 2147483647 h 1121"/>
              <a:gd name="T58" fmla="*/ 2147483647 w 505"/>
              <a:gd name="T59" fmla="*/ 2147483647 h 1121"/>
              <a:gd name="T60" fmla="*/ 2147483647 w 505"/>
              <a:gd name="T61" fmla="*/ 2147483647 h 1121"/>
              <a:gd name="T62" fmla="*/ 2147483647 w 505"/>
              <a:gd name="T63" fmla="*/ 2147483647 h 1121"/>
              <a:gd name="T64" fmla="*/ 2147483647 w 505"/>
              <a:gd name="T65" fmla="*/ 2147483647 h 1121"/>
              <a:gd name="T66" fmla="*/ 2147483647 w 505"/>
              <a:gd name="T67" fmla="*/ 2147483647 h 1121"/>
              <a:gd name="T68" fmla="*/ 2147483647 w 505"/>
              <a:gd name="T69" fmla="*/ 2147483647 h 1121"/>
              <a:gd name="T70" fmla="*/ 2147483647 w 505"/>
              <a:gd name="T71" fmla="*/ 2147483647 h 1121"/>
              <a:gd name="T72" fmla="*/ 2147483647 w 505"/>
              <a:gd name="T73" fmla="*/ 2147483647 h 1121"/>
              <a:gd name="T74" fmla="*/ 2147483647 w 505"/>
              <a:gd name="T75" fmla="*/ 2147483647 h 1121"/>
              <a:gd name="T76" fmla="*/ 2147483647 w 505"/>
              <a:gd name="T77" fmla="*/ 2147483647 h 1121"/>
              <a:gd name="T78" fmla="*/ 2147483647 w 505"/>
              <a:gd name="T79" fmla="*/ 2147483647 h 1121"/>
              <a:gd name="T80" fmla="*/ 2147483647 w 505"/>
              <a:gd name="T81" fmla="*/ 2147483647 h 1121"/>
              <a:gd name="T82" fmla="*/ 2147483647 w 505"/>
              <a:gd name="T83" fmla="*/ 2147483647 h 1121"/>
              <a:gd name="T84" fmla="*/ 2147483647 w 505"/>
              <a:gd name="T85" fmla="*/ 2147483647 h 1121"/>
              <a:gd name="T86" fmla="*/ 2147483647 w 505"/>
              <a:gd name="T87" fmla="*/ 2147483647 h 1121"/>
              <a:gd name="T88" fmla="*/ 2147483647 w 505"/>
              <a:gd name="T89" fmla="*/ 2147483647 h 1121"/>
              <a:gd name="T90" fmla="*/ 2147483647 w 505"/>
              <a:gd name="T91" fmla="*/ 2147483647 h 1121"/>
              <a:gd name="T92" fmla="*/ 2147483647 w 505"/>
              <a:gd name="T93" fmla="*/ 2147483647 h 1121"/>
              <a:gd name="T94" fmla="*/ 2147483647 w 505"/>
              <a:gd name="T95" fmla="*/ 2147483647 h 1121"/>
              <a:gd name="T96" fmla="*/ 2147483647 w 505"/>
              <a:gd name="T97" fmla="*/ 2147483647 h 1121"/>
              <a:gd name="T98" fmla="*/ 2147483647 w 505"/>
              <a:gd name="T99" fmla="*/ 2147483647 h 1121"/>
              <a:gd name="T100" fmla="*/ 2147483647 w 505"/>
              <a:gd name="T101" fmla="*/ 2147483647 h 1121"/>
              <a:gd name="T102" fmla="*/ 2147483647 w 505"/>
              <a:gd name="T103" fmla="*/ 214748364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0000FF"/>
          </a:solidFill>
          <a:ln w="9525" cap="flat" cmpd="sng">
            <a:solidFill>
              <a:srgbClr val="FFFFFF"/>
            </a:solidFill>
            <a:prstDash val="solid"/>
            <a:round/>
            <a:headEnd type="none" w="med" len="med"/>
            <a:tailEnd type="none" w="med" len="med"/>
          </a:ln>
          <a:effectLst/>
        </p:spPr>
        <p:txBody>
          <a:bodyPr/>
          <a:lstStyle/>
          <a:p>
            <a:endParaRPr lang="en-AU"/>
          </a:p>
        </p:txBody>
      </p:sp>
      <p:sp>
        <p:nvSpPr>
          <p:cNvPr id="2239" name="Freeform 263"/>
          <p:cNvSpPr>
            <a:spLocks/>
          </p:cNvSpPr>
          <p:nvPr>
            <p:custDataLst>
              <p:tags r:id="rId190"/>
            </p:custDataLst>
          </p:nvPr>
        </p:nvSpPr>
        <p:spPr bwMode="auto">
          <a:xfrm>
            <a:off x="3594100" y="3267075"/>
            <a:ext cx="80963" cy="58738"/>
          </a:xfrm>
          <a:custGeom>
            <a:avLst/>
            <a:gdLst>
              <a:gd name="T0" fmla="*/ 2147483647 w 180"/>
              <a:gd name="T1" fmla="*/ 2147483647 h 112"/>
              <a:gd name="T2" fmla="*/ 2147483647 w 180"/>
              <a:gd name="T3" fmla="*/ 2147483647 h 112"/>
              <a:gd name="T4" fmla="*/ 2147483647 w 180"/>
              <a:gd name="T5" fmla="*/ 2147483647 h 112"/>
              <a:gd name="T6" fmla="*/ 2147483647 w 180"/>
              <a:gd name="T7" fmla="*/ 2147483647 h 112"/>
              <a:gd name="T8" fmla="*/ 2147483647 w 180"/>
              <a:gd name="T9" fmla="*/ 2147483647 h 112"/>
              <a:gd name="T10" fmla="*/ 2147483647 w 180"/>
              <a:gd name="T11" fmla="*/ 2147483647 h 112"/>
              <a:gd name="T12" fmla="*/ 2147483647 w 180"/>
              <a:gd name="T13" fmla="*/ 2147483647 h 112"/>
              <a:gd name="T14" fmla="*/ 2147483647 w 180"/>
              <a:gd name="T15" fmla="*/ 2147483647 h 112"/>
              <a:gd name="T16" fmla="*/ 2147483647 w 180"/>
              <a:gd name="T17" fmla="*/ 2147483647 h 112"/>
              <a:gd name="T18" fmla="*/ 2147483647 w 180"/>
              <a:gd name="T19" fmla="*/ 2147483647 h 112"/>
              <a:gd name="T20" fmla="*/ 2147483647 w 180"/>
              <a:gd name="T21" fmla="*/ 2147483647 h 112"/>
              <a:gd name="T22" fmla="*/ 2147483647 w 180"/>
              <a:gd name="T23" fmla="*/ 2147483647 h 112"/>
              <a:gd name="T24" fmla="*/ 2147483647 w 180"/>
              <a:gd name="T25" fmla="*/ 2147483647 h 112"/>
              <a:gd name="T26" fmla="*/ 2147483647 w 180"/>
              <a:gd name="T27" fmla="*/ 2147483647 h 112"/>
              <a:gd name="T28" fmla="*/ 2147483647 w 180"/>
              <a:gd name="T29" fmla="*/ 2147483647 h 112"/>
              <a:gd name="T30" fmla="*/ 2147483647 w 180"/>
              <a:gd name="T31" fmla="*/ 2147483647 h 112"/>
              <a:gd name="T32" fmla="*/ 2147483647 w 180"/>
              <a:gd name="T33" fmla="*/ 2147483647 h 112"/>
              <a:gd name="T34" fmla="*/ 2147483647 w 180"/>
              <a:gd name="T35" fmla="*/ 2147483647 h 112"/>
              <a:gd name="T36" fmla="*/ 2147483647 w 180"/>
              <a:gd name="T37" fmla="*/ 2147483647 h 112"/>
              <a:gd name="T38" fmla="*/ 2147483647 w 180"/>
              <a:gd name="T39" fmla="*/ 2147483647 h 112"/>
              <a:gd name="T40" fmla="*/ 2147483647 w 180"/>
              <a:gd name="T41" fmla="*/ 2147483647 h 112"/>
              <a:gd name="T42" fmla="*/ 2147483647 w 180"/>
              <a:gd name="T43" fmla="*/ 2147483647 h 112"/>
              <a:gd name="T44" fmla="*/ 0 w 180"/>
              <a:gd name="T45" fmla="*/ 2147483647 h 112"/>
              <a:gd name="T46" fmla="*/ 2147483647 w 180"/>
              <a:gd name="T47" fmla="*/ 2147483647 h 112"/>
              <a:gd name="T48" fmla="*/ 2147483647 w 180"/>
              <a:gd name="T49" fmla="*/ 2147483647 h 112"/>
              <a:gd name="T50" fmla="*/ 2147483647 w 180"/>
              <a:gd name="T51" fmla="*/ 2147483647 h 112"/>
              <a:gd name="T52" fmla="*/ 2147483647 w 180"/>
              <a:gd name="T53" fmla="*/ 2147483647 h 112"/>
              <a:gd name="T54" fmla="*/ 2147483647 w 180"/>
              <a:gd name="T55" fmla="*/ 2147483647 h 112"/>
              <a:gd name="T56" fmla="*/ 2147483647 w 180"/>
              <a:gd name="T57" fmla="*/ 0 h 112"/>
              <a:gd name="T58" fmla="*/ 2147483647 w 180"/>
              <a:gd name="T59" fmla="*/ 2147483647 h 112"/>
              <a:gd name="T60" fmla="*/ 2147483647 w 180"/>
              <a:gd name="T61" fmla="*/ 2147483647 h 112"/>
              <a:gd name="T62" fmla="*/ 2147483647 w 180"/>
              <a:gd name="T63" fmla="*/ 2147483647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cmpd="sng">
            <a:solidFill>
              <a:srgbClr val="FFFFFF"/>
            </a:solidFill>
            <a:prstDash val="solid"/>
            <a:round/>
            <a:headEnd/>
            <a:tailEnd/>
          </a:ln>
        </p:spPr>
        <p:txBody>
          <a:bodyPr/>
          <a:lstStyle/>
          <a:p>
            <a:endParaRPr lang="en-AU"/>
          </a:p>
        </p:txBody>
      </p:sp>
      <p:sp>
        <p:nvSpPr>
          <p:cNvPr id="2240" name="Freeform 264"/>
          <p:cNvSpPr>
            <a:spLocks/>
          </p:cNvSpPr>
          <p:nvPr>
            <p:custDataLst>
              <p:tags r:id="rId191"/>
            </p:custDataLst>
          </p:nvPr>
        </p:nvSpPr>
        <p:spPr bwMode="auto">
          <a:xfrm>
            <a:off x="3678238" y="3349625"/>
            <a:ext cx="74612" cy="100013"/>
          </a:xfrm>
          <a:custGeom>
            <a:avLst/>
            <a:gdLst>
              <a:gd name="T0" fmla="*/ 0 w 173"/>
              <a:gd name="T1" fmla="*/ 2147483647 h 192"/>
              <a:gd name="T2" fmla="*/ 2147483647 w 173"/>
              <a:gd name="T3" fmla="*/ 2147483647 h 192"/>
              <a:gd name="T4" fmla="*/ 2147483647 w 173"/>
              <a:gd name="T5" fmla="*/ 2147483647 h 192"/>
              <a:gd name="T6" fmla="*/ 2147483647 w 173"/>
              <a:gd name="T7" fmla="*/ 2147483647 h 192"/>
              <a:gd name="T8" fmla="*/ 2147483647 w 173"/>
              <a:gd name="T9" fmla="*/ 2147483647 h 192"/>
              <a:gd name="T10" fmla="*/ 2147483647 w 173"/>
              <a:gd name="T11" fmla="*/ 2147483647 h 192"/>
              <a:gd name="T12" fmla="*/ 2147483647 w 173"/>
              <a:gd name="T13" fmla="*/ 2147483647 h 192"/>
              <a:gd name="T14" fmla="*/ 2147483647 w 173"/>
              <a:gd name="T15" fmla="*/ 2147483647 h 192"/>
              <a:gd name="T16" fmla="*/ 2147483647 w 173"/>
              <a:gd name="T17" fmla="*/ 2147483647 h 192"/>
              <a:gd name="T18" fmla="*/ 2147483647 w 173"/>
              <a:gd name="T19" fmla="*/ 2147483647 h 192"/>
              <a:gd name="T20" fmla="*/ 2147483647 w 173"/>
              <a:gd name="T21" fmla="*/ 0 h 192"/>
              <a:gd name="T22" fmla="*/ 2147483647 w 173"/>
              <a:gd name="T23" fmla="*/ 2147483647 h 192"/>
              <a:gd name="T24" fmla="*/ 2147483647 w 173"/>
              <a:gd name="T25" fmla="*/ 2147483647 h 192"/>
              <a:gd name="T26" fmla="*/ 2147483647 w 173"/>
              <a:gd name="T27" fmla="*/ 2147483647 h 192"/>
              <a:gd name="T28" fmla="*/ 2147483647 w 173"/>
              <a:gd name="T29" fmla="*/ 2147483647 h 192"/>
              <a:gd name="T30" fmla="*/ 2147483647 w 173"/>
              <a:gd name="T31" fmla="*/ 2147483647 h 192"/>
              <a:gd name="T32" fmla="*/ 2147483647 w 173"/>
              <a:gd name="T33" fmla="*/ 2147483647 h 192"/>
              <a:gd name="T34" fmla="*/ 2147483647 w 173"/>
              <a:gd name="T35" fmla="*/ 2147483647 h 192"/>
              <a:gd name="T36" fmla="*/ 2147483647 w 173"/>
              <a:gd name="T37" fmla="*/ 2147483647 h 192"/>
              <a:gd name="T38" fmla="*/ 2147483647 w 173"/>
              <a:gd name="T39" fmla="*/ 2147483647 h 192"/>
              <a:gd name="T40" fmla="*/ 2147483647 w 173"/>
              <a:gd name="T41" fmla="*/ 2147483647 h 192"/>
              <a:gd name="T42" fmla="*/ 2147483647 w 173"/>
              <a:gd name="T43" fmla="*/ 2147483647 h 192"/>
              <a:gd name="T44" fmla="*/ 2147483647 w 173"/>
              <a:gd name="T45" fmla="*/ 2147483647 h 192"/>
              <a:gd name="T46" fmla="*/ 2147483647 w 173"/>
              <a:gd name="T47" fmla="*/ 2147483647 h 192"/>
              <a:gd name="T48" fmla="*/ 2147483647 w 173"/>
              <a:gd name="T49" fmla="*/ 2147483647 h 192"/>
              <a:gd name="T50" fmla="*/ 2147483647 w 173"/>
              <a:gd name="T51" fmla="*/ 2147483647 h 192"/>
              <a:gd name="T52" fmla="*/ 2147483647 w 173"/>
              <a:gd name="T53" fmla="*/ 2147483647 h 192"/>
              <a:gd name="T54" fmla="*/ 2147483647 w 173"/>
              <a:gd name="T55" fmla="*/ 2147483647 h 192"/>
              <a:gd name="T56" fmla="*/ 2147483647 w 173"/>
              <a:gd name="T57" fmla="*/ 2147483647 h 192"/>
              <a:gd name="T58" fmla="*/ 2147483647 w 173"/>
              <a:gd name="T59" fmla="*/ 2147483647 h 192"/>
              <a:gd name="T60" fmla="*/ 2147483647 w 173"/>
              <a:gd name="T61" fmla="*/ 2147483647 h 192"/>
              <a:gd name="T62" fmla="*/ 2147483647 w 173"/>
              <a:gd name="T63" fmla="*/ 2147483647 h 192"/>
              <a:gd name="T64" fmla="*/ 2147483647 w 173"/>
              <a:gd name="T65" fmla="*/ 2147483647 h 192"/>
              <a:gd name="T66" fmla="*/ 2147483647 w 173"/>
              <a:gd name="T67" fmla="*/ 2147483647 h 192"/>
              <a:gd name="T68" fmla="*/ 2147483647 w 173"/>
              <a:gd name="T69" fmla="*/ 2147483647 h 192"/>
              <a:gd name="T70" fmla="*/ 2147483647 w 173"/>
              <a:gd name="T71" fmla="*/ 2147483647 h 192"/>
              <a:gd name="T72" fmla="*/ 2147483647 w 173"/>
              <a:gd name="T73" fmla="*/ 2147483647 h 192"/>
              <a:gd name="T74" fmla="*/ 2147483647 w 173"/>
              <a:gd name="T75" fmla="*/ 2147483647 h 192"/>
              <a:gd name="T76" fmla="*/ 2147483647 w 173"/>
              <a:gd name="T77" fmla="*/ 2147483647 h 192"/>
              <a:gd name="T78" fmla="*/ 2147483647 w 173"/>
              <a:gd name="T79" fmla="*/ 2147483647 h 192"/>
              <a:gd name="T80" fmla="*/ 2147483647 w 173"/>
              <a:gd name="T81" fmla="*/ 2147483647 h 192"/>
              <a:gd name="T82" fmla="*/ 2147483647 w 173"/>
              <a:gd name="T83" fmla="*/ 2147483647 h 192"/>
              <a:gd name="T84" fmla="*/ 0 w 173"/>
              <a:gd name="T85" fmla="*/ 2147483647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cmpd="sng">
            <a:solidFill>
              <a:srgbClr val="FFFFFF"/>
            </a:solidFill>
            <a:prstDash val="solid"/>
            <a:round/>
            <a:headEnd/>
            <a:tailEnd/>
          </a:ln>
        </p:spPr>
        <p:txBody>
          <a:bodyPr/>
          <a:lstStyle/>
          <a:p>
            <a:endParaRPr lang="en-AU"/>
          </a:p>
        </p:txBody>
      </p:sp>
      <p:sp>
        <p:nvSpPr>
          <p:cNvPr id="2241" name="Freeform 265"/>
          <p:cNvSpPr>
            <a:spLocks/>
          </p:cNvSpPr>
          <p:nvPr>
            <p:custDataLst>
              <p:tags r:id="rId192"/>
            </p:custDataLst>
          </p:nvPr>
        </p:nvSpPr>
        <p:spPr bwMode="auto">
          <a:xfrm>
            <a:off x="3721100" y="3400425"/>
            <a:ext cx="104775" cy="131763"/>
          </a:xfrm>
          <a:custGeom>
            <a:avLst/>
            <a:gdLst>
              <a:gd name="T0" fmla="*/ 2147483647 w 233"/>
              <a:gd name="T1" fmla="*/ 0 h 252"/>
              <a:gd name="T2" fmla="*/ 2147483647 w 233"/>
              <a:gd name="T3" fmla="*/ 2147483647 h 252"/>
              <a:gd name="T4" fmla="*/ 2147483647 w 233"/>
              <a:gd name="T5" fmla="*/ 2147483647 h 252"/>
              <a:gd name="T6" fmla="*/ 2147483647 w 233"/>
              <a:gd name="T7" fmla="*/ 2147483647 h 252"/>
              <a:gd name="T8" fmla="*/ 2147483647 w 233"/>
              <a:gd name="T9" fmla="*/ 2147483647 h 252"/>
              <a:gd name="T10" fmla="*/ 2147483647 w 233"/>
              <a:gd name="T11" fmla="*/ 2147483647 h 252"/>
              <a:gd name="T12" fmla="*/ 2147483647 w 233"/>
              <a:gd name="T13" fmla="*/ 0 h 252"/>
              <a:gd name="T14" fmla="*/ 2147483647 w 233"/>
              <a:gd name="T15" fmla="*/ 2147483647 h 252"/>
              <a:gd name="T16" fmla="*/ 2147483647 w 233"/>
              <a:gd name="T17" fmla="*/ 2147483647 h 252"/>
              <a:gd name="T18" fmla="*/ 2147483647 w 233"/>
              <a:gd name="T19" fmla="*/ 2147483647 h 252"/>
              <a:gd name="T20" fmla="*/ 2147483647 w 233"/>
              <a:gd name="T21" fmla="*/ 2147483647 h 252"/>
              <a:gd name="T22" fmla="*/ 2147483647 w 233"/>
              <a:gd name="T23" fmla="*/ 2147483647 h 252"/>
              <a:gd name="T24" fmla="*/ 2147483647 w 233"/>
              <a:gd name="T25" fmla="*/ 2147483647 h 252"/>
              <a:gd name="T26" fmla="*/ 2147483647 w 233"/>
              <a:gd name="T27" fmla="*/ 2147483647 h 252"/>
              <a:gd name="T28" fmla="*/ 2147483647 w 233"/>
              <a:gd name="T29" fmla="*/ 2147483647 h 252"/>
              <a:gd name="T30" fmla="*/ 2147483647 w 233"/>
              <a:gd name="T31" fmla="*/ 2147483647 h 252"/>
              <a:gd name="T32" fmla="*/ 2147483647 w 233"/>
              <a:gd name="T33" fmla="*/ 2147483647 h 252"/>
              <a:gd name="T34" fmla="*/ 2147483647 w 233"/>
              <a:gd name="T35" fmla="*/ 2147483647 h 252"/>
              <a:gd name="T36" fmla="*/ 2147483647 w 233"/>
              <a:gd name="T37" fmla="*/ 2147483647 h 252"/>
              <a:gd name="T38" fmla="*/ 2147483647 w 233"/>
              <a:gd name="T39" fmla="*/ 2147483647 h 252"/>
              <a:gd name="T40" fmla="*/ 2147483647 w 233"/>
              <a:gd name="T41" fmla="*/ 2147483647 h 252"/>
              <a:gd name="T42" fmla="*/ 2147483647 w 233"/>
              <a:gd name="T43" fmla="*/ 2147483647 h 252"/>
              <a:gd name="T44" fmla="*/ 2147483647 w 233"/>
              <a:gd name="T45" fmla="*/ 2147483647 h 252"/>
              <a:gd name="T46" fmla="*/ 2147483647 w 233"/>
              <a:gd name="T47" fmla="*/ 2147483647 h 252"/>
              <a:gd name="T48" fmla="*/ 2147483647 w 233"/>
              <a:gd name="T49" fmla="*/ 2147483647 h 252"/>
              <a:gd name="T50" fmla="*/ 2147483647 w 233"/>
              <a:gd name="T51" fmla="*/ 2147483647 h 252"/>
              <a:gd name="T52" fmla="*/ 2147483647 w 233"/>
              <a:gd name="T53" fmla="*/ 2147483647 h 252"/>
              <a:gd name="T54" fmla="*/ 2147483647 w 233"/>
              <a:gd name="T55" fmla="*/ 2147483647 h 252"/>
              <a:gd name="T56" fmla="*/ 2147483647 w 233"/>
              <a:gd name="T57" fmla="*/ 2147483647 h 252"/>
              <a:gd name="T58" fmla="*/ 2147483647 w 233"/>
              <a:gd name="T59" fmla="*/ 2147483647 h 252"/>
              <a:gd name="T60" fmla="*/ 2147483647 w 233"/>
              <a:gd name="T61" fmla="*/ 2147483647 h 252"/>
              <a:gd name="T62" fmla="*/ 2147483647 w 233"/>
              <a:gd name="T63" fmla="*/ 2147483647 h 252"/>
              <a:gd name="T64" fmla="*/ 2147483647 w 233"/>
              <a:gd name="T65" fmla="*/ 2147483647 h 252"/>
              <a:gd name="T66" fmla="*/ 2147483647 w 233"/>
              <a:gd name="T67" fmla="*/ 2147483647 h 252"/>
              <a:gd name="T68" fmla="*/ 2147483647 w 233"/>
              <a:gd name="T69" fmla="*/ 2147483647 h 252"/>
              <a:gd name="T70" fmla="*/ 2147483647 w 233"/>
              <a:gd name="T71" fmla="*/ 2147483647 h 252"/>
              <a:gd name="T72" fmla="*/ 2147483647 w 233"/>
              <a:gd name="T73" fmla="*/ 2147483647 h 252"/>
              <a:gd name="T74" fmla="*/ 2147483647 w 233"/>
              <a:gd name="T75" fmla="*/ 2147483647 h 252"/>
              <a:gd name="T76" fmla="*/ 2147483647 w 233"/>
              <a:gd name="T77" fmla="*/ 2147483647 h 252"/>
              <a:gd name="T78" fmla="*/ 2147483647 w 233"/>
              <a:gd name="T79" fmla="*/ 2147483647 h 252"/>
              <a:gd name="T80" fmla="*/ 2147483647 w 233"/>
              <a:gd name="T81" fmla="*/ 2147483647 h 252"/>
              <a:gd name="T82" fmla="*/ 2147483647 w 233"/>
              <a:gd name="T83" fmla="*/ 2147483647 h 252"/>
              <a:gd name="T84" fmla="*/ 2147483647 w 233"/>
              <a:gd name="T85" fmla="*/ 2147483647 h 252"/>
              <a:gd name="T86" fmla="*/ 2147483647 w 233"/>
              <a:gd name="T87" fmla="*/ 2147483647 h 252"/>
              <a:gd name="T88" fmla="*/ 2147483647 w 233"/>
              <a:gd name="T89" fmla="*/ 2147483647 h 252"/>
              <a:gd name="T90" fmla="*/ 2147483647 w 233"/>
              <a:gd name="T91" fmla="*/ 2147483647 h 252"/>
              <a:gd name="T92" fmla="*/ 2147483647 w 233"/>
              <a:gd name="T93" fmla="*/ 2147483647 h 252"/>
              <a:gd name="T94" fmla="*/ 0 w 233"/>
              <a:gd name="T95" fmla="*/ 2147483647 h 252"/>
              <a:gd name="T96" fmla="*/ 2147483647 w 233"/>
              <a:gd name="T97" fmla="*/ 2147483647 h 252"/>
              <a:gd name="T98" fmla="*/ 2147483647 w 233"/>
              <a:gd name="T99" fmla="*/ 2147483647 h 252"/>
              <a:gd name="T100" fmla="*/ 2147483647 w 233"/>
              <a:gd name="T101" fmla="*/ 2147483647 h 252"/>
              <a:gd name="T102" fmla="*/ 2147483647 w 233"/>
              <a:gd name="T103" fmla="*/ 2147483647 h 252"/>
              <a:gd name="T104" fmla="*/ 2147483647 w 233"/>
              <a:gd name="T105" fmla="*/ 2147483647 h 252"/>
              <a:gd name="T106" fmla="*/ 2147483647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cmpd="sng">
            <a:solidFill>
              <a:srgbClr val="FFFFFF"/>
            </a:solidFill>
            <a:prstDash val="solid"/>
            <a:round/>
            <a:headEnd/>
            <a:tailEnd/>
          </a:ln>
        </p:spPr>
        <p:txBody>
          <a:bodyPr/>
          <a:lstStyle/>
          <a:p>
            <a:endParaRPr lang="en-AU"/>
          </a:p>
        </p:txBody>
      </p:sp>
      <p:sp>
        <p:nvSpPr>
          <p:cNvPr id="2242" name="Freeform 266"/>
          <p:cNvSpPr>
            <a:spLocks/>
          </p:cNvSpPr>
          <p:nvPr>
            <p:custDataLst>
              <p:tags r:id="rId193"/>
            </p:custDataLst>
          </p:nvPr>
        </p:nvSpPr>
        <p:spPr bwMode="auto">
          <a:xfrm>
            <a:off x="3935413" y="3319463"/>
            <a:ext cx="104775" cy="201612"/>
          </a:xfrm>
          <a:custGeom>
            <a:avLst/>
            <a:gdLst>
              <a:gd name="T0" fmla="*/ 2147483647 w 246"/>
              <a:gd name="T1" fmla="*/ 2147483647 h 380"/>
              <a:gd name="T2" fmla="*/ 2147483647 w 246"/>
              <a:gd name="T3" fmla="*/ 2147483647 h 380"/>
              <a:gd name="T4" fmla="*/ 2147483647 w 246"/>
              <a:gd name="T5" fmla="*/ 2147483647 h 380"/>
              <a:gd name="T6" fmla="*/ 2147483647 w 246"/>
              <a:gd name="T7" fmla="*/ 2147483647 h 380"/>
              <a:gd name="T8" fmla="*/ 2147483647 w 246"/>
              <a:gd name="T9" fmla="*/ 2147483647 h 380"/>
              <a:gd name="T10" fmla="*/ 2147483647 w 246"/>
              <a:gd name="T11" fmla="*/ 2147483647 h 380"/>
              <a:gd name="T12" fmla="*/ 2147483647 w 246"/>
              <a:gd name="T13" fmla="*/ 2147483647 h 380"/>
              <a:gd name="T14" fmla="*/ 2147483647 w 246"/>
              <a:gd name="T15" fmla="*/ 2147483647 h 380"/>
              <a:gd name="T16" fmla="*/ 2147483647 w 246"/>
              <a:gd name="T17" fmla="*/ 2147483647 h 380"/>
              <a:gd name="T18" fmla="*/ 2147483647 w 246"/>
              <a:gd name="T19" fmla="*/ 2147483647 h 380"/>
              <a:gd name="T20" fmla="*/ 2147483647 w 246"/>
              <a:gd name="T21" fmla="*/ 2147483647 h 380"/>
              <a:gd name="T22" fmla="*/ 2147483647 w 246"/>
              <a:gd name="T23" fmla="*/ 2147483647 h 380"/>
              <a:gd name="T24" fmla="*/ 2147483647 w 246"/>
              <a:gd name="T25" fmla="*/ 2147483647 h 380"/>
              <a:gd name="T26" fmla="*/ 2147483647 w 246"/>
              <a:gd name="T27" fmla="*/ 2147483647 h 380"/>
              <a:gd name="T28" fmla="*/ 0 w 246"/>
              <a:gd name="T29" fmla="*/ 2147483647 h 380"/>
              <a:gd name="T30" fmla="*/ 2147483647 w 246"/>
              <a:gd name="T31" fmla="*/ 2147483647 h 380"/>
              <a:gd name="T32" fmla="*/ 2147483647 w 246"/>
              <a:gd name="T33" fmla="*/ 2147483647 h 380"/>
              <a:gd name="T34" fmla="*/ 2147483647 w 246"/>
              <a:gd name="T35" fmla="*/ 2147483647 h 380"/>
              <a:gd name="T36" fmla="*/ 2147483647 w 246"/>
              <a:gd name="T37" fmla="*/ 2147483647 h 380"/>
              <a:gd name="T38" fmla="*/ 2147483647 w 246"/>
              <a:gd name="T39" fmla="*/ 2147483647 h 380"/>
              <a:gd name="T40" fmla="*/ 2147483647 w 246"/>
              <a:gd name="T41" fmla="*/ 2147483647 h 380"/>
              <a:gd name="T42" fmla="*/ 2147483647 w 246"/>
              <a:gd name="T43" fmla="*/ 2147483647 h 380"/>
              <a:gd name="T44" fmla="*/ 2147483647 w 246"/>
              <a:gd name="T45" fmla="*/ 2147483647 h 380"/>
              <a:gd name="T46" fmla="*/ 2147483647 w 246"/>
              <a:gd name="T47" fmla="*/ 2147483647 h 380"/>
              <a:gd name="T48" fmla="*/ 2147483647 w 246"/>
              <a:gd name="T49" fmla="*/ 2147483647 h 380"/>
              <a:gd name="T50" fmla="*/ 2147483647 w 246"/>
              <a:gd name="T51" fmla="*/ 2147483647 h 380"/>
              <a:gd name="T52" fmla="*/ 2147483647 w 246"/>
              <a:gd name="T53" fmla="*/ 2147483647 h 380"/>
              <a:gd name="T54" fmla="*/ 2147483647 w 246"/>
              <a:gd name="T55" fmla="*/ 2147483647 h 380"/>
              <a:gd name="T56" fmla="*/ 2147483647 w 246"/>
              <a:gd name="T57" fmla="*/ 2147483647 h 380"/>
              <a:gd name="T58" fmla="*/ 2147483647 w 246"/>
              <a:gd name="T59" fmla="*/ 2147483647 h 380"/>
              <a:gd name="T60" fmla="*/ 2147483647 w 246"/>
              <a:gd name="T61" fmla="*/ 2147483647 h 380"/>
              <a:gd name="T62" fmla="*/ 2147483647 w 246"/>
              <a:gd name="T63" fmla="*/ 0 h 380"/>
              <a:gd name="T64" fmla="*/ 2147483647 w 246"/>
              <a:gd name="T65" fmla="*/ 0 h 380"/>
              <a:gd name="T66" fmla="*/ 2147483647 w 246"/>
              <a:gd name="T67" fmla="*/ 2147483647 h 380"/>
              <a:gd name="T68" fmla="*/ 2147483647 w 246"/>
              <a:gd name="T69" fmla="*/ 2147483647 h 380"/>
              <a:gd name="T70" fmla="*/ 2147483647 w 246"/>
              <a:gd name="T71" fmla="*/ 2147483647 h 380"/>
              <a:gd name="T72" fmla="*/ 2147483647 w 246"/>
              <a:gd name="T73" fmla="*/ 2147483647 h 380"/>
              <a:gd name="T74" fmla="*/ 2147483647 w 246"/>
              <a:gd name="T75" fmla="*/ 2147483647 h 380"/>
              <a:gd name="T76" fmla="*/ 2147483647 w 246"/>
              <a:gd name="T77" fmla="*/ 2147483647 h 380"/>
              <a:gd name="T78" fmla="*/ 2147483647 w 246"/>
              <a:gd name="T79" fmla="*/ 2147483647 h 380"/>
              <a:gd name="T80" fmla="*/ 2147483647 w 246"/>
              <a:gd name="T81" fmla="*/ 2147483647 h 380"/>
              <a:gd name="T82" fmla="*/ 2147483647 w 246"/>
              <a:gd name="T83" fmla="*/ 2147483647 h 380"/>
              <a:gd name="T84" fmla="*/ 2147483647 w 246"/>
              <a:gd name="T85" fmla="*/ 2147483647 h 380"/>
              <a:gd name="T86" fmla="*/ 2147483647 w 246"/>
              <a:gd name="T87" fmla="*/ 2147483647 h 380"/>
              <a:gd name="T88" fmla="*/ 2147483647 w 246"/>
              <a:gd name="T89" fmla="*/ 2147483647 h 380"/>
              <a:gd name="T90" fmla="*/ 2147483647 w 246"/>
              <a:gd name="T91" fmla="*/ 2147483647 h 380"/>
              <a:gd name="T92" fmla="*/ 2147483647 w 246"/>
              <a:gd name="T93" fmla="*/ 2147483647 h 380"/>
              <a:gd name="T94" fmla="*/ 2147483647 w 246"/>
              <a:gd name="T95" fmla="*/ 2147483647 h 380"/>
              <a:gd name="T96" fmla="*/ 2147483647 w 246"/>
              <a:gd name="T97" fmla="*/ 2147483647 h 380"/>
              <a:gd name="T98" fmla="*/ 2147483647 w 246"/>
              <a:gd name="T99" fmla="*/ 2147483647 h 380"/>
              <a:gd name="T100" fmla="*/ 2147483647 w 246"/>
              <a:gd name="T101" fmla="*/ 2147483647 h 380"/>
              <a:gd name="T102" fmla="*/ 2147483647 w 246"/>
              <a:gd name="T103" fmla="*/ 2147483647 h 380"/>
              <a:gd name="T104" fmla="*/ 2147483647 w 246"/>
              <a:gd name="T105" fmla="*/ 2147483647 h 380"/>
              <a:gd name="T106" fmla="*/ 2147483647 w 246"/>
              <a:gd name="T107" fmla="*/ 2147483647 h 380"/>
              <a:gd name="T108" fmla="*/ 2147483647 w 246"/>
              <a:gd name="T109" fmla="*/ 2147483647 h 380"/>
              <a:gd name="T110" fmla="*/ 2147483647 w 246"/>
              <a:gd name="T111" fmla="*/ 2147483647 h 380"/>
              <a:gd name="T112" fmla="*/ 2147483647 w 246"/>
              <a:gd name="T113" fmla="*/ 2147483647 h 380"/>
              <a:gd name="T114" fmla="*/ 2147483647 w 246"/>
              <a:gd name="T115" fmla="*/ 2147483647 h 380"/>
              <a:gd name="T116" fmla="*/ 2147483647 w 246"/>
              <a:gd name="T117" fmla="*/ 2147483647 h 380"/>
              <a:gd name="T118" fmla="*/ 2147483647 w 246"/>
              <a:gd name="T119" fmla="*/ 2147483647 h 380"/>
              <a:gd name="T120" fmla="*/ 2147483647 w 246"/>
              <a:gd name="T121" fmla="*/ 2147483647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cmpd="sng">
            <a:solidFill>
              <a:srgbClr val="FFFFFF"/>
            </a:solidFill>
            <a:prstDash val="solid"/>
            <a:round/>
            <a:headEnd/>
            <a:tailEnd/>
          </a:ln>
        </p:spPr>
        <p:txBody>
          <a:bodyPr/>
          <a:lstStyle/>
          <a:p>
            <a:endParaRPr lang="en-AU"/>
          </a:p>
        </p:txBody>
      </p:sp>
      <p:sp>
        <p:nvSpPr>
          <p:cNvPr id="2243" name="Freeform 267"/>
          <p:cNvSpPr>
            <a:spLocks/>
          </p:cNvSpPr>
          <p:nvPr>
            <p:custDataLst>
              <p:tags r:id="rId194"/>
            </p:custDataLst>
          </p:nvPr>
        </p:nvSpPr>
        <p:spPr bwMode="auto">
          <a:xfrm>
            <a:off x="3587750" y="3235325"/>
            <a:ext cx="87313" cy="58738"/>
          </a:xfrm>
          <a:custGeom>
            <a:avLst/>
            <a:gdLst>
              <a:gd name="T0" fmla="*/ 2147483647 w 193"/>
              <a:gd name="T1" fmla="*/ 2147483647 h 38"/>
              <a:gd name="T2" fmla="*/ 2147483647 w 193"/>
              <a:gd name="T3" fmla="*/ 2147483647 h 38"/>
              <a:gd name="T4" fmla="*/ 2147483647 w 193"/>
              <a:gd name="T5" fmla="*/ 2147483647 h 38"/>
              <a:gd name="T6" fmla="*/ 2147483647 w 193"/>
              <a:gd name="T7" fmla="*/ 2147483647 h 38"/>
              <a:gd name="T8" fmla="*/ 2147483647 w 193"/>
              <a:gd name="T9" fmla="*/ 2147483647 h 38"/>
              <a:gd name="T10" fmla="*/ 2147483647 w 193"/>
              <a:gd name="T11" fmla="*/ 2147483647 h 38"/>
              <a:gd name="T12" fmla="*/ 2147483647 w 193"/>
              <a:gd name="T13" fmla="*/ 0 h 38"/>
              <a:gd name="T14" fmla="*/ 2147483647 w 193"/>
              <a:gd name="T15" fmla="*/ 2147483647 h 38"/>
              <a:gd name="T16" fmla="*/ 2147483647 w 193"/>
              <a:gd name="T17" fmla="*/ 2147483647 h 38"/>
              <a:gd name="T18" fmla="*/ 2147483647 w 193"/>
              <a:gd name="T19" fmla="*/ 2147483647 h 38"/>
              <a:gd name="T20" fmla="*/ 2147483647 w 193"/>
              <a:gd name="T21" fmla="*/ 2147483647 h 38"/>
              <a:gd name="T22" fmla="*/ 2147483647 w 193"/>
              <a:gd name="T23" fmla="*/ 2147483647 h 38"/>
              <a:gd name="T24" fmla="*/ 2147483647 w 193"/>
              <a:gd name="T25" fmla="*/ 2147483647 h 38"/>
              <a:gd name="T26" fmla="*/ 2147483647 w 193"/>
              <a:gd name="T27" fmla="*/ 2147483647 h 38"/>
              <a:gd name="T28" fmla="*/ 2147483647 w 193"/>
              <a:gd name="T29" fmla="*/ 2147483647 h 38"/>
              <a:gd name="T30" fmla="*/ 2147483647 w 193"/>
              <a:gd name="T31" fmla="*/ 2147483647 h 38"/>
              <a:gd name="T32" fmla="*/ 2147483647 w 193"/>
              <a:gd name="T33" fmla="*/ 2147483647 h 38"/>
              <a:gd name="T34" fmla="*/ 2147483647 w 193"/>
              <a:gd name="T35" fmla="*/ 2147483647 h 38"/>
              <a:gd name="T36" fmla="*/ 2147483647 w 193"/>
              <a:gd name="T37" fmla="*/ 2147483647 h 38"/>
              <a:gd name="T38" fmla="*/ 2147483647 w 193"/>
              <a:gd name="T39" fmla="*/ 2147483647 h 38"/>
              <a:gd name="T40" fmla="*/ 2147483647 w 193"/>
              <a:gd name="T41" fmla="*/ 2147483647 h 38"/>
              <a:gd name="T42" fmla="*/ 2147483647 w 193"/>
              <a:gd name="T43" fmla="*/ 2147483647 h 38"/>
              <a:gd name="T44" fmla="*/ 2147483647 w 193"/>
              <a:gd name="T45" fmla="*/ 2147483647 h 38"/>
              <a:gd name="T46" fmla="*/ 2147483647 w 193"/>
              <a:gd name="T47" fmla="*/ 2147483647 h 38"/>
              <a:gd name="T48" fmla="*/ 2147483647 w 193"/>
              <a:gd name="T49" fmla="*/ 2147483647 h 38"/>
              <a:gd name="T50" fmla="*/ 2147483647 w 193"/>
              <a:gd name="T51" fmla="*/ 2147483647 h 38"/>
              <a:gd name="T52" fmla="*/ 2147483647 w 193"/>
              <a:gd name="T53" fmla="*/ 2147483647 h 38"/>
              <a:gd name="T54" fmla="*/ 2147483647 w 193"/>
              <a:gd name="T55" fmla="*/ 2147483647 h 38"/>
              <a:gd name="T56" fmla="*/ 2147483647 w 193"/>
              <a:gd name="T57" fmla="*/ 2147483647 h 38"/>
              <a:gd name="T58" fmla="*/ 2147483647 w 193"/>
              <a:gd name="T59" fmla="*/ 2147483647 h 38"/>
              <a:gd name="T60" fmla="*/ 0 w 193"/>
              <a:gd name="T61" fmla="*/ 2147483647 h 38"/>
              <a:gd name="T62" fmla="*/ 0 w 193"/>
              <a:gd name="T63" fmla="*/ 2147483647 h 38"/>
              <a:gd name="T64" fmla="*/ 2147483647 w 193"/>
              <a:gd name="T65" fmla="*/ 2147483647 h 38"/>
              <a:gd name="T66" fmla="*/ 2147483647 w 193"/>
              <a:gd name="T67" fmla="*/ 2147483647 h 38"/>
              <a:gd name="T68" fmla="*/ 2147483647 w 193"/>
              <a:gd name="T69" fmla="*/ 2147483647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mpd="sng">
            <a:solidFill>
              <a:srgbClr val="FFFFFF"/>
            </a:solidFill>
            <a:prstDash val="solid"/>
            <a:round/>
            <a:headEnd/>
            <a:tailEnd/>
          </a:ln>
        </p:spPr>
        <p:txBody>
          <a:bodyPr/>
          <a:lstStyle/>
          <a:p>
            <a:endParaRPr lang="en-AU"/>
          </a:p>
        </p:txBody>
      </p:sp>
      <p:sp>
        <p:nvSpPr>
          <p:cNvPr id="2244" name="Freeform 268"/>
          <p:cNvSpPr>
            <a:spLocks/>
          </p:cNvSpPr>
          <p:nvPr>
            <p:custDataLst>
              <p:tags r:id="rId195"/>
            </p:custDataLst>
          </p:nvPr>
        </p:nvSpPr>
        <p:spPr bwMode="auto">
          <a:xfrm>
            <a:off x="4013200" y="3313113"/>
            <a:ext cx="42863" cy="155575"/>
          </a:xfrm>
          <a:custGeom>
            <a:avLst/>
            <a:gdLst>
              <a:gd name="T0" fmla="*/ 2147483647 w 99"/>
              <a:gd name="T1" fmla="*/ 2147483647 h 301"/>
              <a:gd name="T2" fmla="*/ 2147483647 w 99"/>
              <a:gd name="T3" fmla="*/ 2147483647 h 301"/>
              <a:gd name="T4" fmla="*/ 2147483647 w 99"/>
              <a:gd name="T5" fmla="*/ 2147483647 h 301"/>
              <a:gd name="T6" fmla="*/ 2147483647 w 99"/>
              <a:gd name="T7" fmla="*/ 2147483647 h 301"/>
              <a:gd name="T8" fmla="*/ 2147483647 w 99"/>
              <a:gd name="T9" fmla="*/ 2147483647 h 301"/>
              <a:gd name="T10" fmla="*/ 2147483647 w 99"/>
              <a:gd name="T11" fmla="*/ 2147483647 h 301"/>
              <a:gd name="T12" fmla="*/ 2147483647 w 99"/>
              <a:gd name="T13" fmla="*/ 2147483647 h 301"/>
              <a:gd name="T14" fmla="*/ 2147483647 w 99"/>
              <a:gd name="T15" fmla="*/ 2147483647 h 301"/>
              <a:gd name="T16" fmla="*/ 2147483647 w 99"/>
              <a:gd name="T17" fmla="*/ 2147483647 h 301"/>
              <a:gd name="T18" fmla="*/ 2147483647 w 99"/>
              <a:gd name="T19" fmla="*/ 2147483647 h 301"/>
              <a:gd name="T20" fmla="*/ 2147483647 w 99"/>
              <a:gd name="T21" fmla="*/ 2147483647 h 301"/>
              <a:gd name="T22" fmla="*/ 2147483647 w 99"/>
              <a:gd name="T23" fmla="*/ 2147483647 h 301"/>
              <a:gd name="T24" fmla="*/ 2147483647 w 99"/>
              <a:gd name="T25" fmla="*/ 2147483647 h 301"/>
              <a:gd name="T26" fmla="*/ 2147483647 w 99"/>
              <a:gd name="T27" fmla="*/ 2147483647 h 301"/>
              <a:gd name="T28" fmla="*/ 2147483647 w 99"/>
              <a:gd name="T29" fmla="*/ 2147483647 h 301"/>
              <a:gd name="T30" fmla="*/ 2147483647 w 99"/>
              <a:gd name="T31" fmla="*/ 2147483647 h 301"/>
              <a:gd name="T32" fmla="*/ 2147483647 w 99"/>
              <a:gd name="T33" fmla="*/ 2147483647 h 301"/>
              <a:gd name="T34" fmla="*/ 2147483647 w 99"/>
              <a:gd name="T35" fmla="*/ 2147483647 h 301"/>
              <a:gd name="T36" fmla="*/ 2147483647 w 99"/>
              <a:gd name="T37" fmla="*/ 2147483647 h 301"/>
              <a:gd name="T38" fmla="*/ 2147483647 w 99"/>
              <a:gd name="T39" fmla="*/ 2147483647 h 301"/>
              <a:gd name="T40" fmla="*/ 2147483647 w 99"/>
              <a:gd name="T41" fmla="*/ 2147483647 h 301"/>
              <a:gd name="T42" fmla="*/ 2147483647 w 99"/>
              <a:gd name="T43" fmla="*/ 2147483647 h 301"/>
              <a:gd name="T44" fmla="*/ 2147483647 w 99"/>
              <a:gd name="T45" fmla="*/ 2147483647 h 301"/>
              <a:gd name="T46" fmla="*/ 2147483647 w 99"/>
              <a:gd name="T47" fmla="*/ 2147483647 h 301"/>
              <a:gd name="T48" fmla="*/ 2147483647 w 99"/>
              <a:gd name="T49" fmla="*/ 2147483647 h 301"/>
              <a:gd name="T50" fmla="*/ 2147483647 w 99"/>
              <a:gd name="T51" fmla="*/ 2147483647 h 301"/>
              <a:gd name="T52" fmla="*/ 2147483647 w 99"/>
              <a:gd name="T53" fmla="*/ 2147483647 h 301"/>
              <a:gd name="T54" fmla="*/ 2147483647 w 99"/>
              <a:gd name="T55" fmla="*/ 2147483647 h 301"/>
              <a:gd name="T56" fmla="*/ 0 w 99"/>
              <a:gd name="T57" fmla="*/ 2147483647 h 301"/>
              <a:gd name="T58" fmla="*/ 2147483647 w 99"/>
              <a:gd name="T59" fmla="*/ 2147483647 h 301"/>
              <a:gd name="T60" fmla="*/ 2147483647 w 99"/>
              <a:gd name="T61" fmla="*/ 0 h 301"/>
              <a:gd name="T62" fmla="*/ 2147483647 w 99"/>
              <a:gd name="T63" fmla="*/ 0 h 301"/>
              <a:gd name="T64" fmla="*/ 2147483647 w 99"/>
              <a:gd name="T65" fmla="*/ 0 h 301"/>
              <a:gd name="T66" fmla="*/ 2147483647 w 99"/>
              <a:gd name="T67" fmla="*/ 0 h 301"/>
              <a:gd name="T68" fmla="*/ 2147483647 w 99"/>
              <a:gd name="T69" fmla="*/ 2147483647 h 301"/>
              <a:gd name="T70" fmla="*/ 2147483647 w 99"/>
              <a:gd name="T71" fmla="*/ 2147483647 h 301"/>
              <a:gd name="T72" fmla="*/ 2147483647 w 99"/>
              <a:gd name="T73" fmla="*/ 2147483647 h 301"/>
              <a:gd name="T74" fmla="*/ 2147483647 w 99"/>
              <a:gd name="T75" fmla="*/ 2147483647 h 301"/>
              <a:gd name="T76" fmla="*/ 2147483647 w 99"/>
              <a:gd name="T77" fmla="*/ 2147483647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cmpd="sng">
            <a:solidFill>
              <a:srgbClr val="FFFFFF"/>
            </a:solidFill>
            <a:prstDash val="solid"/>
            <a:round/>
            <a:headEnd/>
            <a:tailEnd/>
          </a:ln>
        </p:spPr>
        <p:txBody>
          <a:bodyPr/>
          <a:lstStyle/>
          <a:p>
            <a:endParaRPr lang="en-AU"/>
          </a:p>
        </p:txBody>
      </p:sp>
      <p:sp>
        <p:nvSpPr>
          <p:cNvPr id="2245" name="Freeform 269"/>
          <p:cNvSpPr>
            <a:spLocks/>
          </p:cNvSpPr>
          <p:nvPr>
            <p:custDataLst>
              <p:tags r:id="rId196"/>
            </p:custDataLst>
          </p:nvPr>
        </p:nvSpPr>
        <p:spPr bwMode="auto">
          <a:xfrm>
            <a:off x="4038600" y="3275013"/>
            <a:ext cx="76200" cy="188912"/>
          </a:xfrm>
          <a:custGeom>
            <a:avLst/>
            <a:gdLst>
              <a:gd name="T0" fmla="*/ 0 w 173"/>
              <a:gd name="T1" fmla="*/ 2147483647 h 357"/>
              <a:gd name="T2" fmla="*/ 2147483647 w 173"/>
              <a:gd name="T3" fmla="*/ 2147483647 h 357"/>
              <a:gd name="T4" fmla="*/ 2147483647 w 173"/>
              <a:gd name="T5" fmla="*/ 2147483647 h 357"/>
              <a:gd name="T6" fmla="*/ 2147483647 w 173"/>
              <a:gd name="T7" fmla="*/ 2147483647 h 357"/>
              <a:gd name="T8" fmla="*/ 2147483647 w 173"/>
              <a:gd name="T9" fmla="*/ 2147483647 h 357"/>
              <a:gd name="T10" fmla="*/ 2147483647 w 173"/>
              <a:gd name="T11" fmla="*/ 2147483647 h 357"/>
              <a:gd name="T12" fmla="*/ 2147483647 w 173"/>
              <a:gd name="T13" fmla="*/ 2147483647 h 357"/>
              <a:gd name="T14" fmla="*/ 2147483647 w 173"/>
              <a:gd name="T15" fmla="*/ 0 h 357"/>
              <a:gd name="T16" fmla="*/ 2147483647 w 173"/>
              <a:gd name="T17" fmla="*/ 2147483647 h 357"/>
              <a:gd name="T18" fmla="*/ 2147483647 w 173"/>
              <a:gd name="T19" fmla="*/ 2147483647 h 357"/>
              <a:gd name="T20" fmla="*/ 2147483647 w 173"/>
              <a:gd name="T21" fmla="*/ 2147483647 h 357"/>
              <a:gd name="T22" fmla="*/ 2147483647 w 173"/>
              <a:gd name="T23" fmla="*/ 2147483647 h 357"/>
              <a:gd name="T24" fmla="*/ 2147483647 w 173"/>
              <a:gd name="T25" fmla="*/ 2147483647 h 357"/>
              <a:gd name="T26" fmla="*/ 2147483647 w 173"/>
              <a:gd name="T27" fmla="*/ 2147483647 h 357"/>
              <a:gd name="T28" fmla="*/ 2147483647 w 173"/>
              <a:gd name="T29" fmla="*/ 2147483647 h 357"/>
              <a:gd name="T30" fmla="*/ 2147483647 w 173"/>
              <a:gd name="T31" fmla="*/ 2147483647 h 357"/>
              <a:gd name="T32" fmla="*/ 2147483647 w 173"/>
              <a:gd name="T33" fmla="*/ 2147483647 h 357"/>
              <a:gd name="T34" fmla="*/ 2147483647 w 173"/>
              <a:gd name="T35" fmla="*/ 2147483647 h 357"/>
              <a:gd name="T36" fmla="*/ 2147483647 w 173"/>
              <a:gd name="T37" fmla="*/ 2147483647 h 357"/>
              <a:gd name="T38" fmla="*/ 2147483647 w 173"/>
              <a:gd name="T39" fmla="*/ 2147483647 h 357"/>
              <a:gd name="T40" fmla="*/ 2147483647 w 173"/>
              <a:gd name="T41" fmla="*/ 2147483647 h 357"/>
              <a:gd name="T42" fmla="*/ 2147483647 w 173"/>
              <a:gd name="T43" fmla="*/ 2147483647 h 357"/>
              <a:gd name="T44" fmla="*/ 2147483647 w 173"/>
              <a:gd name="T45" fmla="*/ 2147483647 h 357"/>
              <a:gd name="T46" fmla="*/ 2147483647 w 173"/>
              <a:gd name="T47" fmla="*/ 2147483647 h 357"/>
              <a:gd name="T48" fmla="*/ 2147483647 w 173"/>
              <a:gd name="T49" fmla="*/ 2147483647 h 357"/>
              <a:gd name="T50" fmla="*/ 2147483647 w 173"/>
              <a:gd name="T51" fmla="*/ 2147483647 h 357"/>
              <a:gd name="T52" fmla="*/ 2147483647 w 173"/>
              <a:gd name="T53" fmla="*/ 2147483647 h 357"/>
              <a:gd name="T54" fmla="*/ 2147483647 w 173"/>
              <a:gd name="T55" fmla="*/ 2147483647 h 357"/>
              <a:gd name="T56" fmla="*/ 2147483647 w 173"/>
              <a:gd name="T57" fmla="*/ 2147483647 h 357"/>
              <a:gd name="T58" fmla="*/ 2147483647 w 173"/>
              <a:gd name="T59" fmla="*/ 2147483647 h 357"/>
              <a:gd name="T60" fmla="*/ 2147483647 w 173"/>
              <a:gd name="T61" fmla="*/ 2147483647 h 357"/>
              <a:gd name="T62" fmla="*/ 2147483647 w 173"/>
              <a:gd name="T63" fmla="*/ 2147483647 h 357"/>
              <a:gd name="T64" fmla="*/ 2147483647 w 173"/>
              <a:gd name="T65" fmla="*/ 2147483647 h 357"/>
              <a:gd name="T66" fmla="*/ 2147483647 w 173"/>
              <a:gd name="T67" fmla="*/ 2147483647 h 357"/>
              <a:gd name="T68" fmla="*/ 2147483647 w 173"/>
              <a:gd name="T69" fmla="*/ 2147483647 h 357"/>
              <a:gd name="T70" fmla="*/ 2147483647 w 173"/>
              <a:gd name="T71" fmla="*/ 2147483647 h 357"/>
              <a:gd name="T72" fmla="*/ 2147483647 w 173"/>
              <a:gd name="T73" fmla="*/ 2147483647 h 357"/>
              <a:gd name="T74" fmla="*/ 2147483647 w 173"/>
              <a:gd name="T75" fmla="*/ 2147483647 h 357"/>
              <a:gd name="T76" fmla="*/ 2147483647 w 173"/>
              <a:gd name="T77" fmla="*/ 2147483647 h 357"/>
              <a:gd name="T78" fmla="*/ 2147483647 w 173"/>
              <a:gd name="T79" fmla="*/ 2147483647 h 357"/>
              <a:gd name="T80" fmla="*/ 2147483647 w 173"/>
              <a:gd name="T81" fmla="*/ 2147483647 h 357"/>
              <a:gd name="T82" fmla="*/ 2147483647 w 173"/>
              <a:gd name="T83" fmla="*/ 2147483647 h 357"/>
              <a:gd name="T84" fmla="*/ 2147483647 w 173"/>
              <a:gd name="T85" fmla="*/ 2147483647 h 357"/>
              <a:gd name="T86" fmla="*/ 2147483647 w 173"/>
              <a:gd name="T87" fmla="*/ 2147483647 h 357"/>
              <a:gd name="T88" fmla="*/ 2147483647 w 173"/>
              <a:gd name="T89" fmla="*/ 2147483647 h 357"/>
              <a:gd name="T90" fmla="*/ 2147483647 w 173"/>
              <a:gd name="T91" fmla="*/ 2147483647 h 357"/>
              <a:gd name="T92" fmla="*/ 2147483647 w 173"/>
              <a:gd name="T93" fmla="*/ 2147483647 h 357"/>
              <a:gd name="T94" fmla="*/ 2147483647 w 173"/>
              <a:gd name="T95" fmla="*/ 2147483647 h 357"/>
              <a:gd name="T96" fmla="*/ 2147483647 w 173"/>
              <a:gd name="T97" fmla="*/ 2147483647 h 357"/>
              <a:gd name="T98" fmla="*/ 2147483647 w 173"/>
              <a:gd name="T99" fmla="*/ 2147483647 h 357"/>
              <a:gd name="T100" fmla="*/ 2147483647 w 173"/>
              <a:gd name="T101" fmla="*/ 2147483647 h 357"/>
              <a:gd name="T102" fmla="*/ 2147483647 w 173"/>
              <a:gd name="T103" fmla="*/ 2147483647 h 357"/>
              <a:gd name="T104" fmla="*/ 2147483647 w 173"/>
              <a:gd name="T105" fmla="*/ 2147483647 h 357"/>
              <a:gd name="T106" fmla="*/ 2147483647 w 173"/>
              <a:gd name="T107" fmla="*/ 2147483647 h 357"/>
              <a:gd name="T108" fmla="*/ 2147483647 w 173"/>
              <a:gd name="T109" fmla="*/ 2147483647 h 357"/>
              <a:gd name="T110" fmla="*/ 2147483647 w 173"/>
              <a:gd name="T111" fmla="*/ 2147483647 h 357"/>
              <a:gd name="T112" fmla="*/ 2147483647 w 173"/>
              <a:gd name="T113" fmla="*/ 2147483647 h 357"/>
              <a:gd name="T114" fmla="*/ 2147483647 w 173"/>
              <a:gd name="T115" fmla="*/ 2147483647 h 357"/>
              <a:gd name="T116" fmla="*/ 2147483647 w 173"/>
              <a:gd name="T117" fmla="*/ 2147483647 h 357"/>
              <a:gd name="T118" fmla="*/ 0 w 173"/>
              <a:gd name="T119" fmla="*/ 2147483647 h 357"/>
              <a:gd name="T120" fmla="*/ 0 w 173"/>
              <a:gd name="T121" fmla="*/ 2147483647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cmpd="sng">
            <a:solidFill>
              <a:srgbClr val="FFFFFF"/>
            </a:solidFill>
            <a:prstDash val="solid"/>
            <a:round/>
            <a:headEnd/>
            <a:tailEnd/>
          </a:ln>
        </p:spPr>
        <p:txBody>
          <a:bodyPr/>
          <a:lstStyle/>
          <a:p>
            <a:endParaRPr lang="en-AU"/>
          </a:p>
        </p:txBody>
      </p:sp>
      <p:sp>
        <p:nvSpPr>
          <p:cNvPr id="2246" name="Freeform 270"/>
          <p:cNvSpPr>
            <a:spLocks/>
          </p:cNvSpPr>
          <p:nvPr>
            <p:custDataLst>
              <p:tags r:id="rId197"/>
            </p:custDataLst>
          </p:nvPr>
        </p:nvSpPr>
        <p:spPr bwMode="auto">
          <a:xfrm>
            <a:off x="4767263" y="4479925"/>
            <a:ext cx="25400" cy="60325"/>
          </a:xfrm>
          <a:custGeom>
            <a:avLst/>
            <a:gdLst>
              <a:gd name="T0" fmla="*/ 2147483647 w 50"/>
              <a:gd name="T1" fmla="*/ 0 h 74"/>
              <a:gd name="T2" fmla="*/ 2147483647 w 50"/>
              <a:gd name="T3" fmla="*/ 2147483647 h 74"/>
              <a:gd name="T4" fmla="*/ 2147483647 w 50"/>
              <a:gd name="T5" fmla="*/ 2147483647 h 74"/>
              <a:gd name="T6" fmla="*/ 0 w 50"/>
              <a:gd name="T7" fmla="*/ 2147483647 h 74"/>
              <a:gd name="T8" fmla="*/ 0 w 50"/>
              <a:gd name="T9" fmla="*/ 2147483647 h 74"/>
              <a:gd name="T10" fmla="*/ 0 w 50"/>
              <a:gd name="T11" fmla="*/ 2147483647 h 74"/>
              <a:gd name="T12" fmla="*/ 2147483647 w 50"/>
              <a:gd name="T13" fmla="*/ 2147483647 h 74"/>
              <a:gd name="T14" fmla="*/ 2147483647 w 50"/>
              <a:gd name="T15" fmla="*/ 2147483647 h 74"/>
              <a:gd name="T16" fmla="*/ 2147483647 w 50"/>
              <a:gd name="T17" fmla="*/ 2147483647 h 74"/>
              <a:gd name="T18" fmla="*/ 2147483647 w 50"/>
              <a:gd name="T19" fmla="*/ 2147483647 h 74"/>
              <a:gd name="T20" fmla="*/ 2147483647 w 50"/>
              <a:gd name="T21" fmla="*/ 2147483647 h 74"/>
              <a:gd name="T22" fmla="*/ 2147483647 w 50"/>
              <a:gd name="T23" fmla="*/ 2147483647 h 74"/>
              <a:gd name="T24" fmla="*/ 2147483647 w 50"/>
              <a:gd name="T25" fmla="*/ 2147483647 h 74"/>
              <a:gd name="T26" fmla="*/ 2147483647 w 50"/>
              <a:gd name="T27" fmla="*/ 0 h 74"/>
              <a:gd name="T28" fmla="*/ 2147483647 w 50"/>
              <a:gd name="T29" fmla="*/ 0 h 74"/>
              <a:gd name="T30" fmla="*/ 2147483647 w 50"/>
              <a:gd name="T31" fmla="*/ 0 h 74"/>
              <a:gd name="T32" fmla="*/ 2147483647 w 50"/>
              <a:gd name="T33" fmla="*/ 0 h 74"/>
              <a:gd name="T34" fmla="*/ 2147483647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0C0C0"/>
          </a:solidFill>
          <a:ln w="9525" cmpd="sng">
            <a:solidFill>
              <a:srgbClr val="FFFFFF"/>
            </a:solidFill>
            <a:prstDash val="solid"/>
            <a:round/>
            <a:headEnd/>
            <a:tailEnd/>
          </a:ln>
        </p:spPr>
        <p:txBody>
          <a:bodyPr/>
          <a:lstStyle/>
          <a:p>
            <a:endParaRPr lang="en-AU"/>
          </a:p>
        </p:txBody>
      </p:sp>
      <p:sp>
        <p:nvSpPr>
          <p:cNvPr id="2247" name="Freeform 271"/>
          <p:cNvSpPr>
            <a:spLocks/>
          </p:cNvSpPr>
          <p:nvPr>
            <p:custDataLst>
              <p:tags r:id="rId198"/>
            </p:custDataLst>
          </p:nvPr>
        </p:nvSpPr>
        <p:spPr bwMode="auto">
          <a:xfrm>
            <a:off x="4662488" y="4576763"/>
            <a:ext cx="61912" cy="57150"/>
          </a:xfrm>
          <a:custGeom>
            <a:avLst/>
            <a:gdLst>
              <a:gd name="T0" fmla="*/ 2147483647 w 135"/>
              <a:gd name="T1" fmla="*/ 2147483647 h 98"/>
              <a:gd name="T2" fmla="*/ 2147483647 w 135"/>
              <a:gd name="T3" fmla="*/ 2147483647 h 98"/>
              <a:gd name="T4" fmla="*/ 2147483647 w 135"/>
              <a:gd name="T5" fmla="*/ 2147483647 h 98"/>
              <a:gd name="T6" fmla="*/ 2147483647 w 135"/>
              <a:gd name="T7" fmla="*/ 2147483647 h 98"/>
              <a:gd name="T8" fmla="*/ 2147483647 w 135"/>
              <a:gd name="T9" fmla="*/ 2147483647 h 98"/>
              <a:gd name="T10" fmla="*/ 2147483647 w 135"/>
              <a:gd name="T11" fmla="*/ 2147483647 h 98"/>
              <a:gd name="T12" fmla="*/ 2147483647 w 135"/>
              <a:gd name="T13" fmla="*/ 2147483647 h 98"/>
              <a:gd name="T14" fmla="*/ 2147483647 w 135"/>
              <a:gd name="T15" fmla="*/ 2147483647 h 98"/>
              <a:gd name="T16" fmla="*/ 2147483647 w 135"/>
              <a:gd name="T17" fmla="*/ 2147483647 h 98"/>
              <a:gd name="T18" fmla="*/ 2147483647 w 135"/>
              <a:gd name="T19" fmla="*/ 2147483647 h 98"/>
              <a:gd name="T20" fmla="*/ 2147483647 w 135"/>
              <a:gd name="T21" fmla="*/ 2147483647 h 98"/>
              <a:gd name="T22" fmla="*/ 2147483647 w 135"/>
              <a:gd name="T23" fmla="*/ 0 h 98"/>
              <a:gd name="T24" fmla="*/ 2147483647 w 135"/>
              <a:gd name="T25" fmla="*/ 0 h 98"/>
              <a:gd name="T26" fmla="*/ 2147483647 w 135"/>
              <a:gd name="T27" fmla="*/ 0 h 98"/>
              <a:gd name="T28" fmla="*/ 2147483647 w 135"/>
              <a:gd name="T29" fmla="*/ 2147483647 h 98"/>
              <a:gd name="T30" fmla="*/ 2147483647 w 135"/>
              <a:gd name="T31" fmla="*/ 2147483647 h 98"/>
              <a:gd name="T32" fmla="*/ 2147483647 w 135"/>
              <a:gd name="T33" fmla="*/ 2147483647 h 98"/>
              <a:gd name="T34" fmla="*/ 2147483647 w 135"/>
              <a:gd name="T35" fmla="*/ 2147483647 h 98"/>
              <a:gd name="T36" fmla="*/ 2147483647 w 135"/>
              <a:gd name="T37" fmla="*/ 2147483647 h 98"/>
              <a:gd name="T38" fmla="*/ 2147483647 w 135"/>
              <a:gd name="T39" fmla="*/ 2147483647 h 98"/>
              <a:gd name="T40" fmla="*/ 2147483647 w 135"/>
              <a:gd name="T41" fmla="*/ 2147483647 h 98"/>
              <a:gd name="T42" fmla="*/ 2147483647 w 135"/>
              <a:gd name="T43" fmla="*/ 2147483647 h 98"/>
              <a:gd name="T44" fmla="*/ 2147483647 w 135"/>
              <a:gd name="T45" fmla="*/ 2147483647 h 98"/>
              <a:gd name="T46" fmla="*/ 2147483647 w 135"/>
              <a:gd name="T47" fmla="*/ 2147483647 h 98"/>
              <a:gd name="T48" fmla="*/ 2147483647 w 135"/>
              <a:gd name="T49" fmla="*/ 2147483647 h 98"/>
              <a:gd name="T50" fmla="*/ 2147483647 w 135"/>
              <a:gd name="T51" fmla="*/ 2147483647 h 98"/>
              <a:gd name="T52" fmla="*/ 2147483647 w 135"/>
              <a:gd name="T53" fmla="*/ 2147483647 h 98"/>
              <a:gd name="T54" fmla="*/ 2147483647 w 135"/>
              <a:gd name="T55" fmla="*/ 2147483647 h 98"/>
              <a:gd name="T56" fmla="*/ 2147483647 w 135"/>
              <a:gd name="T57" fmla="*/ 2147483647 h 98"/>
              <a:gd name="T58" fmla="*/ 2147483647 w 135"/>
              <a:gd name="T59" fmla="*/ 2147483647 h 98"/>
              <a:gd name="T60" fmla="*/ 2147483647 w 135"/>
              <a:gd name="T61" fmla="*/ 2147483647 h 98"/>
              <a:gd name="T62" fmla="*/ 2147483647 w 135"/>
              <a:gd name="T63" fmla="*/ 2147483647 h 98"/>
              <a:gd name="T64" fmla="*/ 2147483647 w 135"/>
              <a:gd name="T65" fmla="*/ 2147483647 h 98"/>
              <a:gd name="T66" fmla="*/ 2147483647 w 135"/>
              <a:gd name="T67" fmla="*/ 2147483647 h 98"/>
              <a:gd name="T68" fmla="*/ 2147483647 w 135"/>
              <a:gd name="T69" fmla="*/ 2147483647 h 98"/>
              <a:gd name="T70" fmla="*/ 2147483647 w 135"/>
              <a:gd name="T71" fmla="*/ 2147483647 h 98"/>
              <a:gd name="T72" fmla="*/ 2147483647 w 135"/>
              <a:gd name="T73" fmla="*/ 2147483647 h 98"/>
              <a:gd name="T74" fmla="*/ 2147483647 w 135"/>
              <a:gd name="T75" fmla="*/ 2147483647 h 98"/>
              <a:gd name="T76" fmla="*/ 0 w 135"/>
              <a:gd name="T77" fmla="*/ 2147483647 h 98"/>
              <a:gd name="T78" fmla="*/ 0 w 135"/>
              <a:gd name="T79" fmla="*/ 2147483647 h 98"/>
              <a:gd name="T80" fmla="*/ 2147483647 w 135"/>
              <a:gd name="T81" fmla="*/ 214748364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AU"/>
          </a:p>
        </p:txBody>
      </p:sp>
      <p:sp>
        <p:nvSpPr>
          <p:cNvPr id="2248" name="Freeform 272"/>
          <p:cNvSpPr>
            <a:spLocks/>
          </p:cNvSpPr>
          <p:nvPr>
            <p:custDataLst>
              <p:tags r:id="rId199"/>
            </p:custDataLst>
          </p:nvPr>
        </p:nvSpPr>
        <p:spPr bwMode="auto">
          <a:xfrm>
            <a:off x="6880225" y="2290763"/>
            <a:ext cx="120650" cy="171450"/>
          </a:xfrm>
          <a:custGeom>
            <a:avLst/>
            <a:gdLst>
              <a:gd name="T0" fmla="*/ 2147483647 w 266"/>
              <a:gd name="T1" fmla="*/ 2147483647 h 326"/>
              <a:gd name="T2" fmla="*/ 2147483647 w 266"/>
              <a:gd name="T3" fmla="*/ 2147483647 h 326"/>
              <a:gd name="T4" fmla="*/ 2147483647 w 266"/>
              <a:gd name="T5" fmla="*/ 2147483647 h 326"/>
              <a:gd name="T6" fmla="*/ 2147483647 w 266"/>
              <a:gd name="T7" fmla="*/ 2147483647 h 326"/>
              <a:gd name="T8" fmla="*/ 2147483647 w 266"/>
              <a:gd name="T9" fmla="*/ 2147483647 h 326"/>
              <a:gd name="T10" fmla="*/ 2147483647 w 266"/>
              <a:gd name="T11" fmla="*/ 2147483647 h 326"/>
              <a:gd name="T12" fmla="*/ 2147483647 w 266"/>
              <a:gd name="T13" fmla="*/ 2147483647 h 326"/>
              <a:gd name="T14" fmla="*/ 2147483647 w 266"/>
              <a:gd name="T15" fmla="*/ 2147483647 h 326"/>
              <a:gd name="T16" fmla="*/ 2147483647 w 266"/>
              <a:gd name="T17" fmla="*/ 2147483647 h 326"/>
              <a:gd name="T18" fmla="*/ 2147483647 w 266"/>
              <a:gd name="T19" fmla="*/ 2147483647 h 326"/>
              <a:gd name="T20" fmla="*/ 2147483647 w 266"/>
              <a:gd name="T21" fmla="*/ 2147483647 h 326"/>
              <a:gd name="T22" fmla="*/ 2147483647 w 266"/>
              <a:gd name="T23" fmla="*/ 2147483647 h 326"/>
              <a:gd name="T24" fmla="*/ 2147483647 w 266"/>
              <a:gd name="T25" fmla="*/ 2147483647 h 326"/>
              <a:gd name="T26" fmla="*/ 2147483647 w 266"/>
              <a:gd name="T27" fmla="*/ 2147483647 h 326"/>
              <a:gd name="T28" fmla="*/ 2147483647 w 266"/>
              <a:gd name="T29" fmla="*/ 2147483647 h 326"/>
              <a:gd name="T30" fmla="*/ 2147483647 w 266"/>
              <a:gd name="T31" fmla="*/ 2147483647 h 326"/>
              <a:gd name="T32" fmla="*/ 2147483647 w 266"/>
              <a:gd name="T33" fmla="*/ 2147483647 h 326"/>
              <a:gd name="T34" fmla="*/ 2147483647 w 266"/>
              <a:gd name="T35" fmla="*/ 2147483647 h 326"/>
              <a:gd name="T36" fmla="*/ 2147483647 w 266"/>
              <a:gd name="T37" fmla="*/ 2147483647 h 326"/>
              <a:gd name="T38" fmla="*/ 2147483647 w 266"/>
              <a:gd name="T39" fmla="*/ 2147483647 h 326"/>
              <a:gd name="T40" fmla="*/ 2147483647 w 266"/>
              <a:gd name="T41" fmla="*/ 2147483647 h 326"/>
              <a:gd name="T42" fmla="*/ 2147483647 w 266"/>
              <a:gd name="T43" fmla="*/ 2147483647 h 326"/>
              <a:gd name="T44" fmla="*/ 2147483647 w 266"/>
              <a:gd name="T45" fmla="*/ 2147483647 h 326"/>
              <a:gd name="T46" fmla="*/ 2147483647 w 266"/>
              <a:gd name="T47" fmla="*/ 2147483647 h 326"/>
              <a:gd name="T48" fmla="*/ 2147483647 w 266"/>
              <a:gd name="T49" fmla="*/ 2147483647 h 326"/>
              <a:gd name="T50" fmla="*/ 2147483647 w 266"/>
              <a:gd name="T51" fmla="*/ 2147483647 h 326"/>
              <a:gd name="T52" fmla="*/ 2147483647 w 266"/>
              <a:gd name="T53" fmla="*/ 2147483647 h 326"/>
              <a:gd name="T54" fmla="*/ 2147483647 w 266"/>
              <a:gd name="T55" fmla="*/ 2147483647 h 326"/>
              <a:gd name="T56" fmla="*/ 2147483647 w 266"/>
              <a:gd name="T57" fmla="*/ 2147483647 h 326"/>
              <a:gd name="T58" fmla="*/ 2147483647 w 266"/>
              <a:gd name="T59" fmla="*/ 2147483647 h 326"/>
              <a:gd name="T60" fmla="*/ 2147483647 w 266"/>
              <a:gd name="T61" fmla="*/ 2147483647 h 326"/>
              <a:gd name="T62" fmla="*/ 2147483647 w 266"/>
              <a:gd name="T63" fmla="*/ 2147483647 h 326"/>
              <a:gd name="T64" fmla="*/ 2147483647 w 266"/>
              <a:gd name="T65" fmla="*/ 2147483647 h 326"/>
              <a:gd name="T66" fmla="*/ 2147483647 w 266"/>
              <a:gd name="T67" fmla="*/ 2147483647 h 326"/>
              <a:gd name="T68" fmla="*/ 2147483647 w 266"/>
              <a:gd name="T69" fmla="*/ 2147483647 h 326"/>
              <a:gd name="T70" fmla="*/ 2147483647 w 266"/>
              <a:gd name="T71" fmla="*/ 2147483647 h 326"/>
              <a:gd name="T72" fmla="*/ 2147483647 w 266"/>
              <a:gd name="T73" fmla="*/ 2147483647 h 326"/>
              <a:gd name="T74" fmla="*/ 2147483647 w 266"/>
              <a:gd name="T75" fmla="*/ 2147483647 h 326"/>
              <a:gd name="T76" fmla="*/ 2147483647 w 266"/>
              <a:gd name="T77" fmla="*/ 2147483647 h 326"/>
              <a:gd name="T78" fmla="*/ 2147483647 w 266"/>
              <a:gd name="T79" fmla="*/ 2147483647 h 326"/>
              <a:gd name="T80" fmla="*/ 2147483647 w 266"/>
              <a:gd name="T81" fmla="*/ 2147483647 h 326"/>
              <a:gd name="T82" fmla="*/ 2147483647 w 266"/>
              <a:gd name="T83" fmla="*/ 2147483647 h 326"/>
              <a:gd name="T84" fmla="*/ 2147483647 w 266"/>
              <a:gd name="T85" fmla="*/ 2147483647 h 326"/>
              <a:gd name="T86" fmla="*/ 2147483647 w 266"/>
              <a:gd name="T87" fmla="*/ 2147483647 h 326"/>
              <a:gd name="T88" fmla="*/ 2147483647 w 266"/>
              <a:gd name="T89" fmla="*/ 2147483647 h 326"/>
              <a:gd name="T90" fmla="*/ 2147483647 w 266"/>
              <a:gd name="T91" fmla="*/ 2147483647 h 326"/>
              <a:gd name="T92" fmla="*/ 2147483647 w 266"/>
              <a:gd name="T93" fmla="*/ 2147483647 h 326"/>
              <a:gd name="T94" fmla="*/ 2147483647 w 266"/>
              <a:gd name="T95" fmla="*/ 2147483647 h 326"/>
              <a:gd name="T96" fmla="*/ 2147483647 w 266"/>
              <a:gd name="T97" fmla="*/ 2147483647 h 326"/>
              <a:gd name="T98" fmla="*/ 2147483647 w 266"/>
              <a:gd name="T99" fmla="*/ 2147483647 h 326"/>
              <a:gd name="T100" fmla="*/ 2147483647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cmpd="sng">
            <a:solidFill>
              <a:srgbClr val="FFFFFF"/>
            </a:solidFill>
            <a:prstDash val="solid"/>
            <a:round/>
            <a:headEnd/>
            <a:tailEnd/>
          </a:ln>
        </p:spPr>
        <p:txBody>
          <a:bodyPr/>
          <a:lstStyle/>
          <a:p>
            <a:endParaRPr lang="en-AU"/>
          </a:p>
        </p:txBody>
      </p:sp>
      <p:sp>
        <p:nvSpPr>
          <p:cNvPr id="2249" name="Freeform 273"/>
          <p:cNvSpPr>
            <a:spLocks/>
          </p:cNvSpPr>
          <p:nvPr>
            <p:custDataLst>
              <p:tags r:id="rId200"/>
            </p:custDataLst>
          </p:nvPr>
        </p:nvSpPr>
        <p:spPr bwMode="auto">
          <a:xfrm>
            <a:off x="5951538" y="2705100"/>
            <a:ext cx="206375" cy="123825"/>
          </a:xfrm>
          <a:custGeom>
            <a:avLst/>
            <a:gdLst>
              <a:gd name="T0" fmla="*/ 2147483647 w 471"/>
              <a:gd name="T1" fmla="*/ 0 h 237"/>
              <a:gd name="T2" fmla="*/ 2147483647 w 471"/>
              <a:gd name="T3" fmla="*/ 2147483647 h 237"/>
              <a:gd name="T4" fmla="*/ 2147483647 w 471"/>
              <a:gd name="T5" fmla="*/ 2147483647 h 237"/>
              <a:gd name="T6" fmla="*/ 2147483647 w 471"/>
              <a:gd name="T7" fmla="*/ 2147483647 h 237"/>
              <a:gd name="T8" fmla="*/ 2147483647 w 471"/>
              <a:gd name="T9" fmla="*/ 2147483647 h 237"/>
              <a:gd name="T10" fmla="*/ 2147483647 w 471"/>
              <a:gd name="T11" fmla="*/ 2147483647 h 237"/>
              <a:gd name="T12" fmla="*/ 2147483647 w 471"/>
              <a:gd name="T13" fmla="*/ 2147483647 h 237"/>
              <a:gd name="T14" fmla="*/ 2147483647 w 471"/>
              <a:gd name="T15" fmla="*/ 2147483647 h 237"/>
              <a:gd name="T16" fmla="*/ 2147483647 w 471"/>
              <a:gd name="T17" fmla="*/ 2147483647 h 237"/>
              <a:gd name="T18" fmla="*/ 2147483647 w 471"/>
              <a:gd name="T19" fmla="*/ 2147483647 h 237"/>
              <a:gd name="T20" fmla="*/ 2147483647 w 471"/>
              <a:gd name="T21" fmla="*/ 2147483647 h 237"/>
              <a:gd name="T22" fmla="*/ 2147483647 w 471"/>
              <a:gd name="T23" fmla="*/ 2147483647 h 237"/>
              <a:gd name="T24" fmla="*/ 2147483647 w 471"/>
              <a:gd name="T25" fmla="*/ 2147483647 h 237"/>
              <a:gd name="T26" fmla="*/ 2147483647 w 471"/>
              <a:gd name="T27" fmla="*/ 2147483647 h 237"/>
              <a:gd name="T28" fmla="*/ 2147483647 w 471"/>
              <a:gd name="T29" fmla="*/ 2147483647 h 237"/>
              <a:gd name="T30" fmla="*/ 2147483647 w 471"/>
              <a:gd name="T31" fmla="*/ 2147483647 h 237"/>
              <a:gd name="T32" fmla="*/ 2147483647 w 471"/>
              <a:gd name="T33" fmla="*/ 2147483647 h 237"/>
              <a:gd name="T34" fmla="*/ 2147483647 w 471"/>
              <a:gd name="T35" fmla="*/ 2147483647 h 237"/>
              <a:gd name="T36" fmla="*/ 2147483647 w 471"/>
              <a:gd name="T37" fmla="*/ 2147483647 h 237"/>
              <a:gd name="T38" fmla="*/ 2147483647 w 471"/>
              <a:gd name="T39" fmla="*/ 2147483647 h 237"/>
              <a:gd name="T40" fmla="*/ 2147483647 w 471"/>
              <a:gd name="T41" fmla="*/ 2147483647 h 237"/>
              <a:gd name="T42" fmla="*/ 2147483647 w 471"/>
              <a:gd name="T43" fmla="*/ 2147483647 h 237"/>
              <a:gd name="T44" fmla="*/ 2147483647 w 471"/>
              <a:gd name="T45" fmla="*/ 2147483647 h 237"/>
              <a:gd name="T46" fmla="*/ 2147483647 w 471"/>
              <a:gd name="T47" fmla="*/ 2147483647 h 237"/>
              <a:gd name="T48" fmla="*/ 2147483647 w 471"/>
              <a:gd name="T49" fmla="*/ 2147483647 h 237"/>
              <a:gd name="T50" fmla="*/ 2147483647 w 471"/>
              <a:gd name="T51" fmla="*/ 2147483647 h 237"/>
              <a:gd name="T52" fmla="*/ 2147483647 w 471"/>
              <a:gd name="T53" fmla="*/ 2147483647 h 237"/>
              <a:gd name="T54" fmla="*/ 2147483647 w 471"/>
              <a:gd name="T55" fmla="*/ 2147483647 h 237"/>
              <a:gd name="T56" fmla="*/ 2147483647 w 471"/>
              <a:gd name="T57" fmla="*/ 2147483647 h 237"/>
              <a:gd name="T58" fmla="*/ 2147483647 w 471"/>
              <a:gd name="T59" fmla="*/ 2147483647 h 237"/>
              <a:gd name="T60" fmla="*/ 2147483647 w 471"/>
              <a:gd name="T61" fmla="*/ 2147483647 h 237"/>
              <a:gd name="T62" fmla="*/ 2147483647 w 471"/>
              <a:gd name="T63" fmla="*/ 2147483647 h 237"/>
              <a:gd name="T64" fmla="*/ 2147483647 w 471"/>
              <a:gd name="T65" fmla="*/ 2147483647 h 237"/>
              <a:gd name="T66" fmla="*/ 2147483647 w 471"/>
              <a:gd name="T67" fmla="*/ 2147483647 h 237"/>
              <a:gd name="T68" fmla="*/ 2147483647 w 471"/>
              <a:gd name="T69" fmla="*/ 2147483647 h 237"/>
              <a:gd name="T70" fmla="*/ 2147483647 w 471"/>
              <a:gd name="T71" fmla="*/ 2147483647 h 237"/>
              <a:gd name="T72" fmla="*/ 2147483647 w 471"/>
              <a:gd name="T73" fmla="*/ 2147483647 h 237"/>
              <a:gd name="T74" fmla="*/ 214748364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0000FF"/>
          </a:solidFill>
          <a:ln w="9525" cmpd="sng">
            <a:solidFill>
              <a:srgbClr val="FFFFFF"/>
            </a:solidFill>
            <a:prstDash val="solid"/>
            <a:round/>
            <a:headEnd/>
            <a:tailEnd/>
          </a:ln>
        </p:spPr>
        <p:txBody>
          <a:bodyPr/>
          <a:lstStyle/>
          <a:p>
            <a:endParaRPr lang="en-AU"/>
          </a:p>
        </p:txBody>
      </p:sp>
      <p:sp>
        <p:nvSpPr>
          <p:cNvPr id="2250" name="Freeform 274"/>
          <p:cNvSpPr>
            <a:spLocks/>
          </p:cNvSpPr>
          <p:nvPr>
            <p:custDataLst>
              <p:tags r:id="rId201"/>
            </p:custDataLst>
          </p:nvPr>
        </p:nvSpPr>
        <p:spPr bwMode="auto">
          <a:xfrm>
            <a:off x="6167438" y="2760663"/>
            <a:ext cx="73025" cy="65087"/>
          </a:xfrm>
          <a:custGeom>
            <a:avLst/>
            <a:gdLst>
              <a:gd name="T0" fmla="*/ 2147483647 w 167"/>
              <a:gd name="T1" fmla="*/ 2147483647 h 123"/>
              <a:gd name="T2" fmla="*/ 2147483647 w 167"/>
              <a:gd name="T3" fmla="*/ 2147483647 h 123"/>
              <a:gd name="T4" fmla="*/ 2147483647 w 167"/>
              <a:gd name="T5" fmla="*/ 2147483647 h 123"/>
              <a:gd name="T6" fmla="*/ 2147483647 w 167"/>
              <a:gd name="T7" fmla="*/ 2147483647 h 123"/>
              <a:gd name="T8" fmla="*/ 2147483647 w 167"/>
              <a:gd name="T9" fmla="*/ 2147483647 h 123"/>
              <a:gd name="T10" fmla="*/ 2147483647 w 167"/>
              <a:gd name="T11" fmla="*/ 2147483647 h 123"/>
              <a:gd name="T12" fmla="*/ 2147483647 w 167"/>
              <a:gd name="T13" fmla="*/ 2147483647 h 123"/>
              <a:gd name="T14" fmla="*/ 2147483647 w 167"/>
              <a:gd name="T15" fmla="*/ 2147483647 h 123"/>
              <a:gd name="T16" fmla="*/ 2147483647 w 167"/>
              <a:gd name="T17" fmla="*/ 2147483647 h 123"/>
              <a:gd name="T18" fmla="*/ 2147483647 w 167"/>
              <a:gd name="T19" fmla="*/ 2147483647 h 123"/>
              <a:gd name="T20" fmla="*/ 2147483647 w 167"/>
              <a:gd name="T21" fmla="*/ 2147483647 h 123"/>
              <a:gd name="T22" fmla="*/ 2147483647 w 167"/>
              <a:gd name="T23" fmla="*/ 2147483647 h 123"/>
              <a:gd name="T24" fmla="*/ 2147483647 w 167"/>
              <a:gd name="T25" fmla="*/ 2147483647 h 123"/>
              <a:gd name="T26" fmla="*/ 2147483647 w 167"/>
              <a:gd name="T27" fmla="*/ 2147483647 h 123"/>
              <a:gd name="T28" fmla="*/ 2147483647 w 167"/>
              <a:gd name="T29" fmla="*/ 2147483647 h 123"/>
              <a:gd name="T30" fmla="*/ 2147483647 w 167"/>
              <a:gd name="T31" fmla="*/ 2147483647 h 123"/>
              <a:gd name="T32" fmla="*/ 2147483647 w 167"/>
              <a:gd name="T33" fmla="*/ 2147483647 h 123"/>
              <a:gd name="T34" fmla="*/ 2147483647 w 167"/>
              <a:gd name="T35" fmla="*/ 2147483647 h 123"/>
              <a:gd name="T36" fmla="*/ 2147483647 w 167"/>
              <a:gd name="T37" fmla="*/ 2147483647 h 123"/>
              <a:gd name="T38" fmla="*/ 2147483647 w 167"/>
              <a:gd name="T39" fmla="*/ 2147483647 h 123"/>
              <a:gd name="T40" fmla="*/ 2147483647 w 167"/>
              <a:gd name="T41" fmla="*/ 2147483647 h 123"/>
              <a:gd name="T42" fmla="*/ 2147483647 w 167"/>
              <a:gd name="T43" fmla="*/ 2147483647 h 123"/>
              <a:gd name="T44" fmla="*/ 2147483647 w 167"/>
              <a:gd name="T45" fmla="*/ 2147483647 h 123"/>
              <a:gd name="T46" fmla="*/ 2147483647 w 167"/>
              <a:gd name="T47" fmla="*/ 2147483647 h 123"/>
              <a:gd name="T48" fmla="*/ 0 w 167"/>
              <a:gd name="T49" fmla="*/ 2147483647 h 123"/>
              <a:gd name="T50" fmla="*/ 2147483647 w 167"/>
              <a:gd name="T51" fmla="*/ 2147483647 h 123"/>
              <a:gd name="T52" fmla="*/ 2147483647 w 167"/>
              <a:gd name="T53" fmla="*/ 2147483647 h 123"/>
              <a:gd name="T54" fmla="*/ 2147483647 w 167"/>
              <a:gd name="T55" fmla="*/ 2147483647 h 123"/>
              <a:gd name="T56" fmla="*/ 2147483647 w 167"/>
              <a:gd name="T57" fmla="*/ 2147483647 h 123"/>
              <a:gd name="T58" fmla="*/ 2147483647 w 167"/>
              <a:gd name="T59" fmla="*/ 2147483647 h 123"/>
              <a:gd name="T60" fmla="*/ 2147483647 w 167"/>
              <a:gd name="T61" fmla="*/ 2147483647 h 123"/>
              <a:gd name="T62" fmla="*/ 2147483647 w 167"/>
              <a:gd name="T63" fmla="*/ 2147483647 h 123"/>
              <a:gd name="T64" fmla="*/ 2147483647 w 167"/>
              <a:gd name="T65" fmla="*/ 2147483647 h 123"/>
              <a:gd name="T66" fmla="*/ 2147483647 w 167"/>
              <a:gd name="T67" fmla="*/ 2147483647 h 123"/>
              <a:gd name="T68" fmla="*/ 2147483647 w 167"/>
              <a:gd name="T69" fmla="*/ 2147483647 h 123"/>
              <a:gd name="T70" fmla="*/ 2147483647 w 167"/>
              <a:gd name="T71" fmla="*/ 2147483647 h 123"/>
              <a:gd name="T72" fmla="*/ 2147483647 w 167"/>
              <a:gd name="T73" fmla="*/ 0 h 123"/>
              <a:gd name="T74" fmla="*/ 2147483647 w 167"/>
              <a:gd name="T75" fmla="*/ 2147483647 h 123"/>
              <a:gd name="T76" fmla="*/ 2147483647 w 167"/>
              <a:gd name="T77" fmla="*/ 2147483647 h 123"/>
              <a:gd name="T78" fmla="*/ 2147483647 w 167"/>
              <a:gd name="T79" fmla="*/ 2147483647 h 123"/>
              <a:gd name="T80" fmla="*/ 2147483647 w 167"/>
              <a:gd name="T81" fmla="*/ 2147483647 h 123"/>
              <a:gd name="T82" fmla="*/ 2147483647 w 167"/>
              <a:gd name="T83" fmla="*/ 2147483647 h 123"/>
              <a:gd name="T84" fmla="*/ 2147483647 w 167"/>
              <a:gd name="T85" fmla="*/ 2147483647 h 123"/>
              <a:gd name="T86" fmla="*/ 2147483647 w 167"/>
              <a:gd name="T87" fmla="*/ 2147483647 h 123"/>
              <a:gd name="T88" fmla="*/ 2147483647 w 167"/>
              <a:gd name="T89" fmla="*/ 2147483647 h 123"/>
              <a:gd name="T90" fmla="*/ 2147483647 w 167"/>
              <a:gd name="T91" fmla="*/ 2147483647 h 123"/>
              <a:gd name="T92" fmla="*/ 2147483647 w 167"/>
              <a:gd name="T93" fmla="*/ 2147483647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FF0000"/>
          </a:solidFill>
          <a:ln w="9525" cmpd="sng">
            <a:solidFill>
              <a:srgbClr val="FFFFFF"/>
            </a:solidFill>
            <a:prstDash val="solid"/>
            <a:round/>
            <a:headEnd/>
            <a:tailEnd/>
          </a:ln>
        </p:spPr>
        <p:txBody>
          <a:bodyPr/>
          <a:lstStyle/>
          <a:p>
            <a:endParaRPr lang="en-AU"/>
          </a:p>
        </p:txBody>
      </p:sp>
      <p:sp>
        <p:nvSpPr>
          <p:cNvPr id="2251" name="Freeform 275"/>
          <p:cNvSpPr>
            <a:spLocks/>
          </p:cNvSpPr>
          <p:nvPr>
            <p:custDataLst>
              <p:tags r:id="rId202"/>
            </p:custDataLst>
          </p:nvPr>
        </p:nvSpPr>
        <p:spPr bwMode="auto">
          <a:xfrm>
            <a:off x="6157913" y="2832100"/>
            <a:ext cx="133350" cy="166688"/>
          </a:xfrm>
          <a:custGeom>
            <a:avLst/>
            <a:gdLst>
              <a:gd name="T0" fmla="*/ 2147483647 w 306"/>
              <a:gd name="T1" fmla="*/ 2147483647 h 321"/>
              <a:gd name="T2" fmla="*/ 2147483647 w 306"/>
              <a:gd name="T3" fmla="*/ 2147483647 h 321"/>
              <a:gd name="T4" fmla="*/ 2147483647 w 306"/>
              <a:gd name="T5" fmla="*/ 2147483647 h 321"/>
              <a:gd name="T6" fmla="*/ 2147483647 w 306"/>
              <a:gd name="T7" fmla="*/ 2147483647 h 321"/>
              <a:gd name="T8" fmla="*/ 2147483647 w 306"/>
              <a:gd name="T9" fmla="*/ 2147483647 h 321"/>
              <a:gd name="T10" fmla="*/ 2147483647 w 306"/>
              <a:gd name="T11" fmla="*/ 2147483647 h 321"/>
              <a:gd name="T12" fmla="*/ 2147483647 w 306"/>
              <a:gd name="T13" fmla="*/ 2147483647 h 321"/>
              <a:gd name="T14" fmla="*/ 2147483647 w 306"/>
              <a:gd name="T15" fmla="*/ 2147483647 h 321"/>
              <a:gd name="T16" fmla="*/ 2147483647 w 306"/>
              <a:gd name="T17" fmla="*/ 2147483647 h 321"/>
              <a:gd name="T18" fmla="*/ 2147483647 w 306"/>
              <a:gd name="T19" fmla="*/ 2147483647 h 321"/>
              <a:gd name="T20" fmla="*/ 2147483647 w 306"/>
              <a:gd name="T21" fmla="*/ 2147483647 h 321"/>
              <a:gd name="T22" fmla="*/ 2147483647 w 306"/>
              <a:gd name="T23" fmla="*/ 2147483647 h 321"/>
              <a:gd name="T24" fmla="*/ 2147483647 w 306"/>
              <a:gd name="T25" fmla="*/ 2147483647 h 321"/>
              <a:gd name="T26" fmla="*/ 2147483647 w 306"/>
              <a:gd name="T27" fmla="*/ 2147483647 h 321"/>
              <a:gd name="T28" fmla="*/ 2147483647 w 306"/>
              <a:gd name="T29" fmla="*/ 2147483647 h 321"/>
              <a:gd name="T30" fmla="*/ 2147483647 w 306"/>
              <a:gd name="T31" fmla="*/ 2147483647 h 321"/>
              <a:gd name="T32" fmla="*/ 2147483647 w 306"/>
              <a:gd name="T33" fmla="*/ 2147483647 h 321"/>
              <a:gd name="T34" fmla="*/ 2147483647 w 306"/>
              <a:gd name="T35" fmla="*/ 2147483647 h 321"/>
              <a:gd name="T36" fmla="*/ 2147483647 w 306"/>
              <a:gd name="T37" fmla="*/ 2147483647 h 321"/>
              <a:gd name="T38" fmla="*/ 2147483647 w 306"/>
              <a:gd name="T39" fmla="*/ 2147483647 h 321"/>
              <a:gd name="T40" fmla="*/ 2147483647 w 306"/>
              <a:gd name="T41" fmla="*/ 2147483647 h 321"/>
              <a:gd name="T42" fmla="*/ 2147483647 w 306"/>
              <a:gd name="T43" fmla="*/ 2147483647 h 321"/>
              <a:gd name="T44" fmla="*/ 2147483647 w 306"/>
              <a:gd name="T45" fmla="*/ 0 h 321"/>
              <a:gd name="T46" fmla="*/ 2147483647 w 306"/>
              <a:gd name="T47" fmla="*/ 0 h 321"/>
              <a:gd name="T48" fmla="*/ 2147483647 w 306"/>
              <a:gd name="T49" fmla="*/ 2147483647 h 321"/>
              <a:gd name="T50" fmla="*/ 2147483647 w 306"/>
              <a:gd name="T51" fmla="*/ 2147483647 h 321"/>
              <a:gd name="T52" fmla="*/ 2147483647 w 306"/>
              <a:gd name="T53" fmla="*/ 2147483647 h 321"/>
              <a:gd name="T54" fmla="*/ 2147483647 w 306"/>
              <a:gd name="T55" fmla="*/ 2147483647 h 321"/>
              <a:gd name="T56" fmla="*/ 2147483647 w 306"/>
              <a:gd name="T57" fmla="*/ 2147483647 h 321"/>
              <a:gd name="T58" fmla="*/ 2147483647 w 306"/>
              <a:gd name="T59" fmla="*/ 2147483647 h 321"/>
              <a:gd name="T60" fmla="*/ 2147483647 w 306"/>
              <a:gd name="T61" fmla="*/ 2147483647 h 321"/>
              <a:gd name="T62" fmla="*/ 2147483647 w 306"/>
              <a:gd name="T63" fmla="*/ 2147483647 h 321"/>
              <a:gd name="T64" fmla="*/ 2147483647 w 306"/>
              <a:gd name="T65" fmla="*/ 2147483647 h 321"/>
              <a:gd name="T66" fmla="*/ 2147483647 w 306"/>
              <a:gd name="T67" fmla="*/ 2147483647 h 321"/>
              <a:gd name="T68" fmla="*/ 2147483647 w 306"/>
              <a:gd name="T69" fmla="*/ 2147483647 h 321"/>
              <a:gd name="T70" fmla="*/ 2147483647 w 306"/>
              <a:gd name="T71" fmla="*/ 2147483647 h 321"/>
              <a:gd name="T72" fmla="*/ 2147483647 w 306"/>
              <a:gd name="T73" fmla="*/ 2147483647 h 321"/>
              <a:gd name="T74" fmla="*/ 2147483647 w 306"/>
              <a:gd name="T75" fmla="*/ 2147483647 h 321"/>
              <a:gd name="T76" fmla="*/ 2147483647 w 306"/>
              <a:gd name="T77" fmla="*/ 2147483647 h 321"/>
              <a:gd name="T78" fmla="*/ 2147483647 w 306"/>
              <a:gd name="T79" fmla="*/ 2147483647 h 321"/>
              <a:gd name="T80" fmla="*/ 2147483647 w 306"/>
              <a:gd name="T81" fmla="*/ 2147483647 h 321"/>
              <a:gd name="T82" fmla="*/ 2147483647 w 306"/>
              <a:gd name="T83" fmla="*/ 2147483647 h 321"/>
              <a:gd name="T84" fmla="*/ 2147483647 w 306"/>
              <a:gd name="T85" fmla="*/ 2147483647 h 321"/>
              <a:gd name="T86" fmla="*/ 2147483647 w 306"/>
              <a:gd name="T87" fmla="*/ 2147483647 h 321"/>
              <a:gd name="T88" fmla="*/ 2147483647 w 306"/>
              <a:gd name="T89" fmla="*/ 2147483647 h 321"/>
              <a:gd name="T90" fmla="*/ 2147483647 w 306"/>
              <a:gd name="T91" fmla="*/ 2147483647 h 321"/>
              <a:gd name="T92" fmla="*/ 2147483647 w 306"/>
              <a:gd name="T93" fmla="*/ 2147483647 h 321"/>
              <a:gd name="T94" fmla="*/ 2147483647 w 306"/>
              <a:gd name="T95" fmla="*/ 2147483647 h 321"/>
              <a:gd name="T96" fmla="*/ 2147483647 w 306"/>
              <a:gd name="T97" fmla="*/ 2147483647 h 321"/>
              <a:gd name="T98" fmla="*/ 2147483647 w 306"/>
              <a:gd name="T99" fmla="*/ 2147483647 h 321"/>
              <a:gd name="T100" fmla="*/ 2147483647 w 306"/>
              <a:gd name="T101" fmla="*/ 2147483647 h 321"/>
              <a:gd name="T102" fmla="*/ 2147483647 w 306"/>
              <a:gd name="T103" fmla="*/ 2147483647 h 321"/>
              <a:gd name="T104" fmla="*/ 2147483647 w 306"/>
              <a:gd name="T105" fmla="*/ 2147483647 h 321"/>
              <a:gd name="T106" fmla="*/ 2147483647 w 306"/>
              <a:gd name="T107" fmla="*/ 2147483647 h 321"/>
              <a:gd name="T108" fmla="*/ 2147483647 w 306"/>
              <a:gd name="T109" fmla="*/ 2147483647 h 321"/>
              <a:gd name="T110" fmla="*/ 2147483647 w 306"/>
              <a:gd name="T111" fmla="*/ 2147483647 h 321"/>
              <a:gd name="T112" fmla="*/ 2147483647 w 306"/>
              <a:gd name="T113" fmla="*/ 2147483647 h 321"/>
              <a:gd name="T114" fmla="*/ 2147483647 w 306"/>
              <a:gd name="T115" fmla="*/ 2147483647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FF0000"/>
          </a:solidFill>
          <a:ln w="9525" cmpd="sng">
            <a:solidFill>
              <a:srgbClr val="FFFFFF"/>
            </a:solidFill>
            <a:prstDash val="solid"/>
            <a:round/>
            <a:headEnd/>
            <a:tailEnd/>
          </a:ln>
        </p:spPr>
        <p:txBody>
          <a:bodyPr/>
          <a:lstStyle/>
          <a:p>
            <a:endParaRPr lang="en-AU"/>
          </a:p>
        </p:txBody>
      </p:sp>
      <p:sp>
        <p:nvSpPr>
          <p:cNvPr id="2252" name="Freeform 276"/>
          <p:cNvSpPr>
            <a:spLocks/>
          </p:cNvSpPr>
          <p:nvPr>
            <p:custDataLst>
              <p:tags r:id="rId203"/>
            </p:custDataLst>
          </p:nvPr>
        </p:nvSpPr>
        <p:spPr bwMode="auto">
          <a:xfrm>
            <a:off x="6475413" y="2947988"/>
            <a:ext cx="201612" cy="269875"/>
          </a:xfrm>
          <a:custGeom>
            <a:avLst/>
            <a:gdLst>
              <a:gd name="T0" fmla="*/ 2147483647 w 471"/>
              <a:gd name="T1" fmla="*/ 2147483647 h 518"/>
              <a:gd name="T2" fmla="*/ 2147483647 w 471"/>
              <a:gd name="T3" fmla="*/ 2147483647 h 518"/>
              <a:gd name="T4" fmla="*/ 2147483647 w 471"/>
              <a:gd name="T5" fmla="*/ 2147483647 h 518"/>
              <a:gd name="T6" fmla="*/ 2147483647 w 471"/>
              <a:gd name="T7" fmla="*/ 2147483647 h 518"/>
              <a:gd name="T8" fmla="*/ 2147483647 w 471"/>
              <a:gd name="T9" fmla="*/ 2147483647 h 518"/>
              <a:gd name="T10" fmla="*/ 2147483647 w 471"/>
              <a:gd name="T11" fmla="*/ 2147483647 h 518"/>
              <a:gd name="T12" fmla="*/ 2147483647 w 471"/>
              <a:gd name="T13" fmla="*/ 2147483647 h 518"/>
              <a:gd name="T14" fmla="*/ 2147483647 w 471"/>
              <a:gd name="T15" fmla="*/ 2147483647 h 518"/>
              <a:gd name="T16" fmla="*/ 2147483647 w 471"/>
              <a:gd name="T17" fmla="*/ 2147483647 h 518"/>
              <a:gd name="T18" fmla="*/ 2147483647 w 471"/>
              <a:gd name="T19" fmla="*/ 2147483647 h 518"/>
              <a:gd name="T20" fmla="*/ 2147483647 w 471"/>
              <a:gd name="T21" fmla="*/ 2147483647 h 518"/>
              <a:gd name="T22" fmla="*/ 2147483647 w 471"/>
              <a:gd name="T23" fmla="*/ 2147483647 h 518"/>
              <a:gd name="T24" fmla="*/ 2147483647 w 471"/>
              <a:gd name="T25" fmla="*/ 2147483647 h 518"/>
              <a:gd name="T26" fmla="*/ 2147483647 w 471"/>
              <a:gd name="T27" fmla="*/ 2147483647 h 518"/>
              <a:gd name="T28" fmla="*/ 2147483647 w 471"/>
              <a:gd name="T29" fmla="*/ 2147483647 h 518"/>
              <a:gd name="T30" fmla="*/ 2147483647 w 471"/>
              <a:gd name="T31" fmla="*/ 2147483647 h 518"/>
              <a:gd name="T32" fmla="*/ 2147483647 w 471"/>
              <a:gd name="T33" fmla="*/ 2147483647 h 518"/>
              <a:gd name="T34" fmla="*/ 2147483647 w 471"/>
              <a:gd name="T35" fmla="*/ 2147483647 h 518"/>
              <a:gd name="T36" fmla="*/ 2147483647 w 471"/>
              <a:gd name="T37" fmla="*/ 2147483647 h 518"/>
              <a:gd name="T38" fmla="*/ 2147483647 w 471"/>
              <a:gd name="T39" fmla="*/ 2147483647 h 518"/>
              <a:gd name="T40" fmla="*/ 2147483647 w 471"/>
              <a:gd name="T41" fmla="*/ 2147483647 h 518"/>
              <a:gd name="T42" fmla="*/ 2147483647 w 471"/>
              <a:gd name="T43" fmla="*/ 2147483647 h 518"/>
              <a:gd name="T44" fmla="*/ 2147483647 w 471"/>
              <a:gd name="T45" fmla="*/ 2147483647 h 518"/>
              <a:gd name="T46" fmla="*/ 2147483647 w 471"/>
              <a:gd name="T47" fmla="*/ 2147483647 h 518"/>
              <a:gd name="T48" fmla="*/ 2147483647 w 471"/>
              <a:gd name="T49" fmla="*/ 2147483647 h 518"/>
              <a:gd name="T50" fmla="*/ 2147483647 w 471"/>
              <a:gd name="T51" fmla="*/ 2147483647 h 518"/>
              <a:gd name="T52" fmla="*/ 2147483647 w 471"/>
              <a:gd name="T53" fmla="*/ 2147483647 h 518"/>
              <a:gd name="T54" fmla="*/ 2147483647 w 471"/>
              <a:gd name="T55" fmla="*/ 2147483647 h 518"/>
              <a:gd name="T56" fmla="*/ 2147483647 w 471"/>
              <a:gd name="T57" fmla="*/ 2147483647 h 518"/>
              <a:gd name="T58" fmla="*/ 2147483647 w 471"/>
              <a:gd name="T59" fmla="*/ 2147483647 h 518"/>
              <a:gd name="T60" fmla="*/ 2147483647 w 471"/>
              <a:gd name="T61" fmla="*/ 2147483647 h 518"/>
              <a:gd name="T62" fmla="*/ 2147483647 w 471"/>
              <a:gd name="T63" fmla="*/ 2147483647 h 518"/>
              <a:gd name="T64" fmla="*/ 2147483647 w 471"/>
              <a:gd name="T65" fmla="*/ 2147483647 h 518"/>
              <a:gd name="T66" fmla="*/ 2147483647 w 471"/>
              <a:gd name="T67" fmla="*/ 2147483647 h 518"/>
              <a:gd name="T68" fmla="*/ 2147483647 w 471"/>
              <a:gd name="T69" fmla="*/ 2147483647 h 518"/>
              <a:gd name="T70" fmla="*/ 2147483647 w 471"/>
              <a:gd name="T71" fmla="*/ 2147483647 h 518"/>
              <a:gd name="T72" fmla="*/ 2147483647 w 471"/>
              <a:gd name="T73" fmla="*/ 2147483647 h 518"/>
              <a:gd name="T74" fmla="*/ 2147483647 w 471"/>
              <a:gd name="T75" fmla="*/ 2147483647 h 518"/>
              <a:gd name="T76" fmla="*/ 2147483647 w 471"/>
              <a:gd name="T77" fmla="*/ 2147483647 h 518"/>
              <a:gd name="T78" fmla="*/ 2147483647 w 471"/>
              <a:gd name="T79" fmla="*/ 2147483647 h 518"/>
              <a:gd name="T80" fmla="*/ 2147483647 w 471"/>
              <a:gd name="T81" fmla="*/ 2147483647 h 518"/>
              <a:gd name="T82" fmla="*/ 2147483647 w 471"/>
              <a:gd name="T83" fmla="*/ 2147483647 h 518"/>
              <a:gd name="T84" fmla="*/ 2147483647 w 471"/>
              <a:gd name="T85" fmla="*/ 2147483647 h 518"/>
              <a:gd name="T86" fmla="*/ 2147483647 w 471"/>
              <a:gd name="T87" fmla="*/ 2147483647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0000FF"/>
          </a:solidFill>
          <a:ln w="9525" cmpd="sng">
            <a:solidFill>
              <a:srgbClr val="FFFFFF"/>
            </a:solidFill>
            <a:prstDash val="solid"/>
            <a:round/>
            <a:headEnd/>
            <a:tailEnd/>
          </a:ln>
        </p:spPr>
        <p:txBody>
          <a:bodyPr/>
          <a:lstStyle/>
          <a:p>
            <a:endParaRPr lang="en-AU"/>
          </a:p>
        </p:txBody>
      </p:sp>
      <p:sp>
        <p:nvSpPr>
          <p:cNvPr id="2253" name="Freeform 277"/>
          <p:cNvSpPr>
            <a:spLocks/>
          </p:cNvSpPr>
          <p:nvPr>
            <p:custDataLst>
              <p:tags r:id="rId204"/>
            </p:custDataLst>
          </p:nvPr>
        </p:nvSpPr>
        <p:spPr bwMode="auto">
          <a:xfrm>
            <a:off x="6557963" y="3198813"/>
            <a:ext cx="133350" cy="130175"/>
          </a:xfrm>
          <a:custGeom>
            <a:avLst/>
            <a:gdLst>
              <a:gd name="T0" fmla="*/ 2147483647 w 293"/>
              <a:gd name="T1" fmla="*/ 2147483647 h 246"/>
              <a:gd name="T2" fmla="*/ 2147483647 w 293"/>
              <a:gd name="T3" fmla="*/ 2147483647 h 246"/>
              <a:gd name="T4" fmla="*/ 2147483647 w 293"/>
              <a:gd name="T5" fmla="*/ 2147483647 h 246"/>
              <a:gd name="T6" fmla="*/ 2147483647 w 293"/>
              <a:gd name="T7" fmla="*/ 2147483647 h 246"/>
              <a:gd name="T8" fmla="*/ 2147483647 w 293"/>
              <a:gd name="T9" fmla="*/ 2147483647 h 246"/>
              <a:gd name="T10" fmla="*/ 2147483647 w 293"/>
              <a:gd name="T11" fmla="*/ 2147483647 h 246"/>
              <a:gd name="T12" fmla="*/ 2147483647 w 293"/>
              <a:gd name="T13" fmla="*/ 2147483647 h 246"/>
              <a:gd name="T14" fmla="*/ 2147483647 w 293"/>
              <a:gd name="T15" fmla="*/ 2147483647 h 246"/>
              <a:gd name="T16" fmla="*/ 2147483647 w 293"/>
              <a:gd name="T17" fmla="*/ 2147483647 h 246"/>
              <a:gd name="T18" fmla="*/ 2147483647 w 293"/>
              <a:gd name="T19" fmla="*/ 2147483647 h 246"/>
              <a:gd name="T20" fmla="*/ 2147483647 w 293"/>
              <a:gd name="T21" fmla="*/ 2147483647 h 246"/>
              <a:gd name="T22" fmla="*/ 2147483647 w 293"/>
              <a:gd name="T23" fmla="*/ 2147483647 h 246"/>
              <a:gd name="T24" fmla="*/ 2147483647 w 293"/>
              <a:gd name="T25" fmla="*/ 2147483647 h 246"/>
              <a:gd name="T26" fmla="*/ 2147483647 w 293"/>
              <a:gd name="T27" fmla="*/ 2147483647 h 246"/>
              <a:gd name="T28" fmla="*/ 2147483647 w 293"/>
              <a:gd name="T29" fmla="*/ 2147483647 h 246"/>
              <a:gd name="T30" fmla="*/ 2147483647 w 293"/>
              <a:gd name="T31" fmla="*/ 2147483647 h 246"/>
              <a:gd name="T32" fmla="*/ 2147483647 w 293"/>
              <a:gd name="T33" fmla="*/ 2147483647 h 246"/>
              <a:gd name="T34" fmla="*/ 2147483647 w 293"/>
              <a:gd name="T35" fmla="*/ 2147483647 h 246"/>
              <a:gd name="T36" fmla="*/ 2147483647 w 293"/>
              <a:gd name="T37" fmla="*/ 2147483647 h 246"/>
              <a:gd name="T38" fmla="*/ 2147483647 w 293"/>
              <a:gd name="T39" fmla="*/ 2147483647 h 246"/>
              <a:gd name="T40" fmla="*/ 2147483647 w 293"/>
              <a:gd name="T41" fmla="*/ 2147483647 h 246"/>
              <a:gd name="T42" fmla="*/ 2147483647 w 293"/>
              <a:gd name="T43" fmla="*/ 2147483647 h 246"/>
              <a:gd name="T44" fmla="*/ 2147483647 w 293"/>
              <a:gd name="T45" fmla="*/ 2147483647 h 246"/>
              <a:gd name="T46" fmla="*/ 2147483647 w 293"/>
              <a:gd name="T47" fmla="*/ 2147483647 h 246"/>
              <a:gd name="T48" fmla="*/ 2147483647 w 293"/>
              <a:gd name="T49" fmla="*/ 2147483647 h 246"/>
              <a:gd name="T50" fmla="*/ 2147483647 w 293"/>
              <a:gd name="T51" fmla="*/ 2147483647 h 246"/>
              <a:gd name="T52" fmla="*/ 2147483647 w 293"/>
              <a:gd name="T53" fmla="*/ 2147483647 h 246"/>
              <a:gd name="T54" fmla="*/ 2147483647 w 293"/>
              <a:gd name="T55" fmla="*/ 2147483647 h 246"/>
              <a:gd name="T56" fmla="*/ 2147483647 w 293"/>
              <a:gd name="T57" fmla="*/ 2147483647 h 246"/>
              <a:gd name="T58" fmla="*/ 2147483647 w 293"/>
              <a:gd name="T59" fmla="*/ 2147483647 h 246"/>
              <a:gd name="T60" fmla="*/ 2147483647 w 293"/>
              <a:gd name="T61" fmla="*/ 2147483647 h 246"/>
              <a:gd name="T62" fmla="*/ 0 w 293"/>
              <a:gd name="T63" fmla="*/ 2147483647 h 246"/>
              <a:gd name="T64" fmla="*/ 2147483647 w 293"/>
              <a:gd name="T65" fmla="*/ 2147483647 h 246"/>
              <a:gd name="T66" fmla="*/ 2147483647 w 293"/>
              <a:gd name="T67" fmla="*/ 2147483647 h 246"/>
              <a:gd name="T68" fmla="*/ 2147483647 w 293"/>
              <a:gd name="T69" fmla="*/ 2147483647 h 246"/>
              <a:gd name="T70" fmla="*/ 2147483647 w 293"/>
              <a:gd name="T71" fmla="*/ 2147483647 h 246"/>
              <a:gd name="T72" fmla="*/ 2147483647 w 293"/>
              <a:gd name="T73" fmla="*/ 2147483647 h 246"/>
              <a:gd name="T74" fmla="*/ 2147483647 w 293"/>
              <a:gd name="T75" fmla="*/ 2147483647 h 246"/>
              <a:gd name="T76" fmla="*/ 2147483647 w 293"/>
              <a:gd name="T77" fmla="*/ 2147483647 h 246"/>
              <a:gd name="T78" fmla="*/ 2147483647 w 293"/>
              <a:gd name="T79" fmla="*/ 2147483647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0000FF"/>
          </a:solidFill>
          <a:ln w="9525" cmpd="sng">
            <a:solidFill>
              <a:srgbClr val="FFFFFF"/>
            </a:solidFill>
            <a:prstDash val="solid"/>
            <a:round/>
            <a:headEnd/>
            <a:tailEnd/>
          </a:ln>
        </p:spPr>
        <p:txBody>
          <a:bodyPr/>
          <a:lstStyle/>
          <a:p>
            <a:endParaRPr lang="en-AU"/>
          </a:p>
        </p:txBody>
      </p:sp>
      <p:sp>
        <p:nvSpPr>
          <p:cNvPr id="2254" name="Freeform 278"/>
          <p:cNvSpPr>
            <a:spLocks/>
          </p:cNvSpPr>
          <p:nvPr>
            <p:custDataLst>
              <p:tags r:id="rId205"/>
            </p:custDataLst>
          </p:nvPr>
        </p:nvSpPr>
        <p:spPr bwMode="auto">
          <a:xfrm>
            <a:off x="6959600" y="2435225"/>
            <a:ext cx="85725" cy="130175"/>
          </a:xfrm>
          <a:custGeom>
            <a:avLst/>
            <a:gdLst>
              <a:gd name="T0" fmla="*/ 2147483647 w 200"/>
              <a:gd name="T1" fmla="*/ 2147483647 h 246"/>
              <a:gd name="T2" fmla="*/ 2147483647 w 200"/>
              <a:gd name="T3" fmla="*/ 2147483647 h 246"/>
              <a:gd name="T4" fmla="*/ 2147483647 w 200"/>
              <a:gd name="T5" fmla="*/ 2147483647 h 246"/>
              <a:gd name="T6" fmla="*/ 2147483647 w 200"/>
              <a:gd name="T7" fmla="*/ 2147483647 h 246"/>
              <a:gd name="T8" fmla="*/ 2147483647 w 200"/>
              <a:gd name="T9" fmla="*/ 2147483647 h 246"/>
              <a:gd name="T10" fmla="*/ 2147483647 w 200"/>
              <a:gd name="T11" fmla="*/ 2147483647 h 246"/>
              <a:gd name="T12" fmla="*/ 2147483647 w 200"/>
              <a:gd name="T13" fmla="*/ 2147483647 h 246"/>
              <a:gd name="T14" fmla="*/ 2147483647 w 200"/>
              <a:gd name="T15" fmla="*/ 2147483647 h 246"/>
              <a:gd name="T16" fmla="*/ 2147483647 w 200"/>
              <a:gd name="T17" fmla="*/ 2147483647 h 246"/>
              <a:gd name="T18" fmla="*/ 2147483647 w 200"/>
              <a:gd name="T19" fmla="*/ 2147483647 h 246"/>
              <a:gd name="T20" fmla="*/ 2147483647 w 200"/>
              <a:gd name="T21" fmla="*/ 2147483647 h 246"/>
              <a:gd name="T22" fmla="*/ 2147483647 w 200"/>
              <a:gd name="T23" fmla="*/ 2147483647 h 246"/>
              <a:gd name="T24" fmla="*/ 2147483647 w 200"/>
              <a:gd name="T25" fmla="*/ 2147483647 h 246"/>
              <a:gd name="T26" fmla="*/ 2147483647 w 200"/>
              <a:gd name="T27" fmla="*/ 2147483647 h 246"/>
              <a:gd name="T28" fmla="*/ 2147483647 w 200"/>
              <a:gd name="T29" fmla="*/ 2147483647 h 246"/>
              <a:gd name="T30" fmla="*/ 2147483647 w 200"/>
              <a:gd name="T31" fmla="*/ 2147483647 h 246"/>
              <a:gd name="T32" fmla="*/ 2147483647 w 200"/>
              <a:gd name="T33" fmla="*/ 2147483647 h 246"/>
              <a:gd name="T34" fmla="*/ 2147483647 w 200"/>
              <a:gd name="T35" fmla="*/ 2147483647 h 246"/>
              <a:gd name="T36" fmla="*/ 2147483647 w 200"/>
              <a:gd name="T37" fmla="*/ 2147483647 h 246"/>
              <a:gd name="T38" fmla="*/ 2147483647 w 200"/>
              <a:gd name="T39" fmla="*/ 2147483647 h 246"/>
              <a:gd name="T40" fmla="*/ 2147483647 w 200"/>
              <a:gd name="T41" fmla="*/ 2147483647 h 246"/>
              <a:gd name="T42" fmla="*/ 2147483647 w 200"/>
              <a:gd name="T43" fmla="*/ 2147483647 h 246"/>
              <a:gd name="T44" fmla="*/ 2147483647 w 200"/>
              <a:gd name="T45" fmla="*/ 2147483647 h 246"/>
              <a:gd name="T46" fmla="*/ 2147483647 w 200"/>
              <a:gd name="T47" fmla="*/ 2147483647 h 246"/>
              <a:gd name="T48" fmla="*/ 2147483647 w 200"/>
              <a:gd name="T49" fmla="*/ 2147483647 h 246"/>
              <a:gd name="T50" fmla="*/ 2147483647 w 200"/>
              <a:gd name="T51" fmla="*/ 2147483647 h 246"/>
              <a:gd name="T52" fmla="*/ 2147483647 w 200"/>
              <a:gd name="T53" fmla="*/ 2147483647 h 246"/>
              <a:gd name="T54" fmla="*/ 2147483647 w 200"/>
              <a:gd name="T55" fmla="*/ 2147483647 h 246"/>
              <a:gd name="T56" fmla="*/ 2147483647 w 200"/>
              <a:gd name="T57" fmla="*/ 2147483647 h 246"/>
              <a:gd name="T58" fmla="*/ 2147483647 w 200"/>
              <a:gd name="T59" fmla="*/ 2147483647 h 246"/>
              <a:gd name="T60" fmla="*/ 2147483647 w 200"/>
              <a:gd name="T61" fmla="*/ 2147483647 h 246"/>
              <a:gd name="T62" fmla="*/ 2147483647 w 200"/>
              <a:gd name="T63" fmla="*/ 2147483647 h 246"/>
              <a:gd name="T64" fmla="*/ 2147483647 w 200"/>
              <a:gd name="T65" fmla="*/ 2147483647 h 246"/>
              <a:gd name="T66" fmla="*/ 2147483647 w 200"/>
              <a:gd name="T67" fmla="*/ 2147483647 h 246"/>
              <a:gd name="T68" fmla="*/ 2147483647 w 200"/>
              <a:gd name="T69" fmla="*/ 2147483647 h 246"/>
              <a:gd name="T70" fmla="*/ 2147483647 w 200"/>
              <a:gd name="T71" fmla="*/ 2147483647 h 246"/>
              <a:gd name="T72" fmla="*/ 2147483647 w 200"/>
              <a:gd name="T73" fmla="*/ 2147483647 h 246"/>
              <a:gd name="T74" fmla="*/ 2147483647 w 200"/>
              <a:gd name="T75" fmla="*/ 2147483647 h 246"/>
              <a:gd name="T76" fmla="*/ 2147483647 w 200"/>
              <a:gd name="T77" fmla="*/ 2147483647 h 246"/>
              <a:gd name="T78" fmla="*/ 2147483647 w 200"/>
              <a:gd name="T79" fmla="*/ 2147483647 h 246"/>
              <a:gd name="T80" fmla="*/ 2147483647 w 200"/>
              <a:gd name="T81" fmla="*/ 2147483647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FF0000"/>
          </a:solidFill>
          <a:ln w="9525" cmpd="sng">
            <a:solidFill>
              <a:srgbClr val="FFFFFF"/>
            </a:solidFill>
            <a:prstDash val="solid"/>
            <a:round/>
            <a:headEnd/>
            <a:tailEnd/>
          </a:ln>
        </p:spPr>
        <p:txBody>
          <a:bodyPr/>
          <a:lstStyle/>
          <a:p>
            <a:endParaRPr lang="en-AU"/>
          </a:p>
        </p:txBody>
      </p:sp>
      <p:sp>
        <p:nvSpPr>
          <p:cNvPr id="2255" name="Freeform 279"/>
          <p:cNvSpPr>
            <a:spLocks/>
          </p:cNvSpPr>
          <p:nvPr>
            <p:custDataLst>
              <p:tags r:id="rId206"/>
            </p:custDataLst>
          </p:nvPr>
        </p:nvSpPr>
        <p:spPr bwMode="auto">
          <a:xfrm>
            <a:off x="7527925" y="3732213"/>
            <a:ext cx="231775" cy="254000"/>
          </a:xfrm>
          <a:custGeom>
            <a:avLst/>
            <a:gdLst>
              <a:gd name="T0" fmla="*/ 2147483647 w 538"/>
              <a:gd name="T1" fmla="*/ 2147483647 h 487"/>
              <a:gd name="T2" fmla="*/ 2147483647 w 538"/>
              <a:gd name="T3" fmla="*/ 2147483647 h 487"/>
              <a:gd name="T4" fmla="*/ 2147483647 w 538"/>
              <a:gd name="T5" fmla="*/ 2147483647 h 487"/>
              <a:gd name="T6" fmla="*/ 2147483647 w 538"/>
              <a:gd name="T7" fmla="*/ 2147483647 h 487"/>
              <a:gd name="T8" fmla="*/ 2147483647 w 538"/>
              <a:gd name="T9" fmla="*/ 2147483647 h 487"/>
              <a:gd name="T10" fmla="*/ 2147483647 w 538"/>
              <a:gd name="T11" fmla="*/ 2147483647 h 487"/>
              <a:gd name="T12" fmla="*/ 2147483647 w 538"/>
              <a:gd name="T13" fmla="*/ 2147483647 h 487"/>
              <a:gd name="T14" fmla="*/ 2147483647 w 538"/>
              <a:gd name="T15" fmla="*/ 2147483647 h 487"/>
              <a:gd name="T16" fmla="*/ 2147483647 w 538"/>
              <a:gd name="T17" fmla="*/ 2147483647 h 487"/>
              <a:gd name="T18" fmla="*/ 2147483647 w 538"/>
              <a:gd name="T19" fmla="*/ 2147483647 h 487"/>
              <a:gd name="T20" fmla="*/ 2147483647 w 538"/>
              <a:gd name="T21" fmla="*/ 2147483647 h 487"/>
              <a:gd name="T22" fmla="*/ 2147483647 w 538"/>
              <a:gd name="T23" fmla="*/ 2147483647 h 487"/>
              <a:gd name="T24" fmla="*/ 2147483647 w 538"/>
              <a:gd name="T25" fmla="*/ 2147483647 h 487"/>
              <a:gd name="T26" fmla="*/ 2147483647 w 538"/>
              <a:gd name="T27" fmla="*/ 2147483647 h 487"/>
              <a:gd name="T28" fmla="*/ 2147483647 w 538"/>
              <a:gd name="T29" fmla="*/ 2147483647 h 487"/>
              <a:gd name="T30" fmla="*/ 2147483647 w 538"/>
              <a:gd name="T31" fmla="*/ 2147483647 h 487"/>
              <a:gd name="T32" fmla="*/ 2147483647 w 538"/>
              <a:gd name="T33" fmla="*/ 2147483647 h 487"/>
              <a:gd name="T34" fmla="*/ 2147483647 w 538"/>
              <a:gd name="T35" fmla="*/ 2147483647 h 487"/>
              <a:gd name="T36" fmla="*/ 2147483647 w 538"/>
              <a:gd name="T37" fmla="*/ 2147483647 h 487"/>
              <a:gd name="T38" fmla="*/ 2147483647 w 538"/>
              <a:gd name="T39" fmla="*/ 2147483647 h 487"/>
              <a:gd name="T40" fmla="*/ 2147483647 w 538"/>
              <a:gd name="T41" fmla="*/ 2147483647 h 487"/>
              <a:gd name="T42" fmla="*/ 2147483647 w 538"/>
              <a:gd name="T43" fmla="*/ 2147483647 h 487"/>
              <a:gd name="T44" fmla="*/ 2147483647 w 538"/>
              <a:gd name="T45" fmla="*/ 2147483647 h 487"/>
              <a:gd name="T46" fmla="*/ 2147483647 w 538"/>
              <a:gd name="T47" fmla="*/ 2147483647 h 487"/>
              <a:gd name="T48" fmla="*/ 2147483647 w 538"/>
              <a:gd name="T49" fmla="*/ 2147483647 h 487"/>
              <a:gd name="T50" fmla="*/ 2147483647 w 538"/>
              <a:gd name="T51" fmla="*/ 2147483647 h 487"/>
              <a:gd name="T52" fmla="*/ 2147483647 w 538"/>
              <a:gd name="T53" fmla="*/ 2147483647 h 487"/>
              <a:gd name="T54" fmla="*/ 2147483647 w 538"/>
              <a:gd name="T55" fmla="*/ 2147483647 h 487"/>
              <a:gd name="T56" fmla="*/ 2147483647 w 538"/>
              <a:gd name="T57" fmla="*/ 2147483647 h 487"/>
              <a:gd name="T58" fmla="*/ 2147483647 w 538"/>
              <a:gd name="T59" fmla="*/ 2147483647 h 487"/>
              <a:gd name="T60" fmla="*/ 2147483647 w 538"/>
              <a:gd name="T61" fmla="*/ 2147483647 h 487"/>
              <a:gd name="T62" fmla="*/ 2147483647 w 538"/>
              <a:gd name="T63" fmla="*/ 2147483647 h 487"/>
              <a:gd name="T64" fmla="*/ 2147483647 w 538"/>
              <a:gd name="T65" fmla="*/ 2147483647 h 487"/>
              <a:gd name="T66" fmla="*/ 2147483647 w 538"/>
              <a:gd name="T67" fmla="*/ 2147483647 h 487"/>
              <a:gd name="T68" fmla="*/ 2147483647 w 538"/>
              <a:gd name="T69" fmla="*/ 2147483647 h 487"/>
              <a:gd name="T70" fmla="*/ 2147483647 w 538"/>
              <a:gd name="T71" fmla="*/ 2147483647 h 487"/>
              <a:gd name="T72" fmla="*/ 2147483647 w 538"/>
              <a:gd name="T73" fmla="*/ 2147483647 h 487"/>
              <a:gd name="T74" fmla="*/ 2147483647 w 538"/>
              <a:gd name="T75" fmla="*/ 2147483647 h 487"/>
              <a:gd name="T76" fmla="*/ 2147483647 w 538"/>
              <a:gd name="T77" fmla="*/ 2147483647 h 487"/>
              <a:gd name="T78" fmla="*/ 2147483647 w 538"/>
              <a:gd name="T79" fmla="*/ 2147483647 h 487"/>
              <a:gd name="T80" fmla="*/ 2147483647 w 538"/>
              <a:gd name="T81" fmla="*/ 2147483647 h 487"/>
              <a:gd name="T82" fmla="*/ 2147483647 w 538"/>
              <a:gd name="T83" fmla="*/ 2147483647 h 487"/>
              <a:gd name="T84" fmla="*/ 2147483647 w 538"/>
              <a:gd name="T85" fmla="*/ 2147483647 h 487"/>
              <a:gd name="T86" fmla="*/ 2147483647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FF0000"/>
          </a:solidFill>
          <a:ln w="9525" cmpd="sng">
            <a:solidFill>
              <a:srgbClr val="FFFFFF"/>
            </a:solidFill>
            <a:prstDash val="solid"/>
            <a:round/>
            <a:headEnd/>
            <a:tailEnd/>
          </a:ln>
        </p:spPr>
        <p:txBody>
          <a:bodyPr/>
          <a:lstStyle/>
          <a:p>
            <a:endParaRPr lang="en-AU"/>
          </a:p>
        </p:txBody>
      </p:sp>
      <p:sp>
        <p:nvSpPr>
          <p:cNvPr id="2256" name="Freeform 280"/>
          <p:cNvSpPr>
            <a:spLocks/>
          </p:cNvSpPr>
          <p:nvPr>
            <p:custDataLst>
              <p:tags r:id="rId207"/>
            </p:custDataLst>
          </p:nvPr>
        </p:nvSpPr>
        <p:spPr bwMode="auto">
          <a:xfrm>
            <a:off x="7720013" y="3716338"/>
            <a:ext cx="106362" cy="128587"/>
          </a:xfrm>
          <a:custGeom>
            <a:avLst/>
            <a:gdLst>
              <a:gd name="T0" fmla="*/ 2147483647 w 253"/>
              <a:gd name="T1" fmla="*/ 2147483647 h 246"/>
              <a:gd name="T2" fmla="*/ 2147483647 w 253"/>
              <a:gd name="T3" fmla="*/ 2147483647 h 246"/>
              <a:gd name="T4" fmla="*/ 2147483647 w 253"/>
              <a:gd name="T5" fmla="*/ 2147483647 h 246"/>
              <a:gd name="T6" fmla="*/ 2147483647 w 253"/>
              <a:gd name="T7" fmla="*/ 2147483647 h 246"/>
              <a:gd name="T8" fmla="*/ 2147483647 w 253"/>
              <a:gd name="T9" fmla="*/ 2147483647 h 246"/>
              <a:gd name="T10" fmla="*/ 2147483647 w 253"/>
              <a:gd name="T11" fmla="*/ 2147483647 h 246"/>
              <a:gd name="T12" fmla="*/ 2147483647 w 253"/>
              <a:gd name="T13" fmla="*/ 2147483647 h 246"/>
              <a:gd name="T14" fmla="*/ 2147483647 w 253"/>
              <a:gd name="T15" fmla="*/ 2147483647 h 246"/>
              <a:gd name="T16" fmla="*/ 2147483647 w 253"/>
              <a:gd name="T17" fmla="*/ 2147483647 h 246"/>
              <a:gd name="T18" fmla="*/ 2147483647 w 253"/>
              <a:gd name="T19" fmla="*/ 2147483647 h 246"/>
              <a:gd name="T20" fmla="*/ 2147483647 w 253"/>
              <a:gd name="T21" fmla="*/ 2147483647 h 246"/>
              <a:gd name="T22" fmla="*/ 2147483647 w 253"/>
              <a:gd name="T23" fmla="*/ 2147483647 h 246"/>
              <a:gd name="T24" fmla="*/ 2147483647 w 253"/>
              <a:gd name="T25" fmla="*/ 2147483647 h 246"/>
              <a:gd name="T26" fmla="*/ 2147483647 w 253"/>
              <a:gd name="T27" fmla="*/ 2147483647 h 246"/>
              <a:gd name="T28" fmla="*/ 2147483647 w 253"/>
              <a:gd name="T29" fmla="*/ 2147483647 h 246"/>
              <a:gd name="T30" fmla="*/ 2147483647 w 253"/>
              <a:gd name="T31" fmla="*/ 2147483647 h 246"/>
              <a:gd name="T32" fmla="*/ 2147483647 w 253"/>
              <a:gd name="T33" fmla="*/ 2147483647 h 246"/>
              <a:gd name="T34" fmla="*/ 2147483647 w 253"/>
              <a:gd name="T35" fmla="*/ 2147483647 h 246"/>
              <a:gd name="T36" fmla="*/ 2147483647 w 253"/>
              <a:gd name="T37" fmla="*/ 2147483647 h 246"/>
              <a:gd name="T38" fmla="*/ 2147483647 w 253"/>
              <a:gd name="T39" fmla="*/ 2147483647 h 246"/>
              <a:gd name="T40" fmla="*/ 2147483647 w 253"/>
              <a:gd name="T41" fmla="*/ 2147483647 h 246"/>
              <a:gd name="T42" fmla="*/ 2147483647 w 253"/>
              <a:gd name="T43" fmla="*/ 2147483647 h 246"/>
              <a:gd name="T44" fmla="*/ 2147483647 w 253"/>
              <a:gd name="T45" fmla="*/ 2147483647 h 246"/>
              <a:gd name="T46" fmla="*/ 2147483647 w 253"/>
              <a:gd name="T47" fmla="*/ 2147483647 h 246"/>
              <a:gd name="T48" fmla="*/ 2147483647 w 253"/>
              <a:gd name="T49" fmla="*/ 2147483647 h 246"/>
              <a:gd name="T50" fmla="*/ 2147483647 w 253"/>
              <a:gd name="T51" fmla="*/ 2147483647 h 246"/>
              <a:gd name="T52" fmla="*/ 2147483647 w 253"/>
              <a:gd name="T53" fmla="*/ 2147483647 h 246"/>
              <a:gd name="T54" fmla="*/ 2147483647 w 253"/>
              <a:gd name="T55" fmla="*/ 2147483647 h 246"/>
              <a:gd name="T56" fmla="*/ 2147483647 w 253"/>
              <a:gd name="T57" fmla="*/ 2147483647 h 246"/>
              <a:gd name="T58" fmla="*/ 2147483647 w 253"/>
              <a:gd name="T59" fmla="*/ 2147483647 h 246"/>
              <a:gd name="T60" fmla="*/ 2147483647 w 253"/>
              <a:gd name="T61" fmla="*/ 2147483647 h 246"/>
              <a:gd name="T62" fmla="*/ 2147483647 w 253"/>
              <a:gd name="T63" fmla="*/ 2147483647 h 246"/>
              <a:gd name="T64" fmla="*/ 2147483647 w 253"/>
              <a:gd name="T65" fmla="*/ 2147483647 h 246"/>
              <a:gd name="T66" fmla="*/ 2147483647 w 253"/>
              <a:gd name="T67" fmla="*/ 2147483647 h 246"/>
              <a:gd name="T68" fmla="*/ 2147483647 w 253"/>
              <a:gd name="T69" fmla="*/ 2147483647 h 246"/>
              <a:gd name="T70" fmla="*/ 2147483647 w 253"/>
              <a:gd name="T71" fmla="*/ 2147483647 h 246"/>
              <a:gd name="T72" fmla="*/ 2147483647 w 253"/>
              <a:gd name="T73" fmla="*/ 2147483647 h 246"/>
              <a:gd name="T74" fmla="*/ 2147483647 w 253"/>
              <a:gd name="T75" fmla="*/ 2147483647 h 246"/>
              <a:gd name="T76" fmla="*/ 2147483647 w 253"/>
              <a:gd name="T77" fmla="*/ 2147483647 h 246"/>
              <a:gd name="T78" fmla="*/ 2147483647 w 253"/>
              <a:gd name="T79" fmla="*/ 2147483647 h 246"/>
              <a:gd name="T80" fmla="*/ 2147483647 w 253"/>
              <a:gd name="T81" fmla="*/ 2147483647 h 246"/>
              <a:gd name="T82" fmla="*/ 2147483647 w 253"/>
              <a:gd name="T83" fmla="*/ 2147483647 h 246"/>
              <a:gd name="T84" fmla="*/ 2147483647 w 253"/>
              <a:gd name="T85" fmla="*/ 2147483647 h 246"/>
              <a:gd name="T86" fmla="*/ 2147483647 w 253"/>
              <a:gd name="T87" fmla="*/ 2147483647 h 246"/>
              <a:gd name="T88" fmla="*/ 2147483647 w 253"/>
              <a:gd name="T89" fmla="*/ 2147483647 h 246"/>
              <a:gd name="T90" fmla="*/ 2147483647 w 253"/>
              <a:gd name="T91" fmla="*/ 2147483647 h 246"/>
              <a:gd name="T92" fmla="*/ 2147483647 w 253"/>
              <a:gd name="T93" fmla="*/ 2147483647 h 246"/>
              <a:gd name="T94" fmla="*/ 2147483647 w 253"/>
              <a:gd name="T95" fmla="*/ 2147483647 h 246"/>
              <a:gd name="T96" fmla="*/ 2147483647 w 253"/>
              <a:gd name="T97" fmla="*/ 2147483647 h 246"/>
              <a:gd name="T98" fmla="*/ 2147483647 w 253"/>
              <a:gd name="T99" fmla="*/ 2147483647 h 246"/>
              <a:gd name="T100" fmla="*/ 2147483647 w 253"/>
              <a:gd name="T101" fmla="*/ 2147483647 h 246"/>
              <a:gd name="T102" fmla="*/ 2147483647 w 253"/>
              <a:gd name="T103" fmla="*/ 2147483647 h 246"/>
              <a:gd name="T104" fmla="*/ 2147483647 w 253"/>
              <a:gd name="T105" fmla="*/ 2147483647 h 246"/>
              <a:gd name="T106" fmla="*/ 2147483647 w 253"/>
              <a:gd name="T107" fmla="*/ 2147483647 h 246"/>
              <a:gd name="T108" fmla="*/ 2147483647 w 253"/>
              <a:gd name="T109" fmla="*/ 2147483647 h 246"/>
              <a:gd name="T110" fmla="*/ 2147483647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mpd="sng">
            <a:solidFill>
              <a:srgbClr val="FFFFFF"/>
            </a:solidFill>
            <a:prstDash val="solid"/>
            <a:round/>
            <a:headEnd/>
            <a:tailEnd/>
          </a:ln>
        </p:spPr>
        <p:txBody>
          <a:bodyPr/>
          <a:lstStyle/>
          <a:p>
            <a:endParaRPr lang="en-AU"/>
          </a:p>
        </p:txBody>
      </p:sp>
      <p:sp>
        <p:nvSpPr>
          <p:cNvPr id="2257" name="Freeform 281"/>
          <p:cNvSpPr>
            <a:spLocks/>
          </p:cNvSpPr>
          <p:nvPr>
            <p:custDataLst>
              <p:tags r:id="rId208"/>
            </p:custDataLst>
          </p:nvPr>
        </p:nvSpPr>
        <p:spPr bwMode="auto">
          <a:xfrm>
            <a:off x="5995988" y="3349625"/>
            <a:ext cx="63500" cy="119063"/>
          </a:xfrm>
          <a:custGeom>
            <a:avLst/>
            <a:gdLst>
              <a:gd name="T0" fmla="*/ 2147483647 w 141"/>
              <a:gd name="T1" fmla="*/ 2147483647 h 228"/>
              <a:gd name="T2" fmla="*/ 2147483647 w 141"/>
              <a:gd name="T3" fmla="*/ 2147483647 h 228"/>
              <a:gd name="T4" fmla="*/ 2147483647 w 141"/>
              <a:gd name="T5" fmla="*/ 2147483647 h 228"/>
              <a:gd name="T6" fmla="*/ 2147483647 w 141"/>
              <a:gd name="T7" fmla="*/ 2147483647 h 228"/>
              <a:gd name="T8" fmla="*/ 2147483647 w 141"/>
              <a:gd name="T9" fmla="*/ 2147483647 h 228"/>
              <a:gd name="T10" fmla="*/ 2147483647 w 141"/>
              <a:gd name="T11" fmla="*/ 2147483647 h 228"/>
              <a:gd name="T12" fmla="*/ 2147483647 w 141"/>
              <a:gd name="T13" fmla="*/ 2147483647 h 228"/>
              <a:gd name="T14" fmla="*/ 2147483647 w 141"/>
              <a:gd name="T15" fmla="*/ 2147483647 h 228"/>
              <a:gd name="T16" fmla="*/ 0 w 141"/>
              <a:gd name="T17" fmla="*/ 2147483647 h 228"/>
              <a:gd name="T18" fmla="*/ 2147483647 w 141"/>
              <a:gd name="T19" fmla="*/ 2147483647 h 228"/>
              <a:gd name="T20" fmla="*/ 2147483647 w 141"/>
              <a:gd name="T21" fmla="*/ 2147483647 h 228"/>
              <a:gd name="T22" fmla="*/ 2147483647 w 141"/>
              <a:gd name="T23" fmla="*/ 2147483647 h 228"/>
              <a:gd name="T24" fmla="*/ 2147483647 w 141"/>
              <a:gd name="T25" fmla="*/ 2147483647 h 228"/>
              <a:gd name="T26" fmla="*/ 2147483647 w 141"/>
              <a:gd name="T27" fmla="*/ 2147483647 h 228"/>
              <a:gd name="T28" fmla="*/ 2147483647 w 141"/>
              <a:gd name="T29" fmla="*/ 0 h 228"/>
              <a:gd name="T30" fmla="*/ 2147483647 w 141"/>
              <a:gd name="T31" fmla="*/ 2147483647 h 228"/>
              <a:gd name="T32" fmla="*/ 2147483647 w 141"/>
              <a:gd name="T33" fmla="*/ 2147483647 h 228"/>
              <a:gd name="T34" fmla="*/ 2147483647 w 141"/>
              <a:gd name="T35" fmla="*/ 2147483647 h 228"/>
              <a:gd name="T36" fmla="*/ 2147483647 w 141"/>
              <a:gd name="T37" fmla="*/ 2147483647 h 228"/>
              <a:gd name="T38" fmla="*/ 2147483647 w 141"/>
              <a:gd name="T39" fmla="*/ 2147483647 h 228"/>
              <a:gd name="T40" fmla="*/ 2147483647 w 141"/>
              <a:gd name="T41" fmla="*/ 2147483647 h 228"/>
              <a:gd name="T42" fmla="*/ 2147483647 w 141"/>
              <a:gd name="T43" fmla="*/ 2147483647 h 228"/>
              <a:gd name="T44" fmla="*/ 2147483647 w 141"/>
              <a:gd name="T45" fmla="*/ 2147483647 h 228"/>
              <a:gd name="T46" fmla="*/ 2147483647 w 141"/>
              <a:gd name="T47" fmla="*/ 2147483647 h 228"/>
              <a:gd name="T48" fmla="*/ 2147483647 w 141"/>
              <a:gd name="T49" fmla="*/ 2147483647 h 228"/>
              <a:gd name="T50" fmla="*/ 2147483647 w 141"/>
              <a:gd name="T51" fmla="*/ 2147483647 h 228"/>
              <a:gd name="T52" fmla="*/ 2147483647 w 141"/>
              <a:gd name="T53" fmla="*/ 2147483647 h 228"/>
              <a:gd name="T54" fmla="*/ 2147483647 w 141"/>
              <a:gd name="T55" fmla="*/ 2147483647 h 228"/>
              <a:gd name="T56" fmla="*/ 2147483647 w 141"/>
              <a:gd name="T57" fmla="*/ 2147483647 h 228"/>
              <a:gd name="T58" fmla="*/ 2147483647 w 141"/>
              <a:gd name="T59" fmla="*/ 2147483647 h 228"/>
              <a:gd name="T60" fmla="*/ 2147483647 w 141"/>
              <a:gd name="T61" fmla="*/ 2147483647 h 228"/>
              <a:gd name="T62" fmla="*/ 2147483647 w 141"/>
              <a:gd name="T63" fmla="*/ 2147483647 h 228"/>
              <a:gd name="T64" fmla="*/ 2147483647 w 141"/>
              <a:gd name="T65" fmla="*/ 2147483647 h 228"/>
              <a:gd name="T66" fmla="*/ 2147483647 w 141"/>
              <a:gd name="T67" fmla="*/ 2147483647 h 228"/>
              <a:gd name="T68" fmla="*/ 2147483647 w 141"/>
              <a:gd name="T69" fmla="*/ 2147483647 h 228"/>
              <a:gd name="T70" fmla="*/ 2147483647 w 141"/>
              <a:gd name="T71" fmla="*/ 2147483647 h 228"/>
              <a:gd name="T72" fmla="*/ 2147483647 w 141"/>
              <a:gd name="T73" fmla="*/ 2147483647 h 228"/>
              <a:gd name="T74" fmla="*/ 2147483647 w 141"/>
              <a:gd name="T75" fmla="*/ 2147483647 h 228"/>
              <a:gd name="T76" fmla="*/ 2147483647 w 141"/>
              <a:gd name="T77" fmla="*/ 2147483647 h 228"/>
              <a:gd name="T78" fmla="*/ 2147483647 w 141"/>
              <a:gd name="T79" fmla="*/ 2147483647 h 228"/>
              <a:gd name="T80" fmla="*/ 2147483647 w 141"/>
              <a:gd name="T81" fmla="*/ 2147483647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FF0000"/>
          </a:solidFill>
          <a:ln w="9525" cmpd="sng">
            <a:solidFill>
              <a:srgbClr val="FFFFFF"/>
            </a:solidFill>
            <a:prstDash val="solid"/>
            <a:round/>
            <a:headEnd/>
            <a:tailEnd/>
          </a:ln>
        </p:spPr>
        <p:txBody>
          <a:bodyPr/>
          <a:lstStyle/>
          <a:p>
            <a:endParaRPr lang="en-AU"/>
          </a:p>
        </p:txBody>
      </p:sp>
      <p:grpSp>
        <p:nvGrpSpPr>
          <p:cNvPr id="2258" name="Group 282"/>
          <p:cNvGrpSpPr>
            <a:grpSpLocks/>
          </p:cNvGrpSpPr>
          <p:nvPr>
            <p:custDataLst>
              <p:tags r:id="rId209"/>
            </p:custDataLst>
          </p:nvPr>
        </p:nvGrpSpPr>
        <p:grpSpPr bwMode="auto">
          <a:xfrm>
            <a:off x="6935788" y="3060700"/>
            <a:ext cx="233362" cy="439738"/>
            <a:chOff x="5062" y="2295"/>
            <a:chExt cx="177" cy="279"/>
          </a:xfrm>
          <a:solidFill>
            <a:srgbClr val="FF0000"/>
          </a:solidFill>
        </p:grpSpPr>
        <p:sp>
          <p:nvSpPr>
            <p:cNvPr id="2504" name="Freeform 283"/>
            <p:cNvSpPr>
              <a:spLocks/>
            </p:cNvSpPr>
            <p:nvPr/>
          </p:nvSpPr>
          <p:spPr bwMode="auto">
            <a:xfrm>
              <a:off x="5154" y="2449"/>
              <a:ext cx="19" cy="37"/>
            </a:xfrm>
            <a:custGeom>
              <a:avLst/>
              <a:gdLst>
                <a:gd name="T0" fmla="*/ 12 w 60"/>
                <a:gd name="T1" fmla="*/ 37 h 110"/>
                <a:gd name="T2" fmla="*/ 13 w 60"/>
                <a:gd name="T3" fmla="*/ 37 h 110"/>
                <a:gd name="T4" fmla="*/ 15 w 60"/>
                <a:gd name="T5" fmla="*/ 36 h 110"/>
                <a:gd name="T6" fmla="*/ 16 w 60"/>
                <a:gd name="T7" fmla="*/ 34 h 110"/>
                <a:gd name="T8" fmla="*/ 16 w 60"/>
                <a:gd name="T9" fmla="*/ 32 h 110"/>
                <a:gd name="T10" fmla="*/ 17 w 60"/>
                <a:gd name="T11" fmla="*/ 30 h 110"/>
                <a:gd name="T12" fmla="*/ 18 w 60"/>
                <a:gd name="T13" fmla="*/ 28 h 110"/>
                <a:gd name="T14" fmla="*/ 19 w 60"/>
                <a:gd name="T15" fmla="*/ 26 h 110"/>
                <a:gd name="T16" fmla="*/ 19 w 60"/>
                <a:gd name="T17" fmla="*/ 25 h 110"/>
                <a:gd name="T18" fmla="*/ 19 w 60"/>
                <a:gd name="T19" fmla="*/ 20 h 110"/>
                <a:gd name="T20" fmla="*/ 18 w 60"/>
                <a:gd name="T21" fmla="*/ 16 h 110"/>
                <a:gd name="T22" fmla="*/ 18 w 60"/>
                <a:gd name="T23" fmla="*/ 13 h 110"/>
                <a:gd name="T24" fmla="*/ 17 w 60"/>
                <a:gd name="T25" fmla="*/ 10 h 110"/>
                <a:gd name="T26" fmla="*/ 16 w 60"/>
                <a:gd name="T27" fmla="*/ 7 h 110"/>
                <a:gd name="T28" fmla="*/ 15 w 60"/>
                <a:gd name="T29" fmla="*/ 4 h 110"/>
                <a:gd name="T30" fmla="*/ 14 w 60"/>
                <a:gd name="T31" fmla="*/ 2 h 110"/>
                <a:gd name="T32" fmla="*/ 12 w 60"/>
                <a:gd name="T33" fmla="*/ 0 h 110"/>
                <a:gd name="T34" fmla="*/ 11 w 60"/>
                <a:gd name="T35" fmla="*/ 1 h 110"/>
                <a:gd name="T36" fmla="*/ 10 w 60"/>
                <a:gd name="T37" fmla="*/ 3 h 110"/>
                <a:gd name="T38" fmla="*/ 9 w 60"/>
                <a:gd name="T39" fmla="*/ 4 h 110"/>
                <a:gd name="T40" fmla="*/ 8 w 60"/>
                <a:gd name="T41" fmla="*/ 6 h 110"/>
                <a:gd name="T42" fmla="*/ 6 w 60"/>
                <a:gd name="T43" fmla="*/ 10 h 110"/>
                <a:gd name="T44" fmla="*/ 5 w 60"/>
                <a:gd name="T45" fmla="*/ 13 h 110"/>
                <a:gd name="T46" fmla="*/ 3 w 60"/>
                <a:gd name="T47" fmla="*/ 17 h 110"/>
                <a:gd name="T48" fmla="*/ 2 w 60"/>
                <a:gd name="T49" fmla="*/ 21 h 110"/>
                <a:gd name="T50" fmla="*/ 2 w 60"/>
                <a:gd name="T51" fmla="*/ 22 h 110"/>
                <a:gd name="T52" fmla="*/ 1 w 60"/>
                <a:gd name="T53" fmla="*/ 23 h 110"/>
                <a:gd name="T54" fmla="*/ 1 w 60"/>
                <a:gd name="T55" fmla="*/ 24 h 110"/>
                <a:gd name="T56" fmla="*/ 0 w 60"/>
                <a:gd name="T57" fmla="*/ 25 h 110"/>
                <a:gd name="T58" fmla="*/ 0 w 60"/>
                <a:gd name="T59" fmla="*/ 26 h 110"/>
                <a:gd name="T60" fmla="*/ 1 w 60"/>
                <a:gd name="T61" fmla="*/ 28 h 110"/>
                <a:gd name="T62" fmla="*/ 2 w 60"/>
                <a:gd name="T63" fmla="*/ 30 h 110"/>
                <a:gd name="T64" fmla="*/ 4 w 60"/>
                <a:gd name="T65" fmla="*/ 32 h 110"/>
                <a:gd name="T66" fmla="*/ 6 w 60"/>
                <a:gd name="T67" fmla="*/ 34 h 110"/>
                <a:gd name="T68" fmla="*/ 8 w 60"/>
                <a:gd name="T69" fmla="*/ 36 h 110"/>
                <a:gd name="T70" fmla="*/ 10 w 60"/>
                <a:gd name="T71" fmla="*/ 37 h 110"/>
                <a:gd name="T72" fmla="*/ 12 w 60"/>
                <a:gd name="T73" fmla="*/ 37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rgbClr val="FFFFFF"/>
              </a:solidFill>
              <a:prstDash val="solid"/>
              <a:round/>
              <a:headEnd/>
              <a:tailEnd/>
            </a:ln>
          </p:spPr>
          <p:txBody>
            <a:bodyPr/>
            <a:lstStyle/>
            <a:p>
              <a:pPr>
                <a:defRPr/>
              </a:pPr>
              <a:endParaRPr lang="en-AU"/>
            </a:p>
          </p:txBody>
        </p:sp>
        <p:sp>
          <p:nvSpPr>
            <p:cNvPr id="2505" name="Freeform 284"/>
            <p:cNvSpPr>
              <a:spLocks/>
            </p:cNvSpPr>
            <p:nvPr/>
          </p:nvSpPr>
          <p:spPr bwMode="auto">
            <a:xfrm>
              <a:off x="5189" y="2422"/>
              <a:ext cx="24" cy="25"/>
            </a:xfrm>
            <a:custGeom>
              <a:avLst/>
              <a:gdLst>
                <a:gd name="T0" fmla="*/ 0 w 72"/>
                <a:gd name="T1" fmla="*/ 4 h 75"/>
                <a:gd name="T2" fmla="*/ 3 w 72"/>
                <a:gd name="T3" fmla="*/ 6 h 75"/>
                <a:gd name="T4" fmla="*/ 5 w 72"/>
                <a:gd name="T5" fmla="*/ 8 h 75"/>
                <a:gd name="T6" fmla="*/ 8 w 72"/>
                <a:gd name="T7" fmla="*/ 11 h 75"/>
                <a:gd name="T8" fmla="*/ 10 w 72"/>
                <a:gd name="T9" fmla="*/ 13 h 75"/>
                <a:gd name="T10" fmla="*/ 12 w 72"/>
                <a:gd name="T11" fmla="*/ 16 h 75"/>
                <a:gd name="T12" fmla="*/ 14 w 72"/>
                <a:gd name="T13" fmla="*/ 19 h 75"/>
                <a:gd name="T14" fmla="*/ 15 w 72"/>
                <a:gd name="T15" fmla="*/ 22 h 75"/>
                <a:gd name="T16" fmla="*/ 15 w 72"/>
                <a:gd name="T17" fmla="*/ 25 h 75"/>
                <a:gd name="T18" fmla="*/ 24 w 72"/>
                <a:gd name="T19" fmla="*/ 25 h 75"/>
                <a:gd name="T20" fmla="*/ 22 w 72"/>
                <a:gd name="T21" fmla="*/ 17 h 75"/>
                <a:gd name="T22" fmla="*/ 20 w 72"/>
                <a:gd name="T23" fmla="*/ 11 h 75"/>
                <a:gd name="T24" fmla="*/ 20 w 72"/>
                <a:gd name="T25" fmla="*/ 9 h 75"/>
                <a:gd name="T26" fmla="*/ 21 w 72"/>
                <a:gd name="T27" fmla="*/ 6 h 75"/>
                <a:gd name="T28" fmla="*/ 22 w 72"/>
                <a:gd name="T29" fmla="*/ 4 h 75"/>
                <a:gd name="T30" fmla="*/ 24 w 72"/>
                <a:gd name="T31" fmla="*/ 0 h 75"/>
                <a:gd name="T32" fmla="*/ 17 w 72"/>
                <a:gd name="T33" fmla="*/ 0 h 75"/>
                <a:gd name="T34" fmla="*/ 11 w 72"/>
                <a:gd name="T35" fmla="*/ 0 h 75"/>
                <a:gd name="T36" fmla="*/ 7 w 72"/>
                <a:gd name="T37" fmla="*/ 0 h 75"/>
                <a:gd name="T38" fmla="*/ 4 w 72"/>
                <a:gd name="T39" fmla="*/ 1 h 75"/>
                <a:gd name="T40" fmla="*/ 3 w 72"/>
                <a:gd name="T41" fmla="*/ 2 h 75"/>
                <a:gd name="T42" fmla="*/ 2 w 72"/>
                <a:gd name="T43" fmla="*/ 2 h 75"/>
                <a:gd name="T44" fmla="*/ 1 w 72"/>
                <a:gd name="T45" fmla="*/ 3 h 75"/>
                <a:gd name="T46" fmla="*/ 0 w 72"/>
                <a:gd name="T47" fmla="*/ 4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rgbClr val="FFFFFF"/>
              </a:solidFill>
              <a:prstDash val="solid"/>
              <a:round/>
              <a:headEnd/>
              <a:tailEnd/>
            </a:ln>
          </p:spPr>
          <p:txBody>
            <a:bodyPr/>
            <a:lstStyle/>
            <a:p>
              <a:pPr>
                <a:defRPr/>
              </a:pPr>
              <a:endParaRPr lang="en-AU"/>
            </a:p>
          </p:txBody>
        </p:sp>
        <p:sp>
          <p:nvSpPr>
            <p:cNvPr id="2506" name="Freeform 285"/>
            <p:cNvSpPr>
              <a:spLocks/>
            </p:cNvSpPr>
            <p:nvPr/>
          </p:nvSpPr>
          <p:spPr bwMode="auto">
            <a:xfrm>
              <a:off x="5160" y="2389"/>
              <a:ext cx="5" cy="16"/>
            </a:xfrm>
            <a:custGeom>
              <a:avLst/>
              <a:gdLst>
                <a:gd name="T0" fmla="*/ 5 w 15"/>
                <a:gd name="T1" fmla="*/ 16 h 49"/>
                <a:gd name="T2" fmla="*/ 5 w 15"/>
                <a:gd name="T3" fmla="*/ 11 h 49"/>
                <a:gd name="T4" fmla="*/ 5 w 15"/>
                <a:gd name="T5" fmla="*/ 6 h 49"/>
                <a:gd name="T6" fmla="*/ 5 w 15"/>
                <a:gd name="T7" fmla="*/ 4 h 49"/>
                <a:gd name="T8" fmla="*/ 4 w 15"/>
                <a:gd name="T9" fmla="*/ 2 h 49"/>
                <a:gd name="T10" fmla="*/ 4 w 15"/>
                <a:gd name="T11" fmla="*/ 1 h 49"/>
                <a:gd name="T12" fmla="*/ 3 w 15"/>
                <a:gd name="T13" fmla="*/ 0 h 49"/>
                <a:gd name="T14" fmla="*/ 1 w 15"/>
                <a:gd name="T15" fmla="*/ 2 h 49"/>
                <a:gd name="T16" fmla="*/ 1 w 15"/>
                <a:gd name="T17" fmla="*/ 5 h 49"/>
                <a:gd name="T18" fmla="*/ 0 w 15"/>
                <a:gd name="T19" fmla="*/ 8 h 49"/>
                <a:gd name="T20" fmla="*/ 0 w 15"/>
                <a:gd name="T21" fmla="*/ 10 h 49"/>
                <a:gd name="T22" fmla="*/ 0 w 15"/>
                <a:gd name="T23" fmla="*/ 12 h 49"/>
                <a:gd name="T24" fmla="*/ 1 w 15"/>
                <a:gd name="T25" fmla="*/ 14 h 49"/>
                <a:gd name="T26" fmla="*/ 2 w 15"/>
                <a:gd name="T27" fmla="*/ 14 h 49"/>
                <a:gd name="T28" fmla="*/ 3 w 15"/>
                <a:gd name="T29" fmla="*/ 15 h 49"/>
                <a:gd name="T30" fmla="*/ 4 w 15"/>
                <a:gd name="T31" fmla="*/ 16 h 49"/>
                <a:gd name="T32" fmla="*/ 5 w 15"/>
                <a:gd name="T33" fmla="*/ 16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rgbClr val="FFFFFF"/>
              </a:solidFill>
              <a:prstDash val="solid"/>
              <a:round/>
              <a:headEnd/>
              <a:tailEnd/>
            </a:ln>
          </p:spPr>
          <p:txBody>
            <a:bodyPr/>
            <a:lstStyle/>
            <a:p>
              <a:pPr>
                <a:defRPr/>
              </a:pPr>
              <a:endParaRPr lang="en-AU"/>
            </a:p>
          </p:txBody>
        </p:sp>
        <p:sp>
          <p:nvSpPr>
            <p:cNvPr id="2507" name="Freeform 286"/>
            <p:cNvSpPr>
              <a:spLocks/>
            </p:cNvSpPr>
            <p:nvPr/>
          </p:nvSpPr>
          <p:spPr bwMode="auto">
            <a:xfrm>
              <a:off x="5139" y="2387"/>
              <a:ext cx="15" cy="13"/>
            </a:xfrm>
            <a:custGeom>
              <a:avLst/>
              <a:gdLst>
                <a:gd name="T0" fmla="*/ 6 w 47"/>
                <a:gd name="T1" fmla="*/ 2 h 40"/>
                <a:gd name="T2" fmla="*/ 0 w 47"/>
                <a:gd name="T3" fmla="*/ 12 h 40"/>
                <a:gd name="T4" fmla="*/ 2 w 47"/>
                <a:gd name="T5" fmla="*/ 13 h 40"/>
                <a:gd name="T6" fmla="*/ 4 w 47"/>
                <a:gd name="T7" fmla="*/ 13 h 40"/>
                <a:gd name="T8" fmla="*/ 6 w 47"/>
                <a:gd name="T9" fmla="*/ 13 h 40"/>
                <a:gd name="T10" fmla="*/ 8 w 47"/>
                <a:gd name="T11" fmla="*/ 12 h 40"/>
                <a:gd name="T12" fmla="*/ 10 w 47"/>
                <a:gd name="T13" fmla="*/ 12 h 40"/>
                <a:gd name="T14" fmla="*/ 12 w 47"/>
                <a:gd name="T15" fmla="*/ 11 h 40"/>
                <a:gd name="T16" fmla="*/ 14 w 47"/>
                <a:gd name="T17" fmla="*/ 10 h 40"/>
                <a:gd name="T18" fmla="*/ 15 w 47"/>
                <a:gd name="T19" fmla="*/ 8 h 40"/>
                <a:gd name="T20" fmla="*/ 15 w 47"/>
                <a:gd name="T21" fmla="*/ 0 h 40"/>
                <a:gd name="T22" fmla="*/ 13 w 47"/>
                <a:gd name="T23" fmla="*/ 0 h 40"/>
                <a:gd name="T24" fmla="*/ 11 w 47"/>
                <a:gd name="T25" fmla="*/ 0 h 40"/>
                <a:gd name="T26" fmla="*/ 8 w 47"/>
                <a:gd name="T27" fmla="*/ 1 h 40"/>
                <a:gd name="T28" fmla="*/ 6 w 47"/>
                <a:gd name="T29" fmla="*/ 2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rgbClr val="FFFFFF"/>
              </a:solidFill>
              <a:prstDash val="solid"/>
              <a:round/>
              <a:headEnd/>
              <a:tailEnd/>
            </a:ln>
          </p:spPr>
          <p:txBody>
            <a:bodyPr/>
            <a:lstStyle/>
            <a:p>
              <a:pPr>
                <a:defRPr/>
              </a:pPr>
              <a:endParaRPr lang="en-AU"/>
            </a:p>
          </p:txBody>
        </p:sp>
        <p:sp>
          <p:nvSpPr>
            <p:cNvPr id="2508" name="Freeform 287"/>
            <p:cNvSpPr>
              <a:spLocks/>
            </p:cNvSpPr>
            <p:nvPr/>
          </p:nvSpPr>
          <p:spPr bwMode="auto">
            <a:xfrm>
              <a:off x="5184" y="2465"/>
              <a:ext cx="13" cy="10"/>
            </a:xfrm>
            <a:custGeom>
              <a:avLst/>
              <a:gdLst>
                <a:gd name="T0" fmla="*/ 0 w 39"/>
                <a:gd name="T1" fmla="*/ 0 h 31"/>
                <a:gd name="T2" fmla="*/ 1 w 39"/>
                <a:gd name="T3" fmla="*/ 3 h 31"/>
                <a:gd name="T4" fmla="*/ 2 w 39"/>
                <a:gd name="T5" fmla="*/ 4 h 31"/>
                <a:gd name="T6" fmla="*/ 4 w 39"/>
                <a:gd name="T7" fmla="*/ 6 h 31"/>
                <a:gd name="T8" fmla="*/ 6 w 39"/>
                <a:gd name="T9" fmla="*/ 7 h 31"/>
                <a:gd name="T10" fmla="*/ 8 w 39"/>
                <a:gd name="T11" fmla="*/ 8 h 31"/>
                <a:gd name="T12" fmla="*/ 9 w 39"/>
                <a:gd name="T13" fmla="*/ 9 h 31"/>
                <a:gd name="T14" fmla="*/ 11 w 39"/>
                <a:gd name="T15" fmla="*/ 10 h 31"/>
                <a:gd name="T16" fmla="*/ 13 w 39"/>
                <a:gd name="T17" fmla="*/ 10 h 31"/>
                <a:gd name="T18" fmla="*/ 11 w 39"/>
                <a:gd name="T19" fmla="*/ 7 h 31"/>
                <a:gd name="T20" fmla="*/ 8 w 39"/>
                <a:gd name="T21" fmla="*/ 5 h 31"/>
                <a:gd name="T22" fmla="*/ 5 w 39"/>
                <a:gd name="T23" fmla="*/ 2 h 31"/>
                <a:gd name="T24" fmla="*/ 2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rgbClr val="FFFFFF"/>
              </a:solidFill>
              <a:prstDash val="solid"/>
              <a:round/>
              <a:headEnd/>
              <a:tailEnd/>
            </a:ln>
          </p:spPr>
          <p:txBody>
            <a:bodyPr/>
            <a:lstStyle/>
            <a:p>
              <a:pPr>
                <a:defRPr/>
              </a:pPr>
              <a:endParaRPr lang="en-AU"/>
            </a:p>
          </p:txBody>
        </p:sp>
        <p:sp>
          <p:nvSpPr>
            <p:cNvPr id="2509" name="Freeform 288"/>
            <p:cNvSpPr>
              <a:spLocks/>
            </p:cNvSpPr>
            <p:nvPr/>
          </p:nvSpPr>
          <p:spPr bwMode="auto">
            <a:xfrm>
              <a:off x="5172" y="2410"/>
              <a:ext cx="10" cy="6"/>
            </a:xfrm>
            <a:custGeom>
              <a:avLst/>
              <a:gdLst>
                <a:gd name="T0" fmla="*/ 0 w 34"/>
                <a:gd name="T1" fmla="*/ 0 h 19"/>
                <a:gd name="T2" fmla="*/ 10 w 34"/>
                <a:gd name="T3" fmla="*/ 6 h 19"/>
                <a:gd name="T4" fmla="*/ 10 w 34"/>
                <a:gd name="T5" fmla="*/ 0 h 19"/>
                <a:gd name="T6" fmla="*/ 7 w 34"/>
                <a:gd name="T7" fmla="*/ 0 h 19"/>
                <a:gd name="T8" fmla="*/ 4 w 34"/>
                <a:gd name="T9" fmla="*/ 0 h 19"/>
                <a:gd name="T10" fmla="*/ 2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rgbClr val="FFFFFF"/>
              </a:solidFill>
              <a:prstDash val="solid"/>
              <a:round/>
              <a:headEnd/>
              <a:tailEnd/>
            </a:ln>
          </p:spPr>
          <p:txBody>
            <a:bodyPr/>
            <a:lstStyle/>
            <a:p>
              <a:pPr>
                <a:defRPr/>
              </a:pPr>
              <a:endParaRPr lang="en-AU"/>
            </a:p>
          </p:txBody>
        </p:sp>
        <p:sp>
          <p:nvSpPr>
            <p:cNvPr id="2510" name="Freeform 289"/>
            <p:cNvSpPr>
              <a:spLocks/>
            </p:cNvSpPr>
            <p:nvPr/>
          </p:nvSpPr>
          <p:spPr bwMode="auto">
            <a:xfrm>
              <a:off x="5180" y="2471"/>
              <a:ext cx="6" cy="4"/>
            </a:xfrm>
            <a:custGeom>
              <a:avLst/>
              <a:gdLst>
                <a:gd name="T0" fmla="*/ 0 w 19"/>
                <a:gd name="T1" fmla="*/ 0 h 12"/>
                <a:gd name="T2" fmla="*/ 6 w 19"/>
                <a:gd name="T3" fmla="*/ 4 h 12"/>
                <a:gd name="T4" fmla="*/ 4 w 19"/>
                <a:gd name="T5" fmla="*/ 2 h 12"/>
                <a:gd name="T6" fmla="*/ 2 w 19"/>
                <a:gd name="T7" fmla="*/ 2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grpFill/>
            <a:ln w="9525" cmpd="sng">
              <a:solidFill>
                <a:srgbClr val="FFFFFF"/>
              </a:solidFill>
              <a:prstDash val="solid"/>
              <a:round/>
              <a:headEnd/>
              <a:tailEnd/>
            </a:ln>
          </p:spPr>
          <p:txBody>
            <a:bodyPr/>
            <a:lstStyle/>
            <a:p>
              <a:pPr>
                <a:defRPr/>
              </a:pPr>
              <a:endParaRPr lang="en-AU"/>
            </a:p>
          </p:txBody>
        </p:sp>
        <p:sp>
          <p:nvSpPr>
            <p:cNvPr id="2511" name="Freeform 290"/>
            <p:cNvSpPr>
              <a:spLocks/>
            </p:cNvSpPr>
            <p:nvPr/>
          </p:nvSpPr>
          <p:spPr bwMode="auto">
            <a:xfrm>
              <a:off x="5062" y="2447"/>
              <a:ext cx="42" cy="55"/>
            </a:xfrm>
            <a:custGeom>
              <a:avLst/>
              <a:gdLst>
                <a:gd name="T0" fmla="*/ 38 w 126"/>
                <a:gd name="T1" fmla="*/ 0 h 166"/>
                <a:gd name="T2" fmla="*/ 39 w 126"/>
                <a:gd name="T3" fmla="*/ 2 h 166"/>
                <a:gd name="T4" fmla="*/ 40 w 126"/>
                <a:gd name="T5" fmla="*/ 3 h 166"/>
                <a:gd name="T6" fmla="*/ 41 w 126"/>
                <a:gd name="T7" fmla="*/ 4 h 166"/>
                <a:gd name="T8" fmla="*/ 42 w 126"/>
                <a:gd name="T9" fmla="*/ 6 h 166"/>
                <a:gd name="T10" fmla="*/ 42 w 126"/>
                <a:gd name="T11" fmla="*/ 7 h 166"/>
                <a:gd name="T12" fmla="*/ 42 w 126"/>
                <a:gd name="T13" fmla="*/ 8 h 166"/>
                <a:gd name="T14" fmla="*/ 41 w 126"/>
                <a:gd name="T15" fmla="*/ 11 h 166"/>
                <a:gd name="T16" fmla="*/ 39 w 126"/>
                <a:gd name="T17" fmla="*/ 14 h 166"/>
                <a:gd name="T18" fmla="*/ 38 w 126"/>
                <a:gd name="T19" fmla="*/ 17 h 166"/>
                <a:gd name="T20" fmla="*/ 35 w 126"/>
                <a:gd name="T21" fmla="*/ 20 h 166"/>
                <a:gd name="T22" fmla="*/ 30 w 126"/>
                <a:gd name="T23" fmla="*/ 28 h 166"/>
                <a:gd name="T24" fmla="*/ 24 w 126"/>
                <a:gd name="T25" fmla="*/ 34 h 166"/>
                <a:gd name="T26" fmla="*/ 18 w 126"/>
                <a:gd name="T27" fmla="*/ 42 h 166"/>
                <a:gd name="T28" fmla="*/ 11 w 126"/>
                <a:gd name="T29" fmla="*/ 48 h 166"/>
                <a:gd name="T30" fmla="*/ 8 w 126"/>
                <a:gd name="T31" fmla="*/ 50 h 166"/>
                <a:gd name="T32" fmla="*/ 5 w 126"/>
                <a:gd name="T33" fmla="*/ 52 h 166"/>
                <a:gd name="T34" fmla="*/ 2 w 126"/>
                <a:gd name="T35" fmla="*/ 54 h 166"/>
                <a:gd name="T36" fmla="*/ 0 w 126"/>
                <a:gd name="T37" fmla="*/ 55 h 166"/>
                <a:gd name="T38" fmla="*/ 0 w 126"/>
                <a:gd name="T39" fmla="*/ 53 h 166"/>
                <a:gd name="T40" fmla="*/ 0 w 126"/>
                <a:gd name="T41" fmla="*/ 51 h 166"/>
                <a:gd name="T42" fmla="*/ 0 w 126"/>
                <a:gd name="T43" fmla="*/ 48 h 166"/>
                <a:gd name="T44" fmla="*/ 0 w 126"/>
                <a:gd name="T45" fmla="*/ 45 h 166"/>
                <a:gd name="T46" fmla="*/ 1 w 126"/>
                <a:gd name="T47" fmla="*/ 43 h 166"/>
                <a:gd name="T48" fmla="*/ 2 w 126"/>
                <a:gd name="T49" fmla="*/ 42 h 166"/>
                <a:gd name="T50" fmla="*/ 4 w 126"/>
                <a:gd name="T51" fmla="*/ 41 h 166"/>
                <a:gd name="T52" fmla="*/ 5 w 126"/>
                <a:gd name="T53" fmla="*/ 40 h 166"/>
                <a:gd name="T54" fmla="*/ 9 w 126"/>
                <a:gd name="T55" fmla="*/ 38 h 166"/>
                <a:gd name="T56" fmla="*/ 11 w 126"/>
                <a:gd name="T57" fmla="*/ 36 h 166"/>
                <a:gd name="T58" fmla="*/ 13 w 126"/>
                <a:gd name="T59" fmla="*/ 34 h 166"/>
                <a:gd name="T60" fmla="*/ 16 w 126"/>
                <a:gd name="T61" fmla="*/ 32 h 166"/>
                <a:gd name="T62" fmla="*/ 18 w 126"/>
                <a:gd name="T63" fmla="*/ 29 h 166"/>
                <a:gd name="T64" fmla="*/ 19 w 126"/>
                <a:gd name="T65" fmla="*/ 27 h 166"/>
                <a:gd name="T66" fmla="*/ 22 w 126"/>
                <a:gd name="T67" fmla="*/ 22 h 166"/>
                <a:gd name="T68" fmla="*/ 24 w 126"/>
                <a:gd name="T69" fmla="*/ 17 h 166"/>
                <a:gd name="T70" fmla="*/ 26 w 126"/>
                <a:gd name="T71" fmla="*/ 12 h 166"/>
                <a:gd name="T72" fmla="*/ 29 w 126"/>
                <a:gd name="T73" fmla="*/ 8 h 166"/>
                <a:gd name="T74" fmla="*/ 31 w 126"/>
                <a:gd name="T75" fmla="*/ 5 h 166"/>
                <a:gd name="T76" fmla="*/ 32 w 126"/>
                <a:gd name="T77" fmla="*/ 4 h 166"/>
                <a:gd name="T78" fmla="*/ 35 w 126"/>
                <a:gd name="T79" fmla="*/ 2 h 166"/>
                <a:gd name="T80" fmla="*/ 38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rgbClr val="FFFFFF"/>
              </a:solidFill>
              <a:prstDash val="solid"/>
              <a:round/>
              <a:headEnd/>
              <a:tailEnd/>
            </a:ln>
          </p:spPr>
          <p:txBody>
            <a:bodyPr/>
            <a:lstStyle/>
            <a:p>
              <a:pPr>
                <a:defRPr/>
              </a:pPr>
              <a:endParaRPr lang="en-AU"/>
            </a:p>
          </p:txBody>
        </p:sp>
        <p:sp>
          <p:nvSpPr>
            <p:cNvPr id="2512" name="Freeform 291"/>
            <p:cNvSpPr>
              <a:spLocks/>
            </p:cNvSpPr>
            <p:nvPr/>
          </p:nvSpPr>
          <p:spPr bwMode="auto">
            <a:xfrm>
              <a:off x="5154" y="2465"/>
              <a:ext cx="85" cy="86"/>
            </a:xfrm>
            <a:custGeom>
              <a:avLst/>
              <a:gdLst>
                <a:gd name="T0" fmla="*/ 3 w 259"/>
                <a:gd name="T1" fmla="*/ 60 h 259"/>
                <a:gd name="T2" fmla="*/ 0 w 259"/>
                <a:gd name="T3" fmla="*/ 54 h 259"/>
                <a:gd name="T4" fmla="*/ 0 w 259"/>
                <a:gd name="T5" fmla="*/ 47 h 259"/>
                <a:gd name="T6" fmla="*/ 2 w 259"/>
                <a:gd name="T7" fmla="*/ 43 h 259"/>
                <a:gd name="T8" fmla="*/ 6 w 259"/>
                <a:gd name="T9" fmla="*/ 42 h 259"/>
                <a:gd name="T10" fmla="*/ 11 w 259"/>
                <a:gd name="T11" fmla="*/ 39 h 259"/>
                <a:gd name="T12" fmla="*/ 16 w 259"/>
                <a:gd name="T13" fmla="*/ 33 h 259"/>
                <a:gd name="T14" fmla="*/ 20 w 259"/>
                <a:gd name="T15" fmla="*/ 30 h 259"/>
                <a:gd name="T16" fmla="*/ 22 w 259"/>
                <a:gd name="T17" fmla="*/ 29 h 259"/>
                <a:gd name="T18" fmla="*/ 27 w 259"/>
                <a:gd name="T19" fmla="*/ 29 h 259"/>
                <a:gd name="T20" fmla="*/ 31 w 259"/>
                <a:gd name="T21" fmla="*/ 31 h 259"/>
                <a:gd name="T22" fmla="*/ 33 w 259"/>
                <a:gd name="T23" fmla="*/ 35 h 259"/>
                <a:gd name="T24" fmla="*/ 35 w 259"/>
                <a:gd name="T25" fmla="*/ 37 h 259"/>
                <a:gd name="T26" fmla="*/ 39 w 259"/>
                <a:gd name="T27" fmla="*/ 37 h 259"/>
                <a:gd name="T28" fmla="*/ 44 w 259"/>
                <a:gd name="T29" fmla="*/ 35 h 259"/>
                <a:gd name="T30" fmla="*/ 49 w 259"/>
                <a:gd name="T31" fmla="*/ 31 h 259"/>
                <a:gd name="T32" fmla="*/ 53 w 259"/>
                <a:gd name="T33" fmla="*/ 26 h 259"/>
                <a:gd name="T34" fmla="*/ 57 w 259"/>
                <a:gd name="T35" fmla="*/ 17 h 259"/>
                <a:gd name="T36" fmla="*/ 62 w 259"/>
                <a:gd name="T37" fmla="*/ 5 h 259"/>
                <a:gd name="T38" fmla="*/ 64 w 259"/>
                <a:gd name="T39" fmla="*/ 1 h 259"/>
                <a:gd name="T40" fmla="*/ 66 w 259"/>
                <a:gd name="T41" fmla="*/ 4 h 259"/>
                <a:gd name="T42" fmla="*/ 70 w 259"/>
                <a:gd name="T43" fmla="*/ 6 h 259"/>
                <a:gd name="T44" fmla="*/ 72 w 259"/>
                <a:gd name="T45" fmla="*/ 11 h 259"/>
                <a:gd name="T46" fmla="*/ 72 w 259"/>
                <a:gd name="T47" fmla="*/ 17 h 259"/>
                <a:gd name="T48" fmla="*/ 74 w 259"/>
                <a:gd name="T49" fmla="*/ 20 h 259"/>
                <a:gd name="T50" fmla="*/ 77 w 259"/>
                <a:gd name="T51" fmla="*/ 23 h 259"/>
                <a:gd name="T52" fmla="*/ 77 w 259"/>
                <a:gd name="T53" fmla="*/ 29 h 259"/>
                <a:gd name="T54" fmla="*/ 77 w 259"/>
                <a:gd name="T55" fmla="*/ 35 h 259"/>
                <a:gd name="T56" fmla="*/ 78 w 259"/>
                <a:gd name="T57" fmla="*/ 37 h 259"/>
                <a:gd name="T58" fmla="*/ 80 w 259"/>
                <a:gd name="T59" fmla="*/ 40 h 259"/>
                <a:gd name="T60" fmla="*/ 82 w 259"/>
                <a:gd name="T61" fmla="*/ 45 h 259"/>
                <a:gd name="T62" fmla="*/ 83 w 259"/>
                <a:gd name="T63" fmla="*/ 53 h 259"/>
                <a:gd name="T64" fmla="*/ 80 w 259"/>
                <a:gd name="T65" fmla="*/ 78 h 259"/>
                <a:gd name="T66" fmla="*/ 78 w 259"/>
                <a:gd name="T67" fmla="*/ 74 h 259"/>
                <a:gd name="T68" fmla="*/ 78 w 259"/>
                <a:gd name="T69" fmla="*/ 69 h 259"/>
                <a:gd name="T70" fmla="*/ 78 w 259"/>
                <a:gd name="T71" fmla="*/ 64 h 259"/>
                <a:gd name="T72" fmla="*/ 73 w 259"/>
                <a:gd name="T73" fmla="*/ 62 h 259"/>
                <a:gd name="T74" fmla="*/ 68 w 259"/>
                <a:gd name="T75" fmla="*/ 59 h 259"/>
                <a:gd name="T76" fmla="*/ 64 w 259"/>
                <a:gd name="T77" fmla="*/ 66 h 259"/>
                <a:gd name="T78" fmla="*/ 62 w 259"/>
                <a:gd name="T79" fmla="*/ 73 h 259"/>
                <a:gd name="T80" fmla="*/ 61 w 259"/>
                <a:gd name="T81" fmla="*/ 86 h 259"/>
                <a:gd name="T82" fmla="*/ 41 w 259"/>
                <a:gd name="T83" fmla="*/ 80 h 259"/>
                <a:gd name="T84" fmla="*/ 36 w 259"/>
                <a:gd name="T85" fmla="*/ 73 h 259"/>
                <a:gd name="T86" fmla="*/ 32 w 259"/>
                <a:gd name="T87" fmla="*/ 69 h 259"/>
                <a:gd name="T88" fmla="*/ 32 w 259"/>
                <a:gd name="T89" fmla="*/ 65 h 259"/>
                <a:gd name="T90" fmla="*/ 34 w 259"/>
                <a:gd name="T91" fmla="*/ 62 h 259"/>
                <a:gd name="T92" fmla="*/ 37 w 259"/>
                <a:gd name="T93" fmla="*/ 60 h 259"/>
                <a:gd name="T94" fmla="*/ 38 w 259"/>
                <a:gd name="T95" fmla="*/ 57 h 259"/>
                <a:gd name="T96" fmla="*/ 31 w 259"/>
                <a:gd name="T97" fmla="*/ 51 h 259"/>
                <a:gd name="T98" fmla="*/ 9 w 259"/>
                <a:gd name="T99" fmla="*/ 51 h 259"/>
                <a:gd name="T100" fmla="*/ 7 w 259"/>
                <a:gd name="T101" fmla="*/ 54 h 259"/>
                <a:gd name="T102" fmla="*/ 5 w 259"/>
                <a:gd name="T103" fmla="*/ 58 h 259"/>
                <a:gd name="T104" fmla="*/ 4 w 259"/>
                <a:gd name="T105" fmla="*/ 62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rgbClr val="FFFFFF"/>
              </a:solidFill>
              <a:prstDash val="solid"/>
              <a:round/>
              <a:headEnd/>
              <a:tailEnd/>
            </a:ln>
          </p:spPr>
          <p:txBody>
            <a:bodyPr/>
            <a:lstStyle/>
            <a:p>
              <a:pPr>
                <a:defRPr/>
              </a:pPr>
              <a:endParaRPr lang="en-AU"/>
            </a:p>
          </p:txBody>
        </p:sp>
        <p:sp>
          <p:nvSpPr>
            <p:cNvPr id="2513" name="Freeform 292"/>
            <p:cNvSpPr>
              <a:spLocks/>
            </p:cNvSpPr>
            <p:nvPr/>
          </p:nvSpPr>
          <p:spPr bwMode="auto">
            <a:xfrm>
              <a:off x="5104" y="2395"/>
              <a:ext cx="23" cy="31"/>
            </a:xfrm>
            <a:custGeom>
              <a:avLst/>
              <a:gdLst>
                <a:gd name="T0" fmla="*/ 23 w 72"/>
                <a:gd name="T1" fmla="*/ 14 h 92"/>
                <a:gd name="T2" fmla="*/ 23 w 72"/>
                <a:gd name="T3" fmla="*/ 31 h 92"/>
                <a:gd name="T4" fmla="*/ 21 w 72"/>
                <a:gd name="T5" fmla="*/ 29 h 92"/>
                <a:gd name="T6" fmla="*/ 19 w 72"/>
                <a:gd name="T7" fmla="*/ 27 h 92"/>
                <a:gd name="T8" fmla="*/ 16 w 72"/>
                <a:gd name="T9" fmla="*/ 25 h 92"/>
                <a:gd name="T10" fmla="*/ 15 w 72"/>
                <a:gd name="T11" fmla="*/ 23 h 92"/>
                <a:gd name="T12" fmla="*/ 12 w 72"/>
                <a:gd name="T13" fmla="*/ 20 h 92"/>
                <a:gd name="T14" fmla="*/ 10 w 72"/>
                <a:gd name="T15" fmla="*/ 16 h 92"/>
                <a:gd name="T16" fmla="*/ 8 w 72"/>
                <a:gd name="T17" fmla="*/ 11 h 92"/>
                <a:gd name="T18" fmla="*/ 6 w 72"/>
                <a:gd name="T19" fmla="*/ 8 h 92"/>
                <a:gd name="T20" fmla="*/ 4 w 72"/>
                <a:gd name="T21" fmla="*/ 4 h 92"/>
                <a:gd name="T22" fmla="*/ 0 w 72"/>
                <a:gd name="T23" fmla="*/ 0 h 92"/>
                <a:gd name="T24" fmla="*/ 8 w 72"/>
                <a:gd name="T25" fmla="*/ 4 h 92"/>
                <a:gd name="T26" fmla="*/ 14 w 72"/>
                <a:gd name="T27" fmla="*/ 7 h 92"/>
                <a:gd name="T28" fmla="*/ 16 w 72"/>
                <a:gd name="T29" fmla="*/ 9 h 92"/>
                <a:gd name="T30" fmla="*/ 19 w 72"/>
                <a:gd name="T31" fmla="*/ 10 h 92"/>
                <a:gd name="T32" fmla="*/ 21 w 72"/>
                <a:gd name="T33" fmla="*/ 12 h 92"/>
                <a:gd name="T34" fmla="*/ 23 w 72"/>
                <a:gd name="T35" fmla="*/ 14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rgbClr val="FFFFFF"/>
              </a:solidFill>
              <a:prstDash val="solid"/>
              <a:round/>
              <a:headEnd/>
              <a:tailEnd/>
            </a:ln>
          </p:spPr>
          <p:txBody>
            <a:bodyPr/>
            <a:lstStyle/>
            <a:p>
              <a:pPr>
                <a:defRPr/>
              </a:pPr>
              <a:endParaRPr lang="en-AU"/>
            </a:p>
          </p:txBody>
        </p:sp>
        <p:sp>
          <p:nvSpPr>
            <p:cNvPr id="2514" name="Freeform 293"/>
            <p:cNvSpPr>
              <a:spLocks/>
            </p:cNvSpPr>
            <p:nvPr/>
          </p:nvSpPr>
          <p:spPr bwMode="auto">
            <a:xfrm>
              <a:off x="5143" y="2436"/>
              <a:ext cx="16" cy="21"/>
            </a:xfrm>
            <a:custGeom>
              <a:avLst/>
              <a:gdLst>
                <a:gd name="T0" fmla="*/ 2 w 46"/>
                <a:gd name="T1" fmla="*/ 2 h 62"/>
                <a:gd name="T2" fmla="*/ 7 w 46"/>
                <a:gd name="T3" fmla="*/ 2 h 62"/>
                <a:gd name="T4" fmla="*/ 11 w 46"/>
                <a:gd name="T5" fmla="*/ 1 h 62"/>
                <a:gd name="T6" fmla="*/ 14 w 46"/>
                <a:gd name="T7" fmla="*/ 0 h 62"/>
                <a:gd name="T8" fmla="*/ 16 w 46"/>
                <a:gd name="T9" fmla="*/ 0 h 62"/>
                <a:gd name="T10" fmla="*/ 16 w 46"/>
                <a:gd name="T11" fmla="*/ 3 h 62"/>
                <a:gd name="T12" fmla="*/ 16 w 46"/>
                <a:gd name="T13" fmla="*/ 6 h 62"/>
                <a:gd name="T14" fmla="*/ 16 w 46"/>
                <a:gd name="T15" fmla="*/ 9 h 62"/>
                <a:gd name="T16" fmla="*/ 16 w 46"/>
                <a:gd name="T17" fmla="*/ 13 h 62"/>
                <a:gd name="T18" fmla="*/ 16 w 46"/>
                <a:gd name="T19" fmla="*/ 16 h 62"/>
                <a:gd name="T20" fmla="*/ 14 w 46"/>
                <a:gd name="T21" fmla="*/ 18 h 62"/>
                <a:gd name="T22" fmla="*/ 14 w 46"/>
                <a:gd name="T23" fmla="*/ 19 h 62"/>
                <a:gd name="T24" fmla="*/ 13 w 46"/>
                <a:gd name="T25" fmla="*/ 20 h 62"/>
                <a:gd name="T26" fmla="*/ 12 w 46"/>
                <a:gd name="T27" fmla="*/ 21 h 62"/>
                <a:gd name="T28" fmla="*/ 11 w 46"/>
                <a:gd name="T29" fmla="*/ 21 h 62"/>
                <a:gd name="T30" fmla="*/ 9 w 46"/>
                <a:gd name="T31" fmla="*/ 21 h 62"/>
                <a:gd name="T32" fmla="*/ 8 w 46"/>
                <a:gd name="T33" fmla="*/ 20 h 62"/>
                <a:gd name="T34" fmla="*/ 6 w 46"/>
                <a:gd name="T35" fmla="*/ 20 h 62"/>
                <a:gd name="T36" fmla="*/ 5 w 46"/>
                <a:gd name="T37" fmla="*/ 19 h 62"/>
                <a:gd name="T38" fmla="*/ 4 w 46"/>
                <a:gd name="T39" fmla="*/ 18 h 62"/>
                <a:gd name="T40" fmla="*/ 2 w 46"/>
                <a:gd name="T41" fmla="*/ 17 h 62"/>
                <a:gd name="T42" fmla="*/ 2 w 46"/>
                <a:gd name="T43" fmla="*/ 16 h 62"/>
                <a:gd name="T44" fmla="*/ 1 w 46"/>
                <a:gd name="T45" fmla="*/ 15 h 62"/>
                <a:gd name="T46" fmla="*/ 0 w 46"/>
                <a:gd name="T47" fmla="*/ 12 h 62"/>
                <a:gd name="T48" fmla="*/ 0 w 46"/>
                <a:gd name="T49" fmla="*/ 8 h 62"/>
                <a:gd name="T50" fmla="*/ 0 w 46"/>
                <a:gd name="T51" fmla="*/ 5 h 62"/>
                <a:gd name="T52" fmla="*/ 0 w 46"/>
                <a:gd name="T53" fmla="*/ 2 h 62"/>
                <a:gd name="T54" fmla="*/ 2 w 46"/>
                <a:gd name="T55" fmla="*/ 2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rgbClr val="FFFFFF"/>
              </a:solidFill>
              <a:prstDash val="solid"/>
              <a:round/>
              <a:headEnd/>
              <a:tailEnd/>
            </a:ln>
          </p:spPr>
          <p:txBody>
            <a:bodyPr/>
            <a:lstStyle/>
            <a:p>
              <a:pPr>
                <a:defRPr/>
              </a:pPr>
              <a:endParaRPr lang="en-AU"/>
            </a:p>
          </p:txBody>
        </p:sp>
        <p:sp>
          <p:nvSpPr>
            <p:cNvPr id="2515" name="Freeform 294"/>
            <p:cNvSpPr>
              <a:spLocks/>
            </p:cNvSpPr>
            <p:nvPr/>
          </p:nvSpPr>
          <p:spPr bwMode="auto">
            <a:xfrm>
              <a:off x="5089" y="2295"/>
              <a:ext cx="50" cy="98"/>
            </a:xfrm>
            <a:custGeom>
              <a:avLst/>
              <a:gdLst>
                <a:gd name="T0" fmla="*/ 19 w 152"/>
                <a:gd name="T1" fmla="*/ 0 h 296"/>
                <a:gd name="T2" fmla="*/ 22 w 152"/>
                <a:gd name="T3" fmla="*/ 3 h 296"/>
                <a:gd name="T4" fmla="*/ 25 w 152"/>
                <a:gd name="T5" fmla="*/ 6 h 296"/>
                <a:gd name="T6" fmla="*/ 29 w 152"/>
                <a:gd name="T7" fmla="*/ 8 h 296"/>
                <a:gd name="T8" fmla="*/ 33 w 152"/>
                <a:gd name="T9" fmla="*/ 8 h 296"/>
                <a:gd name="T10" fmla="*/ 36 w 152"/>
                <a:gd name="T11" fmla="*/ 7 h 296"/>
                <a:gd name="T12" fmla="*/ 39 w 152"/>
                <a:gd name="T13" fmla="*/ 4 h 296"/>
                <a:gd name="T14" fmla="*/ 40 w 152"/>
                <a:gd name="T15" fmla="*/ 12 h 296"/>
                <a:gd name="T16" fmla="*/ 43 w 152"/>
                <a:gd name="T17" fmla="*/ 21 h 296"/>
                <a:gd name="T18" fmla="*/ 46 w 152"/>
                <a:gd name="T19" fmla="*/ 28 h 296"/>
                <a:gd name="T20" fmla="*/ 48 w 152"/>
                <a:gd name="T21" fmla="*/ 31 h 296"/>
                <a:gd name="T22" fmla="*/ 50 w 152"/>
                <a:gd name="T23" fmla="*/ 33 h 296"/>
                <a:gd name="T24" fmla="*/ 47 w 152"/>
                <a:gd name="T25" fmla="*/ 40 h 296"/>
                <a:gd name="T26" fmla="*/ 42 w 152"/>
                <a:gd name="T27" fmla="*/ 46 h 296"/>
                <a:gd name="T28" fmla="*/ 38 w 152"/>
                <a:gd name="T29" fmla="*/ 52 h 296"/>
                <a:gd name="T30" fmla="*/ 37 w 152"/>
                <a:gd name="T31" fmla="*/ 57 h 296"/>
                <a:gd name="T32" fmla="*/ 38 w 152"/>
                <a:gd name="T33" fmla="*/ 65 h 296"/>
                <a:gd name="T34" fmla="*/ 38 w 152"/>
                <a:gd name="T35" fmla="*/ 68 h 296"/>
                <a:gd name="T36" fmla="*/ 37 w 152"/>
                <a:gd name="T37" fmla="*/ 72 h 296"/>
                <a:gd name="T38" fmla="*/ 41 w 152"/>
                <a:gd name="T39" fmla="*/ 72 h 296"/>
                <a:gd name="T40" fmla="*/ 48 w 152"/>
                <a:gd name="T41" fmla="*/ 72 h 296"/>
                <a:gd name="T42" fmla="*/ 45 w 152"/>
                <a:gd name="T43" fmla="*/ 83 h 296"/>
                <a:gd name="T44" fmla="*/ 45 w 152"/>
                <a:gd name="T45" fmla="*/ 88 h 296"/>
                <a:gd name="T46" fmla="*/ 48 w 152"/>
                <a:gd name="T47" fmla="*/ 94 h 296"/>
                <a:gd name="T48" fmla="*/ 41 w 152"/>
                <a:gd name="T49" fmla="*/ 96 h 296"/>
                <a:gd name="T50" fmla="*/ 35 w 152"/>
                <a:gd name="T51" fmla="*/ 98 h 296"/>
                <a:gd name="T52" fmla="*/ 28 w 152"/>
                <a:gd name="T53" fmla="*/ 97 h 296"/>
                <a:gd name="T54" fmla="*/ 24 w 152"/>
                <a:gd name="T55" fmla="*/ 95 h 296"/>
                <a:gd name="T56" fmla="*/ 22 w 152"/>
                <a:gd name="T57" fmla="*/ 93 h 296"/>
                <a:gd name="T58" fmla="*/ 22 w 152"/>
                <a:gd name="T59" fmla="*/ 90 h 296"/>
                <a:gd name="T60" fmla="*/ 28 w 152"/>
                <a:gd name="T61" fmla="*/ 84 h 296"/>
                <a:gd name="T62" fmla="*/ 23 w 152"/>
                <a:gd name="T63" fmla="*/ 82 h 296"/>
                <a:gd name="T64" fmla="*/ 17 w 152"/>
                <a:gd name="T65" fmla="*/ 80 h 296"/>
                <a:gd name="T66" fmla="*/ 13 w 152"/>
                <a:gd name="T67" fmla="*/ 76 h 296"/>
                <a:gd name="T68" fmla="*/ 8 w 152"/>
                <a:gd name="T69" fmla="*/ 73 h 296"/>
                <a:gd name="T70" fmla="*/ 5 w 152"/>
                <a:gd name="T71" fmla="*/ 68 h 296"/>
                <a:gd name="T72" fmla="*/ 2 w 152"/>
                <a:gd name="T73" fmla="*/ 63 h 296"/>
                <a:gd name="T74" fmla="*/ 0 w 152"/>
                <a:gd name="T75" fmla="*/ 57 h 296"/>
                <a:gd name="T76" fmla="*/ 0 w 152"/>
                <a:gd name="T77" fmla="*/ 51 h 296"/>
                <a:gd name="T78" fmla="*/ 0 w 152"/>
                <a:gd name="T79" fmla="*/ 43 h 296"/>
                <a:gd name="T80" fmla="*/ 9 w 152"/>
                <a:gd name="T81" fmla="*/ 35 h 296"/>
                <a:gd name="T82" fmla="*/ 11 w 152"/>
                <a:gd name="T83" fmla="*/ 15 h 296"/>
                <a:gd name="T84" fmla="*/ 10 w 152"/>
                <a:gd name="T85" fmla="*/ 6 h 296"/>
                <a:gd name="T86" fmla="*/ 9 w 152"/>
                <a:gd name="T87" fmla="*/ 1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rgbClr val="FFFFFF"/>
              </a:solidFill>
              <a:prstDash val="solid"/>
              <a:round/>
              <a:headEnd/>
              <a:tailEnd/>
            </a:ln>
          </p:spPr>
          <p:txBody>
            <a:bodyPr/>
            <a:lstStyle/>
            <a:p>
              <a:pPr>
                <a:defRPr/>
              </a:pPr>
              <a:endParaRPr lang="en-AU"/>
            </a:p>
          </p:txBody>
        </p:sp>
        <p:sp>
          <p:nvSpPr>
            <p:cNvPr id="2516" name="Freeform 295"/>
            <p:cNvSpPr>
              <a:spLocks/>
            </p:cNvSpPr>
            <p:nvPr/>
          </p:nvSpPr>
          <p:spPr bwMode="auto">
            <a:xfrm>
              <a:off x="5189" y="2442"/>
              <a:ext cx="8" cy="13"/>
            </a:xfrm>
            <a:custGeom>
              <a:avLst/>
              <a:gdLst>
                <a:gd name="T0" fmla="*/ 8 w 26"/>
                <a:gd name="T1" fmla="*/ 13 h 38"/>
                <a:gd name="T2" fmla="*/ 8 w 26"/>
                <a:gd name="T3" fmla="*/ 0 h 38"/>
                <a:gd name="T4" fmla="*/ 6 w 26"/>
                <a:gd name="T5" fmla="*/ 0 h 38"/>
                <a:gd name="T6" fmla="*/ 4 w 26"/>
                <a:gd name="T7" fmla="*/ 1 h 38"/>
                <a:gd name="T8" fmla="*/ 2 w 26"/>
                <a:gd name="T9" fmla="*/ 3 h 38"/>
                <a:gd name="T10" fmla="*/ 0 w 26"/>
                <a:gd name="T11" fmla="*/ 4 h 38"/>
                <a:gd name="T12" fmla="*/ 6 w 26"/>
                <a:gd name="T13" fmla="*/ 10 h 38"/>
                <a:gd name="T14" fmla="*/ 8 w 26"/>
                <a:gd name="T15" fmla="*/ 13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rgbClr val="FFFFFF"/>
              </a:solidFill>
              <a:prstDash val="solid"/>
              <a:round/>
              <a:headEnd/>
              <a:tailEnd/>
            </a:ln>
          </p:spPr>
          <p:txBody>
            <a:bodyPr/>
            <a:lstStyle/>
            <a:p>
              <a:pPr>
                <a:defRPr/>
              </a:pPr>
              <a:endParaRPr lang="en-AU"/>
            </a:p>
          </p:txBody>
        </p:sp>
        <p:sp>
          <p:nvSpPr>
            <p:cNvPr id="2517" name="Freeform 296"/>
            <p:cNvSpPr>
              <a:spLocks/>
            </p:cNvSpPr>
            <p:nvPr/>
          </p:nvSpPr>
          <p:spPr bwMode="auto">
            <a:xfrm>
              <a:off x="5165" y="2420"/>
              <a:ext cx="10" cy="10"/>
            </a:xfrm>
            <a:custGeom>
              <a:avLst/>
              <a:gdLst>
                <a:gd name="T0" fmla="*/ 0 w 34"/>
                <a:gd name="T1" fmla="*/ 6 h 31"/>
                <a:gd name="T2" fmla="*/ 2 w 34"/>
                <a:gd name="T3" fmla="*/ 7 h 31"/>
                <a:gd name="T4" fmla="*/ 5 w 34"/>
                <a:gd name="T5" fmla="*/ 8 h 31"/>
                <a:gd name="T6" fmla="*/ 8 w 34"/>
                <a:gd name="T7" fmla="*/ 10 h 31"/>
                <a:gd name="T8" fmla="*/ 10 w 34"/>
                <a:gd name="T9" fmla="*/ 10 h 31"/>
                <a:gd name="T10" fmla="*/ 10 w 34"/>
                <a:gd name="T11" fmla="*/ 8 h 31"/>
                <a:gd name="T12" fmla="*/ 9 w 34"/>
                <a:gd name="T13" fmla="*/ 5 h 31"/>
                <a:gd name="T14" fmla="*/ 8 w 34"/>
                <a:gd name="T15" fmla="*/ 2 h 31"/>
                <a:gd name="T16" fmla="*/ 6 w 34"/>
                <a:gd name="T17" fmla="*/ 0 h 31"/>
                <a:gd name="T18" fmla="*/ 5 w 34"/>
                <a:gd name="T19" fmla="*/ 2 h 31"/>
                <a:gd name="T20" fmla="*/ 3 w 34"/>
                <a:gd name="T21" fmla="*/ 4 h 31"/>
                <a:gd name="T22" fmla="*/ 2 w 34"/>
                <a:gd name="T23" fmla="*/ 5 h 31"/>
                <a:gd name="T24" fmla="*/ 2 w 34"/>
                <a:gd name="T25" fmla="*/ 5 h 31"/>
                <a:gd name="T26" fmla="*/ 1 w 34"/>
                <a:gd name="T27" fmla="*/ 6 h 31"/>
                <a:gd name="T28" fmla="*/ 0 w 34"/>
                <a:gd name="T29" fmla="*/ 6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rgbClr val="FFFFFF"/>
              </a:solidFill>
              <a:prstDash val="solid"/>
              <a:round/>
              <a:headEnd/>
              <a:tailEnd/>
            </a:ln>
          </p:spPr>
          <p:txBody>
            <a:bodyPr/>
            <a:lstStyle/>
            <a:p>
              <a:pPr>
                <a:defRPr/>
              </a:pPr>
              <a:endParaRPr lang="en-AU"/>
            </a:p>
          </p:txBody>
        </p:sp>
        <p:sp>
          <p:nvSpPr>
            <p:cNvPr id="2518" name="Freeform 297"/>
            <p:cNvSpPr>
              <a:spLocks/>
            </p:cNvSpPr>
            <p:nvPr/>
          </p:nvSpPr>
          <p:spPr bwMode="auto">
            <a:xfrm>
              <a:off x="5139" y="2418"/>
              <a:ext cx="6" cy="12"/>
            </a:xfrm>
            <a:custGeom>
              <a:avLst/>
              <a:gdLst>
                <a:gd name="T0" fmla="*/ 0 w 20"/>
                <a:gd name="T1" fmla="*/ 2 h 37"/>
                <a:gd name="T2" fmla="*/ 0 w 20"/>
                <a:gd name="T3" fmla="*/ 12 h 37"/>
                <a:gd name="T4" fmla="*/ 2 w 20"/>
                <a:gd name="T5" fmla="*/ 11 h 37"/>
                <a:gd name="T6" fmla="*/ 6 w 20"/>
                <a:gd name="T7" fmla="*/ 10 h 37"/>
                <a:gd name="T8" fmla="*/ 6 w 20"/>
                <a:gd name="T9" fmla="*/ 0 h 37"/>
                <a:gd name="T10" fmla="*/ 0 w 20"/>
                <a:gd name="T11" fmla="*/ 2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grpFill/>
            <a:ln w="9525" cmpd="sng">
              <a:solidFill>
                <a:srgbClr val="FFFFFF"/>
              </a:solidFill>
              <a:prstDash val="solid"/>
              <a:round/>
              <a:headEnd/>
              <a:tailEnd/>
            </a:ln>
          </p:spPr>
          <p:txBody>
            <a:bodyPr/>
            <a:lstStyle/>
            <a:p>
              <a:pPr>
                <a:defRPr/>
              </a:pPr>
              <a:endParaRPr lang="en-AU"/>
            </a:p>
          </p:txBody>
        </p:sp>
        <p:sp>
          <p:nvSpPr>
            <p:cNvPr id="2519" name="Line 298"/>
            <p:cNvSpPr>
              <a:spLocks noChangeShapeType="1"/>
            </p:cNvSpPr>
            <p:nvPr/>
          </p:nvSpPr>
          <p:spPr bwMode="auto">
            <a:xfrm>
              <a:off x="5180" y="2449"/>
              <a:ext cx="1" cy="10"/>
            </a:xfrm>
            <a:prstGeom prst="line">
              <a:avLst/>
            </a:prstGeom>
            <a:grpFill/>
            <a:ln w="9525">
              <a:solidFill>
                <a:srgbClr val="FFFFFF"/>
              </a:solidFill>
              <a:round/>
              <a:headEnd/>
              <a:tailEnd/>
            </a:ln>
            <a:extLst/>
          </p:spPr>
          <p:txBody>
            <a:bodyPr/>
            <a:lstStyle/>
            <a:p>
              <a:pPr>
                <a:defRPr/>
              </a:pPr>
              <a:endParaRPr lang="en-AU"/>
            </a:p>
          </p:txBody>
        </p:sp>
        <p:sp>
          <p:nvSpPr>
            <p:cNvPr id="2520" name="Freeform 299"/>
            <p:cNvSpPr>
              <a:spLocks/>
            </p:cNvSpPr>
            <p:nvPr/>
          </p:nvSpPr>
          <p:spPr bwMode="auto">
            <a:xfrm>
              <a:off x="5180" y="2453"/>
              <a:ext cx="4" cy="6"/>
            </a:xfrm>
            <a:custGeom>
              <a:avLst/>
              <a:gdLst>
                <a:gd name="T0" fmla="*/ 0 w 13"/>
                <a:gd name="T1" fmla="*/ 6 h 18"/>
                <a:gd name="T2" fmla="*/ 0 w 13"/>
                <a:gd name="T3" fmla="*/ 4 h 18"/>
                <a:gd name="T4" fmla="*/ 1 w 13"/>
                <a:gd name="T5" fmla="*/ 3 h 18"/>
                <a:gd name="T6" fmla="*/ 2 w 13"/>
                <a:gd name="T7" fmla="*/ 1 h 18"/>
                <a:gd name="T8" fmla="*/ 4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grpFill/>
            <a:ln w="9525" cmpd="sng">
              <a:solidFill>
                <a:srgbClr val="FFFFFF"/>
              </a:solidFill>
              <a:prstDash val="solid"/>
              <a:round/>
              <a:headEnd/>
              <a:tailEnd/>
            </a:ln>
          </p:spPr>
          <p:txBody>
            <a:bodyPr/>
            <a:lstStyle/>
            <a:p>
              <a:pPr>
                <a:defRPr/>
              </a:pPr>
              <a:endParaRPr lang="en-AU"/>
            </a:p>
          </p:txBody>
        </p:sp>
        <p:sp>
          <p:nvSpPr>
            <p:cNvPr id="2521" name="Line 300"/>
            <p:cNvSpPr>
              <a:spLocks noChangeShapeType="1"/>
            </p:cNvSpPr>
            <p:nvPr/>
          </p:nvSpPr>
          <p:spPr bwMode="auto">
            <a:xfrm flipH="1" flipV="1">
              <a:off x="5178" y="2447"/>
              <a:ext cx="6" cy="6"/>
            </a:xfrm>
            <a:prstGeom prst="line">
              <a:avLst/>
            </a:prstGeom>
            <a:grpFill/>
            <a:ln w="9525">
              <a:solidFill>
                <a:srgbClr val="FFFFFF"/>
              </a:solidFill>
              <a:round/>
              <a:headEnd/>
              <a:tailEnd/>
            </a:ln>
            <a:extLst/>
          </p:spPr>
          <p:txBody>
            <a:bodyPr/>
            <a:lstStyle/>
            <a:p>
              <a:pPr>
                <a:defRPr/>
              </a:pPr>
              <a:endParaRPr lang="en-AU"/>
            </a:p>
          </p:txBody>
        </p:sp>
        <p:sp>
          <p:nvSpPr>
            <p:cNvPr id="2522" name="Freeform 301"/>
            <p:cNvSpPr>
              <a:spLocks/>
            </p:cNvSpPr>
            <p:nvPr/>
          </p:nvSpPr>
          <p:spPr bwMode="auto">
            <a:xfrm>
              <a:off x="5116" y="2564"/>
              <a:ext cx="9" cy="10"/>
            </a:xfrm>
            <a:custGeom>
              <a:avLst/>
              <a:gdLst>
                <a:gd name="T0" fmla="*/ 0 w 27"/>
                <a:gd name="T1" fmla="*/ 0 h 31"/>
                <a:gd name="T2" fmla="*/ 7 w 27"/>
                <a:gd name="T3" fmla="*/ 10 h 31"/>
                <a:gd name="T4" fmla="*/ 9 w 27"/>
                <a:gd name="T5" fmla="*/ 4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grpFill/>
            <a:ln w="9525" cmpd="sng">
              <a:solidFill>
                <a:srgbClr val="FFFFFF"/>
              </a:solidFill>
              <a:prstDash val="solid"/>
              <a:round/>
              <a:headEnd/>
              <a:tailEnd/>
            </a:ln>
          </p:spPr>
          <p:txBody>
            <a:bodyPr/>
            <a:lstStyle/>
            <a:p>
              <a:pPr>
                <a:defRPr/>
              </a:pPr>
              <a:endParaRPr lang="en-AU"/>
            </a:p>
          </p:txBody>
        </p:sp>
        <p:sp>
          <p:nvSpPr>
            <p:cNvPr id="2523" name="Freeform 302"/>
            <p:cNvSpPr>
              <a:spLocks/>
            </p:cNvSpPr>
            <p:nvPr/>
          </p:nvSpPr>
          <p:spPr bwMode="auto">
            <a:xfrm>
              <a:off x="5119" y="2568"/>
              <a:ext cx="6" cy="1"/>
            </a:xfrm>
            <a:custGeom>
              <a:avLst/>
              <a:gdLst>
                <a:gd name="T0" fmla="*/ 6 w 20"/>
                <a:gd name="T1" fmla="*/ 0 h 1"/>
                <a:gd name="T2" fmla="*/ 3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grpFill/>
            <a:ln w="9525" cmpd="sng">
              <a:solidFill>
                <a:srgbClr val="FFFFFF"/>
              </a:solidFill>
              <a:prstDash val="solid"/>
              <a:round/>
              <a:headEnd/>
              <a:tailEnd/>
            </a:ln>
          </p:spPr>
          <p:txBody>
            <a:bodyPr/>
            <a:lstStyle/>
            <a:p>
              <a:pPr>
                <a:defRPr/>
              </a:pPr>
              <a:endParaRPr lang="en-AU"/>
            </a:p>
          </p:txBody>
        </p:sp>
        <p:sp>
          <p:nvSpPr>
            <p:cNvPr id="2524" name="Freeform 303"/>
            <p:cNvSpPr>
              <a:spLocks/>
            </p:cNvSpPr>
            <p:nvPr/>
          </p:nvSpPr>
          <p:spPr bwMode="auto">
            <a:xfrm>
              <a:off x="5127" y="2557"/>
              <a:ext cx="12" cy="5"/>
            </a:xfrm>
            <a:custGeom>
              <a:avLst/>
              <a:gdLst>
                <a:gd name="T0" fmla="*/ 0 w 34"/>
                <a:gd name="T1" fmla="*/ 5 h 13"/>
                <a:gd name="T2" fmla="*/ 2 w 34"/>
                <a:gd name="T3" fmla="*/ 5 h 13"/>
                <a:gd name="T4" fmla="*/ 4 w 34"/>
                <a:gd name="T5" fmla="*/ 4 h 13"/>
                <a:gd name="T6" fmla="*/ 6 w 34"/>
                <a:gd name="T7" fmla="*/ 4 h 13"/>
                <a:gd name="T8" fmla="*/ 7 w 34"/>
                <a:gd name="T9" fmla="*/ 3 h 13"/>
                <a:gd name="T10" fmla="*/ 10 w 34"/>
                <a:gd name="T11" fmla="*/ 1 h 13"/>
                <a:gd name="T12" fmla="*/ 12 w 34"/>
                <a:gd name="T13" fmla="*/ 0 h 13"/>
                <a:gd name="T14" fmla="*/ 9 w 34"/>
                <a:gd name="T15" fmla="*/ 0 h 13"/>
                <a:gd name="T16" fmla="*/ 5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rgbClr val="FFFFFF"/>
              </a:solidFill>
              <a:prstDash val="solid"/>
              <a:round/>
              <a:headEnd/>
              <a:tailEnd/>
            </a:ln>
          </p:spPr>
          <p:txBody>
            <a:bodyPr/>
            <a:lstStyle/>
            <a:p>
              <a:pPr>
                <a:defRPr/>
              </a:pPr>
              <a:endParaRPr lang="en-AU"/>
            </a:p>
          </p:txBody>
        </p:sp>
        <p:sp>
          <p:nvSpPr>
            <p:cNvPr id="2525" name="Freeform 304"/>
            <p:cNvSpPr>
              <a:spLocks/>
            </p:cNvSpPr>
            <p:nvPr/>
          </p:nvSpPr>
          <p:spPr bwMode="auto">
            <a:xfrm>
              <a:off x="5127" y="2547"/>
              <a:ext cx="12" cy="6"/>
            </a:xfrm>
            <a:custGeom>
              <a:avLst/>
              <a:gdLst>
                <a:gd name="T0" fmla="*/ 12 w 34"/>
                <a:gd name="T1" fmla="*/ 6 h 18"/>
                <a:gd name="T2" fmla="*/ 12 w 34"/>
                <a:gd name="T3" fmla="*/ 0 h 18"/>
                <a:gd name="T4" fmla="*/ 10 w 34"/>
                <a:gd name="T5" fmla="*/ 0 h 18"/>
                <a:gd name="T6" fmla="*/ 7 w 34"/>
                <a:gd name="T7" fmla="*/ 0 h 18"/>
                <a:gd name="T8" fmla="*/ 4 w 34"/>
                <a:gd name="T9" fmla="*/ 0 h 18"/>
                <a:gd name="T10" fmla="*/ 0 w 34"/>
                <a:gd name="T11" fmla="*/ 0 h 18"/>
                <a:gd name="T12" fmla="*/ 12 w 34"/>
                <a:gd name="T13" fmla="*/ 6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rgbClr val="FFFFFF"/>
              </a:solidFill>
              <a:prstDash val="solid"/>
              <a:round/>
              <a:headEnd/>
              <a:tailEnd/>
            </a:ln>
          </p:spPr>
          <p:txBody>
            <a:bodyPr/>
            <a:lstStyle/>
            <a:p>
              <a:pPr>
                <a:defRPr/>
              </a:pPr>
              <a:endParaRPr lang="en-AU"/>
            </a:p>
          </p:txBody>
        </p:sp>
        <p:sp>
          <p:nvSpPr>
            <p:cNvPr id="2526" name="Freeform 305"/>
            <p:cNvSpPr>
              <a:spLocks/>
            </p:cNvSpPr>
            <p:nvPr/>
          </p:nvSpPr>
          <p:spPr bwMode="auto">
            <a:xfrm>
              <a:off x="5141" y="2535"/>
              <a:ext cx="20" cy="8"/>
            </a:xfrm>
            <a:custGeom>
              <a:avLst/>
              <a:gdLst>
                <a:gd name="T0" fmla="*/ 18 w 59"/>
                <a:gd name="T1" fmla="*/ 8 h 25"/>
                <a:gd name="T2" fmla="*/ 19 w 59"/>
                <a:gd name="T3" fmla="*/ 4 h 25"/>
                <a:gd name="T4" fmla="*/ 20 w 59"/>
                <a:gd name="T5" fmla="*/ 0 h 25"/>
                <a:gd name="T6" fmla="*/ 15 w 59"/>
                <a:gd name="T7" fmla="*/ 0 h 25"/>
                <a:gd name="T8" fmla="*/ 9 w 59"/>
                <a:gd name="T9" fmla="*/ 0 h 25"/>
                <a:gd name="T10" fmla="*/ 6 w 59"/>
                <a:gd name="T11" fmla="*/ 0 h 25"/>
                <a:gd name="T12" fmla="*/ 4 w 59"/>
                <a:gd name="T13" fmla="*/ 1 h 25"/>
                <a:gd name="T14" fmla="*/ 2 w 59"/>
                <a:gd name="T15" fmla="*/ 1 h 25"/>
                <a:gd name="T16" fmla="*/ 0 w 59"/>
                <a:gd name="T17" fmla="*/ 2 h 25"/>
                <a:gd name="T18" fmla="*/ 4 w 59"/>
                <a:gd name="T19" fmla="*/ 4 h 25"/>
                <a:gd name="T20" fmla="*/ 9 w 59"/>
                <a:gd name="T21" fmla="*/ 6 h 25"/>
                <a:gd name="T22" fmla="*/ 11 w 59"/>
                <a:gd name="T23" fmla="*/ 7 h 25"/>
                <a:gd name="T24" fmla="*/ 13 w 59"/>
                <a:gd name="T25" fmla="*/ 8 h 25"/>
                <a:gd name="T26" fmla="*/ 16 w 59"/>
                <a:gd name="T27" fmla="*/ 8 h 25"/>
                <a:gd name="T28" fmla="*/ 18 w 59"/>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rgbClr val="FFFFFF"/>
              </a:solidFill>
              <a:prstDash val="solid"/>
              <a:round/>
              <a:headEnd/>
              <a:tailEnd/>
            </a:ln>
          </p:spPr>
          <p:txBody>
            <a:bodyPr/>
            <a:lstStyle/>
            <a:p>
              <a:pPr>
                <a:defRPr/>
              </a:pPr>
              <a:endParaRPr lang="en-AU"/>
            </a:p>
          </p:txBody>
        </p:sp>
        <p:sp>
          <p:nvSpPr>
            <p:cNvPr id="2527" name="Line 306"/>
            <p:cNvSpPr>
              <a:spLocks noChangeShapeType="1"/>
            </p:cNvSpPr>
            <p:nvPr/>
          </p:nvSpPr>
          <p:spPr bwMode="auto">
            <a:xfrm flipV="1">
              <a:off x="5191" y="2516"/>
              <a:ext cx="6" cy="2"/>
            </a:xfrm>
            <a:prstGeom prst="line">
              <a:avLst/>
            </a:prstGeom>
            <a:grpFill/>
            <a:ln w="9525">
              <a:solidFill>
                <a:srgbClr val="FFFFFF"/>
              </a:solidFill>
              <a:round/>
              <a:headEnd/>
              <a:tailEnd/>
            </a:ln>
            <a:extLst/>
          </p:spPr>
          <p:txBody>
            <a:bodyPr/>
            <a:lstStyle/>
            <a:p>
              <a:pPr>
                <a:defRPr/>
              </a:pPr>
              <a:endParaRPr lang="en-AU"/>
            </a:p>
          </p:txBody>
        </p:sp>
      </p:grpSp>
      <p:sp>
        <p:nvSpPr>
          <p:cNvPr id="2259" name="Freeform 307"/>
          <p:cNvSpPr>
            <a:spLocks/>
          </p:cNvSpPr>
          <p:nvPr>
            <p:custDataLst>
              <p:tags r:id="rId210"/>
            </p:custDataLst>
          </p:nvPr>
        </p:nvSpPr>
        <p:spPr bwMode="auto">
          <a:xfrm>
            <a:off x="7280275" y="3879850"/>
            <a:ext cx="14288" cy="55563"/>
          </a:xfrm>
          <a:custGeom>
            <a:avLst/>
            <a:gdLst>
              <a:gd name="T0" fmla="*/ 0 w 33"/>
              <a:gd name="T1" fmla="*/ 2147483647 h 43"/>
              <a:gd name="T2" fmla="*/ 2147483647 w 33"/>
              <a:gd name="T3" fmla="*/ 2147483647 h 43"/>
              <a:gd name="T4" fmla="*/ 2147483647 w 33"/>
              <a:gd name="T5" fmla="*/ 2147483647 h 43"/>
              <a:gd name="T6" fmla="*/ 2147483647 w 33"/>
              <a:gd name="T7" fmla="*/ 2147483647 h 43"/>
              <a:gd name="T8" fmla="*/ 2147483647 w 33"/>
              <a:gd name="T9" fmla="*/ 2147483647 h 43"/>
              <a:gd name="T10" fmla="*/ 2147483647 w 33"/>
              <a:gd name="T11" fmla="*/ 2147483647 h 43"/>
              <a:gd name="T12" fmla="*/ 2147483647 w 33"/>
              <a:gd name="T13" fmla="*/ 2147483647 h 43"/>
              <a:gd name="T14" fmla="*/ 2147483647 w 33"/>
              <a:gd name="T15" fmla="*/ 2147483647 h 43"/>
              <a:gd name="T16" fmla="*/ 2147483647 w 33"/>
              <a:gd name="T17" fmla="*/ 0 h 43"/>
              <a:gd name="T18" fmla="*/ 2147483647 w 33"/>
              <a:gd name="T19" fmla="*/ 2147483647 h 43"/>
              <a:gd name="T20" fmla="*/ 2147483647 w 33"/>
              <a:gd name="T21" fmla="*/ 2147483647 h 43"/>
              <a:gd name="T22" fmla="*/ 2147483647 w 33"/>
              <a:gd name="T23" fmla="*/ 2147483647 h 43"/>
              <a:gd name="T24" fmla="*/ 2147483647 w 33"/>
              <a:gd name="T25" fmla="*/ 2147483647 h 43"/>
              <a:gd name="T26" fmla="*/ 2147483647 w 33"/>
              <a:gd name="T27" fmla="*/ 2147483647 h 43"/>
              <a:gd name="T28" fmla="*/ 2147483647 w 33"/>
              <a:gd name="T29" fmla="*/ 2147483647 h 43"/>
              <a:gd name="T30" fmla="*/ 2147483647 w 33"/>
              <a:gd name="T31" fmla="*/ 2147483647 h 43"/>
              <a:gd name="T32" fmla="*/ 2147483647 w 33"/>
              <a:gd name="T33" fmla="*/ 2147483647 h 43"/>
              <a:gd name="T34" fmla="*/ 0 w 33"/>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260" name="Freeform 308"/>
          <p:cNvSpPr>
            <a:spLocks/>
          </p:cNvSpPr>
          <p:nvPr>
            <p:custDataLst>
              <p:tags r:id="rId211"/>
            </p:custDataLst>
          </p:nvPr>
        </p:nvSpPr>
        <p:spPr bwMode="auto">
          <a:xfrm>
            <a:off x="7356475" y="3819525"/>
            <a:ext cx="22225" cy="58738"/>
          </a:xfrm>
          <a:custGeom>
            <a:avLst/>
            <a:gdLst>
              <a:gd name="T0" fmla="*/ 0 w 54"/>
              <a:gd name="T1" fmla="*/ 2147483647 h 92"/>
              <a:gd name="T2" fmla="*/ 2147483647 w 54"/>
              <a:gd name="T3" fmla="*/ 2147483647 h 92"/>
              <a:gd name="T4" fmla="*/ 2147483647 w 54"/>
              <a:gd name="T5" fmla="*/ 2147483647 h 92"/>
              <a:gd name="T6" fmla="*/ 2147483647 w 54"/>
              <a:gd name="T7" fmla="*/ 2147483647 h 92"/>
              <a:gd name="T8" fmla="*/ 2147483647 w 54"/>
              <a:gd name="T9" fmla="*/ 2147483647 h 92"/>
              <a:gd name="T10" fmla="*/ 2147483647 w 54"/>
              <a:gd name="T11" fmla="*/ 2147483647 h 92"/>
              <a:gd name="T12" fmla="*/ 2147483647 w 54"/>
              <a:gd name="T13" fmla="*/ 2147483647 h 92"/>
              <a:gd name="T14" fmla="*/ 2147483647 w 54"/>
              <a:gd name="T15" fmla="*/ 2147483647 h 92"/>
              <a:gd name="T16" fmla="*/ 2147483647 w 54"/>
              <a:gd name="T17" fmla="*/ 0 h 92"/>
              <a:gd name="T18" fmla="*/ 2147483647 w 54"/>
              <a:gd name="T19" fmla="*/ 2147483647 h 92"/>
              <a:gd name="T20" fmla="*/ 2147483647 w 54"/>
              <a:gd name="T21" fmla="*/ 2147483647 h 92"/>
              <a:gd name="T22" fmla="*/ 2147483647 w 54"/>
              <a:gd name="T23" fmla="*/ 2147483647 h 92"/>
              <a:gd name="T24" fmla="*/ 2147483647 w 54"/>
              <a:gd name="T25" fmla="*/ 2147483647 h 92"/>
              <a:gd name="T26" fmla="*/ 2147483647 w 54"/>
              <a:gd name="T27" fmla="*/ 2147483647 h 92"/>
              <a:gd name="T28" fmla="*/ 2147483647 w 54"/>
              <a:gd name="T29" fmla="*/ 2147483647 h 92"/>
              <a:gd name="T30" fmla="*/ 2147483647 w 54"/>
              <a:gd name="T31" fmla="*/ 2147483647 h 92"/>
              <a:gd name="T32" fmla="*/ 2147483647 w 54"/>
              <a:gd name="T33" fmla="*/ 2147483647 h 92"/>
              <a:gd name="T34" fmla="*/ 2147483647 w 54"/>
              <a:gd name="T35" fmla="*/ 2147483647 h 92"/>
              <a:gd name="T36" fmla="*/ 2147483647 w 54"/>
              <a:gd name="T37" fmla="*/ 2147483647 h 92"/>
              <a:gd name="T38" fmla="*/ 2147483647 w 54"/>
              <a:gd name="T39" fmla="*/ 2147483647 h 92"/>
              <a:gd name="T40" fmla="*/ 2147483647 w 54"/>
              <a:gd name="T41" fmla="*/ 2147483647 h 92"/>
              <a:gd name="T42" fmla="*/ 2147483647 w 54"/>
              <a:gd name="T43" fmla="*/ 2147483647 h 92"/>
              <a:gd name="T44" fmla="*/ 2147483647 w 54"/>
              <a:gd name="T45" fmla="*/ 2147483647 h 92"/>
              <a:gd name="T46" fmla="*/ 2147483647 w 54"/>
              <a:gd name="T47" fmla="*/ 2147483647 h 92"/>
              <a:gd name="T48" fmla="*/ 2147483647 w 54"/>
              <a:gd name="T49" fmla="*/ 2147483647 h 92"/>
              <a:gd name="T50" fmla="*/ 0 w 54"/>
              <a:gd name="T51" fmla="*/ 2147483647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261" name="Freeform 309"/>
          <p:cNvSpPr>
            <a:spLocks/>
          </p:cNvSpPr>
          <p:nvPr>
            <p:custDataLst>
              <p:tags r:id="rId212"/>
            </p:custDataLst>
          </p:nvPr>
        </p:nvSpPr>
        <p:spPr bwMode="auto">
          <a:xfrm>
            <a:off x="7404100" y="3698875"/>
            <a:ext cx="23813" cy="57150"/>
          </a:xfrm>
          <a:custGeom>
            <a:avLst/>
            <a:gdLst>
              <a:gd name="T0" fmla="*/ 0 w 60"/>
              <a:gd name="T1" fmla="*/ 0 h 18"/>
              <a:gd name="T2" fmla="*/ 2147483647 w 60"/>
              <a:gd name="T3" fmla="*/ 2147483647 h 18"/>
              <a:gd name="T4" fmla="*/ 2147483647 w 60"/>
              <a:gd name="T5" fmla="*/ 2147483647 h 18"/>
              <a:gd name="T6" fmla="*/ 2147483647 w 60"/>
              <a:gd name="T7" fmla="*/ 2147483647 h 18"/>
              <a:gd name="T8" fmla="*/ 2147483647 w 60"/>
              <a:gd name="T9" fmla="*/ 2147483647 h 18"/>
              <a:gd name="T10" fmla="*/ 2147483647 w 60"/>
              <a:gd name="T11" fmla="*/ 2147483647 h 18"/>
              <a:gd name="T12" fmla="*/ 2147483647 w 60"/>
              <a:gd name="T13" fmla="*/ 2147483647 h 18"/>
              <a:gd name="T14" fmla="*/ 2147483647 w 60"/>
              <a:gd name="T15" fmla="*/ 2147483647 h 18"/>
              <a:gd name="T16" fmla="*/ 2147483647 w 60"/>
              <a:gd name="T17" fmla="*/ 2147483647 h 18"/>
              <a:gd name="T18" fmla="*/ 2147483647 w 60"/>
              <a:gd name="T19" fmla="*/ 2147483647 h 18"/>
              <a:gd name="T20" fmla="*/ 0 w 60"/>
              <a:gd name="T21" fmla="*/ 2147483647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262" name="Freeform 310"/>
          <p:cNvSpPr>
            <a:spLocks/>
          </p:cNvSpPr>
          <p:nvPr>
            <p:custDataLst>
              <p:tags r:id="rId213"/>
            </p:custDataLst>
          </p:nvPr>
        </p:nvSpPr>
        <p:spPr bwMode="auto">
          <a:xfrm>
            <a:off x="7388225" y="3668713"/>
            <a:ext cx="25400" cy="57150"/>
          </a:xfrm>
          <a:custGeom>
            <a:avLst/>
            <a:gdLst>
              <a:gd name="T0" fmla="*/ 0 w 66"/>
              <a:gd name="T1" fmla="*/ 2147483647 h 18"/>
              <a:gd name="T2" fmla="*/ 2147483647 w 66"/>
              <a:gd name="T3" fmla="*/ 2147483647 h 18"/>
              <a:gd name="T4" fmla="*/ 2147483647 w 66"/>
              <a:gd name="T5" fmla="*/ 2147483647 h 18"/>
              <a:gd name="T6" fmla="*/ 2147483647 w 66"/>
              <a:gd name="T7" fmla="*/ 2147483647 h 18"/>
              <a:gd name="T8" fmla="*/ 2147483647 w 66"/>
              <a:gd name="T9" fmla="*/ 2147483647 h 18"/>
              <a:gd name="T10" fmla="*/ 2147483647 w 66"/>
              <a:gd name="T11" fmla="*/ 2147483647 h 18"/>
              <a:gd name="T12" fmla="*/ 2147483647 w 66"/>
              <a:gd name="T13" fmla="*/ 2147483647 h 18"/>
              <a:gd name="T14" fmla="*/ 2147483647 w 66"/>
              <a:gd name="T15" fmla="*/ 0 h 18"/>
              <a:gd name="T16" fmla="*/ 0 w 66"/>
              <a:gd name="T17" fmla="*/ 2147483647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263" name="Freeform 311"/>
          <p:cNvSpPr>
            <a:spLocks/>
          </p:cNvSpPr>
          <p:nvPr>
            <p:custDataLst>
              <p:tags r:id="rId214"/>
            </p:custDataLst>
          </p:nvPr>
        </p:nvSpPr>
        <p:spPr bwMode="auto">
          <a:xfrm>
            <a:off x="7213600" y="3565525"/>
            <a:ext cx="7938" cy="57150"/>
          </a:xfrm>
          <a:custGeom>
            <a:avLst/>
            <a:gdLst>
              <a:gd name="T0" fmla="*/ 0 w 17"/>
              <a:gd name="T1" fmla="*/ 2147483647 h 42"/>
              <a:gd name="T2" fmla="*/ 2147483647 w 17"/>
              <a:gd name="T3" fmla="*/ 2147483647 h 42"/>
              <a:gd name="T4" fmla="*/ 2147483647 w 17"/>
              <a:gd name="T5" fmla="*/ 2147483647 h 42"/>
              <a:gd name="T6" fmla="*/ 2147483647 w 17"/>
              <a:gd name="T7" fmla="*/ 2147483647 h 42"/>
              <a:gd name="T8" fmla="*/ 2147483647 w 17"/>
              <a:gd name="T9" fmla="*/ 2147483647 h 42"/>
              <a:gd name="T10" fmla="*/ 2147483647 w 17"/>
              <a:gd name="T11" fmla="*/ 2147483647 h 42"/>
              <a:gd name="T12" fmla="*/ 2147483647 w 17"/>
              <a:gd name="T13" fmla="*/ 2147483647 h 42"/>
              <a:gd name="T14" fmla="*/ 2147483647 w 17"/>
              <a:gd name="T15" fmla="*/ 0 h 42"/>
              <a:gd name="T16" fmla="*/ 0 w 17"/>
              <a:gd name="T17" fmla="*/ 2147483647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264" name="Freeform 312"/>
          <p:cNvSpPr>
            <a:spLocks/>
          </p:cNvSpPr>
          <p:nvPr>
            <p:custDataLst>
              <p:tags r:id="rId215"/>
            </p:custDataLst>
          </p:nvPr>
        </p:nvSpPr>
        <p:spPr bwMode="auto">
          <a:xfrm>
            <a:off x="7140575" y="3700463"/>
            <a:ext cx="30163" cy="58737"/>
          </a:xfrm>
          <a:custGeom>
            <a:avLst/>
            <a:gdLst>
              <a:gd name="T0" fmla="*/ 2147483647 w 72"/>
              <a:gd name="T1" fmla="*/ 2147483647 h 29"/>
              <a:gd name="T2" fmla="*/ 2147483647 w 72"/>
              <a:gd name="T3" fmla="*/ 2147483647 h 29"/>
              <a:gd name="T4" fmla="*/ 2147483647 w 72"/>
              <a:gd name="T5" fmla="*/ 2147483647 h 29"/>
              <a:gd name="T6" fmla="*/ 2147483647 w 72"/>
              <a:gd name="T7" fmla="*/ 2147483647 h 29"/>
              <a:gd name="T8" fmla="*/ 2147483647 w 72"/>
              <a:gd name="T9" fmla="*/ 2147483647 h 29"/>
              <a:gd name="T10" fmla="*/ 2147483647 w 72"/>
              <a:gd name="T11" fmla="*/ 2147483647 h 29"/>
              <a:gd name="T12" fmla="*/ 2147483647 w 72"/>
              <a:gd name="T13" fmla="*/ 2147483647 h 29"/>
              <a:gd name="T14" fmla="*/ 2147483647 w 72"/>
              <a:gd name="T15" fmla="*/ 2147483647 h 29"/>
              <a:gd name="T16" fmla="*/ 2147483647 w 72"/>
              <a:gd name="T17" fmla="*/ 2147483647 h 29"/>
              <a:gd name="T18" fmla="*/ 2147483647 w 72"/>
              <a:gd name="T19" fmla="*/ 0 h 29"/>
              <a:gd name="T20" fmla="*/ 2147483647 w 72"/>
              <a:gd name="T21" fmla="*/ 0 h 29"/>
              <a:gd name="T22" fmla="*/ 2147483647 w 72"/>
              <a:gd name="T23" fmla="*/ 2147483647 h 29"/>
              <a:gd name="T24" fmla="*/ 2147483647 w 72"/>
              <a:gd name="T25" fmla="*/ 2147483647 h 29"/>
              <a:gd name="T26" fmla="*/ 2147483647 w 72"/>
              <a:gd name="T27" fmla="*/ 2147483647 h 29"/>
              <a:gd name="T28" fmla="*/ 2147483647 w 72"/>
              <a:gd name="T29" fmla="*/ 2147483647 h 29"/>
              <a:gd name="T30" fmla="*/ 0 w 72"/>
              <a:gd name="T31" fmla="*/ 2147483647 h 29"/>
              <a:gd name="T32" fmla="*/ 2147483647 w 72"/>
              <a:gd name="T33" fmla="*/ 2147483647 h 29"/>
              <a:gd name="T34" fmla="*/ 2147483647 w 72"/>
              <a:gd name="T35" fmla="*/ 214748364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ED2A09"/>
          </a:solidFill>
          <a:ln w="9525" cap="flat" cmpd="sng">
            <a:solidFill>
              <a:srgbClr val="FFFFFF"/>
            </a:solidFill>
            <a:prstDash val="solid"/>
            <a:round/>
            <a:headEnd type="none" w="med" len="med"/>
            <a:tailEnd type="none" w="med" len="med"/>
          </a:ln>
          <a:effectLst/>
        </p:spPr>
        <p:txBody>
          <a:bodyPr/>
          <a:lstStyle/>
          <a:p>
            <a:endParaRPr lang="en-AU"/>
          </a:p>
        </p:txBody>
      </p:sp>
      <p:sp>
        <p:nvSpPr>
          <p:cNvPr id="2265" name="Freeform 313"/>
          <p:cNvSpPr>
            <a:spLocks/>
          </p:cNvSpPr>
          <p:nvPr>
            <p:custDataLst>
              <p:tags r:id="rId216"/>
            </p:custDataLst>
          </p:nvPr>
        </p:nvSpPr>
        <p:spPr bwMode="auto">
          <a:xfrm>
            <a:off x="7148513" y="3886200"/>
            <a:ext cx="19050" cy="55563"/>
          </a:xfrm>
          <a:custGeom>
            <a:avLst/>
            <a:gdLst>
              <a:gd name="T0" fmla="*/ 0 w 46"/>
              <a:gd name="T1" fmla="*/ 0 h 37"/>
              <a:gd name="T2" fmla="*/ 2147483647 w 46"/>
              <a:gd name="T3" fmla="*/ 2147483647 h 37"/>
              <a:gd name="T4" fmla="*/ 2147483647 w 46"/>
              <a:gd name="T5" fmla="*/ 2147483647 h 37"/>
              <a:gd name="T6" fmla="*/ 2147483647 w 46"/>
              <a:gd name="T7" fmla="*/ 2147483647 h 37"/>
              <a:gd name="T8" fmla="*/ 2147483647 w 46"/>
              <a:gd name="T9" fmla="*/ 2147483647 h 37"/>
              <a:gd name="T10" fmla="*/ 2147483647 w 46"/>
              <a:gd name="T11" fmla="*/ 2147483647 h 37"/>
              <a:gd name="T12" fmla="*/ 2147483647 w 46"/>
              <a:gd name="T13" fmla="*/ 2147483647 h 37"/>
              <a:gd name="T14" fmla="*/ 2147483647 w 46"/>
              <a:gd name="T15" fmla="*/ 2147483647 h 37"/>
              <a:gd name="T16" fmla="*/ 2147483647 w 46"/>
              <a:gd name="T17" fmla="*/ 2147483647 h 37"/>
              <a:gd name="T18" fmla="*/ 2147483647 w 46"/>
              <a:gd name="T19" fmla="*/ 2147483647 h 37"/>
              <a:gd name="T20" fmla="*/ 2147483647 w 46"/>
              <a:gd name="T21" fmla="*/ 2147483647 h 37"/>
              <a:gd name="T22" fmla="*/ 2147483647 w 46"/>
              <a:gd name="T23" fmla="*/ 2147483647 h 37"/>
              <a:gd name="T24" fmla="*/ 2147483647 w 46"/>
              <a:gd name="T25" fmla="*/ 2147483647 h 37"/>
              <a:gd name="T26" fmla="*/ 2147483647 w 46"/>
              <a:gd name="T27" fmla="*/ 2147483647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266" name="Freeform 314"/>
          <p:cNvSpPr>
            <a:spLocks/>
          </p:cNvSpPr>
          <p:nvPr>
            <p:custDataLst>
              <p:tags r:id="rId217"/>
            </p:custDataLst>
          </p:nvPr>
        </p:nvSpPr>
        <p:spPr bwMode="auto">
          <a:xfrm>
            <a:off x="7261225" y="3705225"/>
            <a:ext cx="11113" cy="57150"/>
          </a:xfrm>
          <a:custGeom>
            <a:avLst/>
            <a:gdLst>
              <a:gd name="T0" fmla="*/ 0 w 26"/>
              <a:gd name="T1" fmla="*/ 0 h 19"/>
              <a:gd name="T2" fmla="*/ 2147483647 w 26"/>
              <a:gd name="T3" fmla="*/ 2147483647 h 19"/>
              <a:gd name="T4" fmla="*/ 2147483647 w 26"/>
              <a:gd name="T5" fmla="*/ 2147483647 h 19"/>
              <a:gd name="T6" fmla="*/ 2147483647 w 26"/>
              <a:gd name="T7" fmla="*/ 0 h 19"/>
              <a:gd name="T8" fmla="*/ 2147483647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0" y="0"/>
                </a:moveTo>
                <a:lnTo>
                  <a:pt x="26" y="19"/>
                </a:lnTo>
                <a:lnTo>
                  <a:pt x="26" y="9"/>
                </a:lnTo>
                <a:lnTo>
                  <a:pt x="26" y="0"/>
                </a:lnTo>
                <a:lnTo>
                  <a:pt x="15"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267" name="Freeform 315"/>
          <p:cNvSpPr>
            <a:spLocks/>
          </p:cNvSpPr>
          <p:nvPr>
            <p:custDataLst>
              <p:tags r:id="rId218"/>
            </p:custDataLst>
          </p:nvPr>
        </p:nvSpPr>
        <p:spPr bwMode="auto">
          <a:xfrm>
            <a:off x="7121525" y="3700463"/>
            <a:ext cx="19050" cy="58737"/>
          </a:xfrm>
          <a:custGeom>
            <a:avLst/>
            <a:gdLst>
              <a:gd name="T0" fmla="*/ 2147483647 w 43"/>
              <a:gd name="T1" fmla="*/ 0 h 31"/>
              <a:gd name="T2" fmla="*/ 2147483647 w 43"/>
              <a:gd name="T3" fmla="*/ 2147483647 h 31"/>
              <a:gd name="T4" fmla="*/ 0 w 43"/>
              <a:gd name="T5" fmla="*/ 2147483647 h 31"/>
              <a:gd name="T6" fmla="*/ 0 w 43"/>
              <a:gd name="T7" fmla="*/ 2147483647 h 31"/>
              <a:gd name="T8" fmla="*/ 0 w 43"/>
              <a:gd name="T9" fmla="*/ 2147483647 h 31"/>
              <a:gd name="T10" fmla="*/ 0 w 43"/>
              <a:gd name="T11" fmla="*/ 2147483647 h 31"/>
              <a:gd name="T12" fmla="*/ 2147483647 w 43"/>
              <a:gd name="T13" fmla="*/ 2147483647 h 31"/>
              <a:gd name="T14" fmla="*/ 2147483647 w 43"/>
              <a:gd name="T15" fmla="*/ 2147483647 h 31"/>
              <a:gd name="T16" fmla="*/ 2147483647 w 43"/>
              <a:gd name="T17" fmla="*/ 2147483647 h 31"/>
              <a:gd name="T18" fmla="*/ 2147483647 w 43"/>
              <a:gd name="T19" fmla="*/ 2147483647 h 31"/>
              <a:gd name="T20" fmla="*/ 2147483647 w 43"/>
              <a:gd name="T21" fmla="*/ 0 h 31"/>
              <a:gd name="T22" fmla="*/ 2147483647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268" name="Freeform 316"/>
          <p:cNvSpPr>
            <a:spLocks/>
          </p:cNvSpPr>
          <p:nvPr>
            <p:custDataLst>
              <p:tags r:id="rId219"/>
            </p:custDataLst>
          </p:nvPr>
        </p:nvSpPr>
        <p:spPr bwMode="auto">
          <a:xfrm>
            <a:off x="7165975" y="3748088"/>
            <a:ext cx="30163" cy="57150"/>
          </a:xfrm>
          <a:custGeom>
            <a:avLst/>
            <a:gdLst>
              <a:gd name="T0" fmla="*/ 2147483647 w 71"/>
              <a:gd name="T1" fmla="*/ 2147483647 h 49"/>
              <a:gd name="T2" fmla="*/ 2147483647 w 71"/>
              <a:gd name="T3" fmla="*/ 2147483647 h 49"/>
              <a:gd name="T4" fmla="*/ 2147483647 w 71"/>
              <a:gd name="T5" fmla="*/ 2147483647 h 49"/>
              <a:gd name="T6" fmla="*/ 2147483647 w 71"/>
              <a:gd name="T7" fmla="*/ 2147483647 h 49"/>
              <a:gd name="T8" fmla="*/ 2147483647 w 71"/>
              <a:gd name="T9" fmla="*/ 2147483647 h 49"/>
              <a:gd name="T10" fmla="*/ 2147483647 w 71"/>
              <a:gd name="T11" fmla="*/ 2147483647 h 49"/>
              <a:gd name="T12" fmla="*/ 2147483647 w 71"/>
              <a:gd name="T13" fmla="*/ 2147483647 h 49"/>
              <a:gd name="T14" fmla="*/ 2147483647 w 71"/>
              <a:gd name="T15" fmla="*/ 2147483647 h 49"/>
              <a:gd name="T16" fmla="*/ 2147483647 w 71"/>
              <a:gd name="T17" fmla="*/ 2147483647 h 49"/>
              <a:gd name="T18" fmla="*/ 2147483647 w 71"/>
              <a:gd name="T19" fmla="*/ 2147483647 h 49"/>
              <a:gd name="T20" fmla="*/ 2147483647 w 71"/>
              <a:gd name="T21" fmla="*/ 2147483647 h 49"/>
              <a:gd name="T22" fmla="*/ 2147483647 w 71"/>
              <a:gd name="T23" fmla="*/ 2147483647 h 49"/>
              <a:gd name="T24" fmla="*/ 2147483647 w 71"/>
              <a:gd name="T25" fmla="*/ 2147483647 h 49"/>
              <a:gd name="T26" fmla="*/ 2147483647 w 71"/>
              <a:gd name="T27" fmla="*/ 2147483647 h 49"/>
              <a:gd name="T28" fmla="*/ 2147483647 w 71"/>
              <a:gd name="T29" fmla="*/ 2147483647 h 49"/>
              <a:gd name="T30" fmla="*/ 2147483647 w 71"/>
              <a:gd name="T31" fmla="*/ 2147483647 h 49"/>
              <a:gd name="T32" fmla="*/ 2147483647 w 71"/>
              <a:gd name="T33" fmla="*/ 2147483647 h 49"/>
              <a:gd name="T34" fmla="*/ 2147483647 w 71"/>
              <a:gd name="T35" fmla="*/ 2147483647 h 49"/>
              <a:gd name="T36" fmla="*/ 2147483647 w 71"/>
              <a:gd name="T37" fmla="*/ 2147483647 h 49"/>
              <a:gd name="T38" fmla="*/ 2147483647 w 71"/>
              <a:gd name="T39" fmla="*/ 2147483647 h 49"/>
              <a:gd name="T40" fmla="*/ 2147483647 w 71"/>
              <a:gd name="T41" fmla="*/ 2147483647 h 49"/>
              <a:gd name="T42" fmla="*/ 2147483647 w 71"/>
              <a:gd name="T43" fmla="*/ 2147483647 h 49"/>
              <a:gd name="T44" fmla="*/ 2147483647 w 71"/>
              <a:gd name="T45" fmla="*/ 0 h 49"/>
              <a:gd name="T46" fmla="*/ 2147483647 w 71"/>
              <a:gd name="T47" fmla="*/ 2147483647 h 49"/>
              <a:gd name="T48" fmla="*/ 2147483647 w 71"/>
              <a:gd name="T49" fmla="*/ 2147483647 h 49"/>
              <a:gd name="T50" fmla="*/ 0 w 71"/>
              <a:gd name="T51" fmla="*/ 2147483647 h 49"/>
              <a:gd name="T52" fmla="*/ 0 w 71"/>
              <a:gd name="T53" fmla="*/ 2147483647 h 49"/>
              <a:gd name="T54" fmla="*/ 2147483647 w 71"/>
              <a:gd name="T55" fmla="*/ 2147483647 h 49"/>
              <a:gd name="T56" fmla="*/ 2147483647 w 71"/>
              <a:gd name="T57" fmla="*/ 2147483647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269" name="Freeform 317"/>
          <p:cNvSpPr>
            <a:spLocks/>
          </p:cNvSpPr>
          <p:nvPr>
            <p:custDataLst>
              <p:tags r:id="rId220"/>
            </p:custDataLst>
          </p:nvPr>
        </p:nvSpPr>
        <p:spPr bwMode="auto">
          <a:xfrm>
            <a:off x="6967538" y="3951288"/>
            <a:ext cx="46037" cy="58737"/>
          </a:xfrm>
          <a:custGeom>
            <a:avLst/>
            <a:gdLst>
              <a:gd name="T0" fmla="*/ 2147483647 w 112"/>
              <a:gd name="T1" fmla="*/ 2147483647 h 26"/>
              <a:gd name="T2" fmla="*/ 2147483647 w 112"/>
              <a:gd name="T3" fmla="*/ 2147483647 h 26"/>
              <a:gd name="T4" fmla="*/ 2147483647 w 112"/>
              <a:gd name="T5" fmla="*/ 2147483647 h 26"/>
              <a:gd name="T6" fmla="*/ 2147483647 w 112"/>
              <a:gd name="T7" fmla="*/ 2147483647 h 26"/>
              <a:gd name="T8" fmla="*/ 2147483647 w 112"/>
              <a:gd name="T9" fmla="*/ 2147483647 h 26"/>
              <a:gd name="T10" fmla="*/ 2147483647 w 112"/>
              <a:gd name="T11" fmla="*/ 2147483647 h 26"/>
              <a:gd name="T12" fmla="*/ 2147483647 w 112"/>
              <a:gd name="T13" fmla="*/ 2147483647 h 26"/>
              <a:gd name="T14" fmla="*/ 2147483647 w 112"/>
              <a:gd name="T15" fmla="*/ 2147483647 h 26"/>
              <a:gd name="T16" fmla="*/ 2147483647 w 112"/>
              <a:gd name="T17" fmla="*/ 2147483647 h 26"/>
              <a:gd name="T18" fmla="*/ 2147483647 w 112"/>
              <a:gd name="T19" fmla="*/ 2147483647 h 26"/>
              <a:gd name="T20" fmla="*/ 2147483647 w 112"/>
              <a:gd name="T21" fmla="*/ 2147483647 h 26"/>
              <a:gd name="T22" fmla="*/ 2147483647 w 112"/>
              <a:gd name="T23" fmla="*/ 2147483647 h 26"/>
              <a:gd name="T24" fmla="*/ 2147483647 w 112"/>
              <a:gd name="T25" fmla="*/ 2147483647 h 26"/>
              <a:gd name="T26" fmla="*/ 2147483647 w 112"/>
              <a:gd name="T27" fmla="*/ 2147483647 h 26"/>
              <a:gd name="T28" fmla="*/ 2147483647 w 112"/>
              <a:gd name="T29" fmla="*/ 2147483647 h 26"/>
              <a:gd name="T30" fmla="*/ 2147483647 w 112"/>
              <a:gd name="T31" fmla="*/ 2147483647 h 26"/>
              <a:gd name="T32" fmla="*/ 2147483647 w 112"/>
              <a:gd name="T33" fmla="*/ 2147483647 h 26"/>
              <a:gd name="T34" fmla="*/ 2147483647 w 112"/>
              <a:gd name="T35" fmla="*/ 2147483647 h 26"/>
              <a:gd name="T36" fmla="*/ 0 w 112"/>
              <a:gd name="T37" fmla="*/ 2147483647 h 26"/>
              <a:gd name="T38" fmla="*/ 2147483647 w 112"/>
              <a:gd name="T39" fmla="*/ 2147483647 h 26"/>
              <a:gd name="T40" fmla="*/ 2147483647 w 112"/>
              <a:gd name="T41" fmla="*/ 2147483647 h 26"/>
              <a:gd name="T42" fmla="*/ 2147483647 w 112"/>
              <a:gd name="T43" fmla="*/ 2147483647 h 26"/>
              <a:gd name="T44" fmla="*/ 2147483647 w 112"/>
              <a:gd name="T45" fmla="*/ 0 h 26"/>
              <a:gd name="T46" fmla="*/ 2147483647 w 112"/>
              <a:gd name="T47" fmla="*/ 2147483647 h 26"/>
              <a:gd name="T48" fmla="*/ 2147483647 w 112"/>
              <a:gd name="T49" fmla="*/ 2147483647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FF0000"/>
          </a:solidFill>
          <a:ln w="9525" cap="flat" cmpd="sng">
            <a:solidFill>
              <a:srgbClr val="FFFFFF"/>
            </a:solidFill>
            <a:prstDash val="solid"/>
            <a:round/>
            <a:headEnd type="none" w="med" len="med"/>
            <a:tailEnd type="none" w="med" len="med"/>
          </a:ln>
        </p:spPr>
        <p:txBody>
          <a:bodyPr/>
          <a:lstStyle/>
          <a:p>
            <a:endParaRPr lang="en-AU"/>
          </a:p>
        </p:txBody>
      </p:sp>
      <p:sp>
        <p:nvSpPr>
          <p:cNvPr id="2270" name="Freeform 318"/>
          <p:cNvSpPr>
            <a:spLocks/>
          </p:cNvSpPr>
          <p:nvPr>
            <p:custDataLst>
              <p:tags r:id="rId221"/>
            </p:custDataLst>
          </p:nvPr>
        </p:nvSpPr>
        <p:spPr bwMode="auto">
          <a:xfrm>
            <a:off x="7065963" y="3989388"/>
            <a:ext cx="14287" cy="58737"/>
          </a:xfrm>
          <a:custGeom>
            <a:avLst/>
            <a:gdLst>
              <a:gd name="T0" fmla="*/ 0 w 41"/>
              <a:gd name="T1" fmla="*/ 0 h 25"/>
              <a:gd name="T2" fmla="*/ 2147483647 w 41"/>
              <a:gd name="T3" fmla="*/ 0 h 25"/>
              <a:gd name="T4" fmla="*/ 2147483647 w 41"/>
              <a:gd name="T5" fmla="*/ 2147483647 h 25"/>
              <a:gd name="T6" fmla="*/ 2147483647 w 41"/>
              <a:gd name="T7" fmla="*/ 2147483647 h 25"/>
              <a:gd name="T8" fmla="*/ 2147483647 w 41"/>
              <a:gd name="T9" fmla="*/ 2147483647 h 25"/>
              <a:gd name="T10" fmla="*/ 0 w 41"/>
              <a:gd name="T11" fmla="*/ 2147483647 h 25"/>
              <a:gd name="T12" fmla="*/ 0 w 41"/>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271" name="Freeform 319"/>
          <p:cNvSpPr>
            <a:spLocks/>
          </p:cNvSpPr>
          <p:nvPr>
            <p:custDataLst>
              <p:tags r:id="rId222"/>
            </p:custDataLst>
          </p:nvPr>
        </p:nvSpPr>
        <p:spPr bwMode="auto">
          <a:xfrm>
            <a:off x="6899275" y="3921125"/>
            <a:ext cx="36513" cy="55563"/>
          </a:xfrm>
          <a:custGeom>
            <a:avLst/>
            <a:gdLst>
              <a:gd name="T0" fmla="*/ 0 w 81"/>
              <a:gd name="T1" fmla="*/ 2147483647 h 31"/>
              <a:gd name="T2" fmla="*/ 0 w 81"/>
              <a:gd name="T3" fmla="*/ 2147483647 h 31"/>
              <a:gd name="T4" fmla="*/ 0 w 81"/>
              <a:gd name="T5" fmla="*/ 2147483647 h 31"/>
              <a:gd name="T6" fmla="*/ 0 w 81"/>
              <a:gd name="T7" fmla="*/ 2147483647 h 31"/>
              <a:gd name="T8" fmla="*/ 2147483647 w 81"/>
              <a:gd name="T9" fmla="*/ 2147483647 h 31"/>
              <a:gd name="T10" fmla="*/ 2147483647 w 81"/>
              <a:gd name="T11" fmla="*/ 2147483647 h 31"/>
              <a:gd name="T12" fmla="*/ 2147483647 w 81"/>
              <a:gd name="T13" fmla="*/ 2147483647 h 31"/>
              <a:gd name="T14" fmla="*/ 2147483647 w 81"/>
              <a:gd name="T15" fmla="*/ 2147483647 h 31"/>
              <a:gd name="T16" fmla="*/ 2147483647 w 81"/>
              <a:gd name="T17" fmla="*/ 0 h 31"/>
              <a:gd name="T18" fmla="*/ 2147483647 w 81"/>
              <a:gd name="T19" fmla="*/ 2147483647 h 31"/>
              <a:gd name="T20" fmla="*/ 2147483647 w 81"/>
              <a:gd name="T21" fmla="*/ 2147483647 h 31"/>
              <a:gd name="T22" fmla="*/ 2147483647 w 81"/>
              <a:gd name="T23" fmla="*/ 2147483647 h 31"/>
              <a:gd name="T24" fmla="*/ 2147483647 w 81"/>
              <a:gd name="T25" fmla="*/ 2147483647 h 31"/>
              <a:gd name="T26" fmla="*/ 2147483647 w 81"/>
              <a:gd name="T27" fmla="*/ 2147483647 h 31"/>
              <a:gd name="T28" fmla="*/ 2147483647 w 81"/>
              <a:gd name="T29" fmla="*/ 2147483647 h 31"/>
              <a:gd name="T30" fmla="*/ 2147483647 w 81"/>
              <a:gd name="T31" fmla="*/ 2147483647 h 31"/>
              <a:gd name="T32" fmla="*/ 2147483647 w 81"/>
              <a:gd name="T33" fmla="*/ 2147483647 h 31"/>
              <a:gd name="T34" fmla="*/ 2147483647 w 81"/>
              <a:gd name="T35" fmla="*/ 2147483647 h 31"/>
              <a:gd name="T36" fmla="*/ 2147483647 w 81"/>
              <a:gd name="T37" fmla="*/ 2147483647 h 31"/>
              <a:gd name="T38" fmla="*/ 2147483647 w 81"/>
              <a:gd name="T39" fmla="*/ 2147483647 h 31"/>
              <a:gd name="T40" fmla="*/ 2147483647 w 81"/>
              <a:gd name="T41" fmla="*/ 2147483647 h 31"/>
              <a:gd name="T42" fmla="*/ 2147483647 w 81"/>
              <a:gd name="T43" fmla="*/ 2147483647 h 31"/>
              <a:gd name="T44" fmla="*/ 2147483647 w 81"/>
              <a:gd name="T45" fmla="*/ 2147483647 h 31"/>
              <a:gd name="T46" fmla="*/ 0 w 81"/>
              <a:gd name="T47" fmla="*/ 2147483647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FF0000"/>
          </a:solidFill>
          <a:ln w="9525" cap="flat" cmpd="sng">
            <a:solidFill>
              <a:srgbClr val="FFFFFF"/>
            </a:solidFill>
            <a:prstDash val="solid"/>
            <a:round/>
            <a:headEnd type="none" w="med" len="med"/>
            <a:tailEnd type="none" w="med" len="med"/>
          </a:ln>
        </p:spPr>
        <p:txBody>
          <a:bodyPr/>
          <a:lstStyle/>
          <a:p>
            <a:endParaRPr lang="en-AU"/>
          </a:p>
        </p:txBody>
      </p:sp>
      <p:sp>
        <p:nvSpPr>
          <p:cNvPr id="2272" name="Freeform 320"/>
          <p:cNvSpPr>
            <a:spLocks/>
          </p:cNvSpPr>
          <p:nvPr>
            <p:custDataLst>
              <p:tags r:id="rId223"/>
            </p:custDataLst>
          </p:nvPr>
        </p:nvSpPr>
        <p:spPr bwMode="auto">
          <a:xfrm>
            <a:off x="6943725" y="3906838"/>
            <a:ext cx="39688" cy="55562"/>
          </a:xfrm>
          <a:custGeom>
            <a:avLst/>
            <a:gdLst>
              <a:gd name="T0" fmla="*/ 2147483647 w 89"/>
              <a:gd name="T1" fmla="*/ 2147483647 h 49"/>
              <a:gd name="T2" fmla="*/ 2147483647 w 89"/>
              <a:gd name="T3" fmla="*/ 2147483647 h 49"/>
              <a:gd name="T4" fmla="*/ 2147483647 w 89"/>
              <a:gd name="T5" fmla="*/ 2147483647 h 49"/>
              <a:gd name="T6" fmla="*/ 2147483647 w 89"/>
              <a:gd name="T7" fmla="*/ 2147483647 h 49"/>
              <a:gd name="T8" fmla="*/ 2147483647 w 89"/>
              <a:gd name="T9" fmla="*/ 2147483647 h 49"/>
              <a:gd name="T10" fmla="*/ 2147483647 w 89"/>
              <a:gd name="T11" fmla="*/ 2147483647 h 49"/>
              <a:gd name="T12" fmla="*/ 2147483647 w 89"/>
              <a:gd name="T13" fmla="*/ 2147483647 h 49"/>
              <a:gd name="T14" fmla="*/ 2147483647 w 89"/>
              <a:gd name="T15" fmla="*/ 2147483647 h 49"/>
              <a:gd name="T16" fmla="*/ 2147483647 w 89"/>
              <a:gd name="T17" fmla="*/ 2147483647 h 49"/>
              <a:gd name="T18" fmla="*/ 2147483647 w 89"/>
              <a:gd name="T19" fmla="*/ 0 h 49"/>
              <a:gd name="T20" fmla="*/ 2147483647 w 89"/>
              <a:gd name="T21" fmla="*/ 2147483647 h 49"/>
              <a:gd name="T22" fmla="*/ 2147483647 w 89"/>
              <a:gd name="T23" fmla="*/ 2147483647 h 49"/>
              <a:gd name="T24" fmla="*/ 0 w 89"/>
              <a:gd name="T25" fmla="*/ 2147483647 h 49"/>
              <a:gd name="T26" fmla="*/ 0 w 89"/>
              <a:gd name="T27" fmla="*/ 2147483647 h 49"/>
              <a:gd name="T28" fmla="*/ 0 w 89"/>
              <a:gd name="T29" fmla="*/ 2147483647 h 49"/>
              <a:gd name="T30" fmla="*/ 2147483647 w 89"/>
              <a:gd name="T31" fmla="*/ 2147483647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FF0000"/>
          </a:solidFill>
          <a:ln w="9525" cap="flat" cmpd="sng">
            <a:solidFill>
              <a:srgbClr val="FFFFFF"/>
            </a:solidFill>
            <a:prstDash val="solid"/>
            <a:round/>
            <a:headEnd type="none" w="med" len="med"/>
            <a:tailEnd type="none" w="med" len="med"/>
          </a:ln>
        </p:spPr>
        <p:txBody>
          <a:bodyPr/>
          <a:lstStyle/>
          <a:p>
            <a:endParaRPr lang="en-AU"/>
          </a:p>
        </p:txBody>
      </p:sp>
      <p:sp>
        <p:nvSpPr>
          <p:cNvPr id="2273" name="Freeform 321"/>
          <p:cNvSpPr>
            <a:spLocks/>
          </p:cNvSpPr>
          <p:nvPr>
            <p:custDataLst>
              <p:tags r:id="rId224"/>
            </p:custDataLst>
          </p:nvPr>
        </p:nvSpPr>
        <p:spPr bwMode="auto">
          <a:xfrm>
            <a:off x="6996113" y="3916363"/>
            <a:ext cx="36512" cy="58737"/>
          </a:xfrm>
          <a:custGeom>
            <a:avLst/>
            <a:gdLst>
              <a:gd name="T0" fmla="*/ 0 w 86"/>
              <a:gd name="T1" fmla="*/ 2147483647 h 46"/>
              <a:gd name="T2" fmla="*/ 2147483647 w 86"/>
              <a:gd name="T3" fmla="*/ 2147483647 h 46"/>
              <a:gd name="T4" fmla="*/ 2147483647 w 86"/>
              <a:gd name="T5" fmla="*/ 2147483647 h 46"/>
              <a:gd name="T6" fmla="*/ 2147483647 w 86"/>
              <a:gd name="T7" fmla="*/ 2147483647 h 46"/>
              <a:gd name="T8" fmla="*/ 2147483647 w 86"/>
              <a:gd name="T9" fmla="*/ 2147483647 h 46"/>
              <a:gd name="T10" fmla="*/ 2147483647 w 86"/>
              <a:gd name="T11" fmla="*/ 2147483647 h 46"/>
              <a:gd name="T12" fmla="*/ 2147483647 w 86"/>
              <a:gd name="T13" fmla="*/ 2147483647 h 46"/>
              <a:gd name="T14" fmla="*/ 2147483647 w 86"/>
              <a:gd name="T15" fmla="*/ 2147483647 h 46"/>
              <a:gd name="T16" fmla="*/ 2147483647 w 86"/>
              <a:gd name="T17" fmla="*/ 2147483647 h 46"/>
              <a:gd name="T18" fmla="*/ 2147483647 w 86"/>
              <a:gd name="T19" fmla="*/ 2147483647 h 46"/>
              <a:gd name="T20" fmla="*/ 2147483647 w 86"/>
              <a:gd name="T21" fmla="*/ 2147483647 h 46"/>
              <a:gd name="T22" fmla="*/ 2147483647 w 86"/>
              <a:gd name="T23" fmla="*/ 2147483647 h 46"/>
              <a:gd name="T24" fmla="*/ 2147483647 w 86"/>
              <a:gd name="T25" fmla="*/ 2147483647 h 46"/>
              <a:gd name="T26" fmla="*/ 2147483647 w 86"/>
              <a:gd name="T27" fmla="*/ 2147483647 h 46"/>
              <a:gd name="T28" fmla="*/ 2147483647 w 86"/>
              <a:gd name="T29" fmla="*/ 2147483647 h 46"/>
              <a:gd name="T30" fmla="*/ 2147483647 w 86"/>
              <a:gd name="T31" fmla="*/ 2147483647 h 46"/>
              <a:gd name="T32" fmla="*/ 2147483647 w 86"/>
              <a:gd name="T33" fmla="*/ 2147483647 h 46"/>
              <a:gd name="T34" fmla="*/ 2147483647 w 86"/>
              <a:gd name="T35" fmla="*/ 2147483647 h 46"/>
              <a:gd name="T36" fmla="*/ 2147483647 w 86"/>
              <a:gd name="T37" fmla="*/ 2147483647 h 46"/>
              <a:gd name="T38" fmla="*/ 2147483647 w 86"/>
              <a:gd name="T39" fmla="*/ 2147483647 h 46"/>
              <a:gd name="T40" fmla="*/ 2147483647 w 86"/>
              <a:gd name="T41" fmla="*/ 2147483647 h 46"/>
              <a:gd name="T42" fmla="*/ 2147483647 w 86"/>
              <a:gd name="T43" fmla="*/ 0 h 46"/>
              <a:gd name="T44" fmla="*/ 2147483647 w 86"/>
              <a:gd name="T45" fmla="*/ 0 h 46"/>
              <a:gd name="T46" fmla="*/ 2147483647 w 86"/>
              <a:gd name="T47" fmla="*/ 2147483647 h 46"/>
              <a:gd name="T48" fmla="*/ 2147483647 w 86"/>
              <a:gd name="T49" fmla="*/ 2147483647 h 46"/>
              <a:gd name="T50" fmla="*/ 2147483647 w 86"/>
              <a:gd name="T51" fmla="*/ 2147483647 h 46"/>
              <a:gd name="T52" fmla="*/ 2147483647 w 86"/>
              <a:gd name="T53" fmla="*/ 2147483647 h 46"/>
              <a:gd name="T54" fmla="*/ 2147483647 w 86"/>
              <a:gd name="T55" fmla="*/ 2147483647 h 46"/>
              <a:gd name="T56" fmla="*/ 0 w 86"/>
              <a:gd name="T57" fmla="*/ 2147483647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FF0000"/>
          </a:solidFill>
          <a:ln w="9525" cap="flat" cmpd="sng">
            <a:solidFill>
              <a:srgbClr val="FFFFFF"/>
            </a:solidFill>
            <a:prstDash val="solid"/>
            <a:round/>
            <a:headEnd type="none" w="med" len="med"/>
            <a:tailEnd type="none" w="med" len="med"/>
          </a:ln>
        </p:spPr>
        <p:txBody>
          <a:bodyPr/>
          <a:lstStyle/>
          <a:p>
            <a:endParaRPr lang="en-AU"/>
          </a:p>
        </p:txBody>
      </p:sp>
      <p:sp>
        <p:nvSpPr>
          <p:cNvPr id="2274" name="Freeform 322"/>
          <p:cNvSpPr>
            <a:spLocks/>
          </p:cNvSpPr>
          <p:nvPr>
            <p:custDataLst>
              <p:tags r:id="rId225"/>
            </p:custDataLst>
          </p:nvPr>
        </p:nvSpPr>
        <p:spPr bwMode="auto">
          <a:xfrm>
            <a:off x="7048500" y="3921125"/>
            <a:ext cx="25400" cy="55563"/>
          </a:xfrm>
          <a:custGeom>
            <a:avLst/>
            <a:gdLst>
              <a:gd name="T0" fmla="*/ 0 w 59"/>
              <a:gd name="T1" fmla="*/ 0 h 18"/>
              <a:gd name="T2" fmla="*/ 0 w 59"/>
              <a:gd name="T3" fmla="*/ 2147483647 h 18"/>
              <a:gd name="T4" fmla="*/ 2147483647 w 59"/>
              <a:gd name="T5" fmla="*/ 2147483647 h 18"/>
              <a:gd name="T6" fmla="*/ 2147483647 w 59"/>
              <a:gd name="T7" fmla="*/ 2147483647 h 18"/>
              <a:gd name="T8" fmla="*/ 2147483647 w 59"/>
              <a:gd name="T9" fmla="*/ 2147483647 h 18"/>
              <a:gd name="T10" fmla="*/ 2147483647 w 59"/>
              <a:gd name="T11" fmla="*/ 2147483647 h 18"/>
              <a:gd name="T12" fmla="*/ 2147483647 w 59"/>
              <a:gd name="T13" fmla="*/ 2147483647 h 18"/>
              <a:gd name="T14" fmla="*/ 2147483647 w 59"/>
              <a:gd name="T15" fmla="*/ 2147483647 h 18"/>
              <a:gd name="T16" fmla="*/ 2147483647 w 59"/>
              <a:gd name="T17" fmla="*/ 2147483647 h 18"/>
              <a:gd name="T18" fmla="*/ 2147483647 w 59"/>
              <a:gd name="T19" fmla="*/ 2147483647 h 18"/>
              <a:gd name="T20" fmla="*/ 2147483647 w 59"/>
              <a:gd name="T21" fmla="*/ 21474836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FF0000"/>
          </a:solidFill>
          <a:ln w="9525" cap="flat" cmpd="sng">
            <a:solidFill>
              <a:srgbClr val="FFFFFF"/>
            </a:solidFill>
            <a:prstDash val="solid"/>
            <a:round/>
            <a:headEnd type="none" w="med" len="med"/>
            <a:tailEnd type="none" w="med" len="med"/>
          </a:ln>
        </p:spPr>
        <p:txBody>
          <a:bodyPr/>
          <a:lstStyle/>
          <a:p>
            <a:endParaRPr lang="en-AU"/>
          </a:p>
        </p:txBody>
      </p:sp>
      <p:sp>
        <p:nvSpPr>
          <p:cNvPr id="2275" name="Freeform 323"/>
          <p:cNvSpPr>
            <a:spLocks/>
          </p:cNvSpPr>
          <p:nvPr>
            <p:custDataLst>
              <p:tags r:id="rId226"/>
            </p:custDataLst>
          </p:nvPr>
        </p:nvSpPr>
        <p:spPr bwMode="auto">
          <a:xfrm>
            <a:off x="7121525" y="3913188"/>
            <a:ext cx="1588" cy="55562"/>
          </a:xfrm>
          <a:custGeom>
            <a:avLst/>
            <a:gdLst>
              <a:gd name="T0" fmla="*/ 2147483647 w 4"/>
              <a:gd name="T1" fmla="*/ 2147483647 h 19"/>
              <a:gd name="T2" fmla="*/ 2147483647 w 4"/>
              <a:gd name="T3" fmla="*/ 0 h 19"/>
              <a:gd name="T4" fmla="*/ 2147483647 w 4"/>
              <a:gd name="T5" fmla="*/ 2147483647 h 19"/>
              <a:gd name="T6" fmla="*/ 2147483647 w 4"/>
              <a:gd name="T7" fmla="*/ 2147483647 h 19"/>
              <a:gd name="T8" fmla="*/ 0 w 4"/>
              <a:gd name="T9" fmla="*/ 2147483647 h 19"/>
              <a:gd name="T10" fmla="*/ 0 w 4"/>
              <a:gd name="T11" fmla="*/ 2147483647 h 19"/>
              <a:gd name="T12" fmla="*/ 0 w 4"/>
              <a:gd name="T13" fmla="*/ 2147483647 h 19"/>
              <a:gd name="T14" fmla="*/ 2147483647 w 4"/>
              <a:gd name="T15" fmla="*/ 2147483647 h 19"/>
              <a:gd name="T16" fmla="*/ 2147483647 w 4"/>
              <a:gd name="T17" fmla="*/ 2147483647 h 19"/>
              <a:gd name="T18" fmla="*/ 2147483647 w 4"/>
              <a:gd name="T19" fmla="*/ 2147483647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276" name="Freeform 324"/>
          <p:cNvSpPr>
            <a:spLocks/>
          </p:cNvSpPr>
          <p:nvPr>
            <p:custDataLst>
              <p:tags r:id="rId227"/>
            </p:custDataLst>
          </p:nvPr>
        </p:nvSpPr>
        <p:spPr bwMode="auto">
          <a:xfrm>
            <a:off x="6696075" y="3727450"/>
            <a:ext cx="20638" cy="58738"/>
          </a:xfrm>
          <a:custGeom>
            <a:avLst/>
            <a:gdLst>
              <a:gd name="T0" fmla="*/ 0 w 46"/>
              <a:gd name="T1" fmla="*/ 2147483647 h 50"/>
              <a:gd name="T2" fmla="*/ 2147483647 w 46"/>
              <a:gd name="T3" fmla="*/ 0 h 50"/>
              <a:gd name="T4" fmla="*/ 2147483647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2147483647 h 50"/>
              <a:gd name="T16" fmla="*/ 2147483647 w 46"/>
              <a:gd name="T17" fmla="*/ 2147483647 h 50"/>
              <a:gd name="T18" fmla="*/ 2147483647 w 46"/>
              <a:gd name="T19" fmla="*/ 2147483647 h 50"/>
              <a:gd name="T20" fmla="*/ 2147483647 w 46"/>
              <a:gd name="T21" fmla="*/ 2147483647 h 50"/>
              <a:gd name="T22" fmla="*/ 0 w 46"/>
              <a:gd name="T23" fmla="*/ 2147483647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277" name="Freeform 325"/>
          <p:cNvSpPr>
            <a:spLocks/>
          </p:cNvSpPr>
          <p:nvPr>
            <p:custDataLst>
              <p:tags r:id="rId228"/>
            </p:custDataLst>
          </p:nvPr>
        </p:nvSpPr>
        <p:spPr bwMode="auto">
          <a:xfrm>
            <a:off x="6642100" y="3700463"/>
            <a:ext cx="30163" cy="58737"/>
          </a:xfrm>
          <a:custGeom>
            <a:avLst/>
            <a:gdLst>
              <a:gd name="T0" fmla="*/ 0 w 66"/>
              <a:gd name="T1" fmla="*/ 0 h 80"/>
              <a:gd name="T2" fmla="*/ 2147483647 w 66"/>
              <a:gd name="T3" fmla="*/ 0 h 80"/>
              <a:gd name="T4" fmla="*/ 2147483647 w 66"/>
              <a:gd name="T5" fmla="*/ 0 h 80"/>
              <a:gd name="T6" fmla="*/ 2147483647 w 66"/>
              <a:gd name="T7" fmla="*/ 0 h 80"/>
              <a:gd name="T8" fmla="*/ 2147483647 w 66"/>
              <a:gd name="T9" fmla="*/ 0 h 80"/>
              <a:gd name="T10" fmla="*/ 2147483647 w 66"/>
              <a:gd name="T11" fmla="*/ 2147483647 h 80"/>
              <a:gd name="T12" fmla="*/ 2147483647 w 66"/>
              <a:gd name="T13" fmla="*/ 2147483647 h 80"/>
              <a:gd name="T14" fmla="*/ 2147483647 w 66"/>
              <a:gd name="T15" fmla="*/ 2147483647 h 80"/>
              <a:gd name="T16" fmla="*/ 2147483647 w 66"/>
              <a:gd name="T17" fmla="*/ 2147483647 h 80"/>
              <a:gd name="T18" fmla="*/ 2147483647 w 66"/>
              <a:gd name="T19" fmla="*/ 2147483647 h 80"/>
              <a:gd name="T20" fmla="*/ 2147483647 w 66"/>
              <a:gd name="T21" fmla="*/ 2147483647 h 80"/>
              <a:gd name="T22" fmla="*/ 2147483647 w 66"/>
              <a:gd name="T23" fmla="*/ 2147483647 h 80"/>
              <a:gd name="T24" fmla="*/ 2147483647 w 66"/>
              <a:gd name="T25" fmla="*/ 2147483647 h 80"/>
              <a:gd name="T26" fmla="*/ 2147483647 w 66"/>
              <a:gd name="T27" fmla="*/ 2147483647 h 80"/>
              <a:gd name="T28" fmla="*/ 2147483647 w 66"/>
              <a:gd name="T29" fmla="*/ 2147483647 h 80"/>
              <a:gd name="T30" fmla="*/ 2147483647 w 66"/>
              <a:gd name="T31" fmla="*/ 2147483647 h 80"/>
              <a:gd name="T32" fmla="*/ 2147483647 w 66"/>
              <a:gd name="T33" fmla="*/ 2147483647 h 80"/>
              <a:gd name="T34" fmla="*/ 0 w 66"/>
              <a:gd name="T35" fmla="*/ 2147483647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278" name="Freeform 326"/>
          <p:cNvSpPr>
            <a:spLocks/>
          </p:cNvSpPr>
          <p:nvPr>
            <p:custDataLst>
              <p:tags r:id="rId229"/>
            </p:custDataLst>
          </p:nvPr>
        </p:nvSpPr>
        <p:spPr bwMode="auto">
          <a:xfrm>
            <a:off x="6477000" y="3684588"/>
            <a:ext cx="7938" cy="57150"/>
          </a:xfrm>
          <a:custGeom>
            <a:avLst/>
            <a:gdLst>
              <a:gd name="T0" fmla="*/ 2147483647 w 20"/>
              <a:gd name="T1" fmla="*/ 2147483647 h 48"/>
              <a:gd name="T2" fmla="*/ 2147483647 w 20"/>
              <a:gd name="T3" fmla="*/ 2147483647 h 48"/>
              <a:gd name="T4" fmla="*/ 2147483647 w 20"/>
              <a:gd name="T5" fmla="*/ 2147483647 h 48"/>
              <a:gd name="T6" fmla="*/ 2147483647 w 20"/>
              <a:gd name="T7" fmla="*/ 2147483647 h 48"/>
              <a:gd name="T8" fmla="*/ 2147483647 w 20"/>
              <a:gd name="T9" fmla="*/ 2147483647 h 48"/>
              <a:gd name="T10" fmla="*/ 2147483647 w 20"/>
              <a:gd name="T11" fmla="*/ 2147483647 h 48"/>
              <a:gd name="T12" fmla="*/ 2147483647 w 20"/>
              <a:gd name="T13" fmla="*/ 2147483647 h 48"/>
              <a:gd name="T14" fmla="*/ 2147483647 w 20"/>
              <a:gd name="T15" fmla="*/ 2147483647 h 48"/>
              <a:gd name="T16" fmla="*/ 0 w 20"/>
              <a:gd name="T17" fmla="*/ 0 h 48"/>
              <a:gd name="T18" fmla="*/ 0 w 20"/>
              <a:gd name="T19" fmla="*/ 2147483647 h 48"/>
              <a:gd name="T20" fmla="*/ 2147483647 w 20"/>
              <a:gd name="T21" fmla="*/ 2147483647 h 48"/>
              <a:gd name="T22" fmla="*/ 2147483647 w 20"/>
              <a:gd name="T23" fmla="*/ 2147483647 h 48"/>
              <a:gd name="T24" fmla="*/ 2147483647 w 20"/>
              <a:gd name="T25" fmla="*/ 2147483647 h 48"/>
              <a:gd name="T26" fmla="*/ 2147483647 w 20"/>
              <a:gd name="T27" fmla="*/ 2147483647 h 48"/>
              <a:gd name="T28" fmla="*/ 2147483647 w 20"/>
              <a:gd name="T29" fmla="*/ 2147483647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279" name="Line 327" descr="Horizontal dunkel"/>
          <p:cNvSpPr>
            <a:spLocks noChangeShapeType="1"/>
          </p:cNvSpPr>
          <p:nvPr>
            <p:custDataLst>
              <p:tags r:id="rId230"/>
            </p:custDataLst>
          </p:nvPr>
        </p:nvSpPr>
        <p:spPr bwMode="auto">
          <a:xfrm>
            <a:off x="6502400" y="3721100"/>
            <a:ext cx="4763" cy="6350"/>
          </a:xfrm>
          <a:prstGeom prst="line">
            <a:avLst/>
          </a:prstGeom>
          <a:noFill/>
          <a:ln w="9525">
            <a:solidFill>
              <a:srgbClr val="FFFFFF"/>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280" name="Freeform 328"/>
          <p:cNvSpPr>
            <a:spLocks/>
          </p:cNvSpPr>
          <p:nvPr>
            <p:custDataLst>
              <p:tags r:id="rId231"/>
            </p:custDataLst>
          </p:nvPr>
        </p:nvSpPr>
        <p:spPr bwMode="auto">
          <a:xfrm>
            <a:off x="6499225" y="3721100"/>
            <a:ext cx="7938" cy="57150"/>
          </a:xfrm>
          <a:custGeom>
            <a:avLst/>
            <a:gdLst>
              <a:gd name="T0" fmla="*/ 2147483647 w 20"/>
              <a:gd name="T1" fmla="*/ 2147483647 h 12"/>
              <a:gd name="T2" fmla="*/ 2147483647 w 20"/>
              <a:gd name="T3" fmla="*/ 2147483647 h 12"/>
              <a:gd name="T4" fmla="*/ 2147483647 w 20"/>
              <a:gd name="T5" fmla="*/ 2147483647 h 12"/>
              <a:gd name="T6" fmla="*/ 2147483647 w 20"/>
              <a:gd name="T7" fmla="*/ 2147483647 h 12"/>
              <a:gd name="T8" fmla="*/ 2147483647 w 20"/>
              <a:gd name="T9" fmla="*/ 2147483647 h 12"/>
              <a:gd name="T10" fmla="*/ 2147483647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281" name="Freeform 329"/>
          <p:cNvSpPr>
            <a:spLocks/>
          </p:cNvSpPr>
          <p:nvPr>
            <p:custDataLst>
              <p:tags r:id="rId232"/>
            </p:custDataLst>
          </p:nvPr>
        </p:nvSpPr>
        <p:spPr bwMode="auto">
          <a:xfrm>
            <a:off x="6400800" y="3565525"/>
            <a:ext cx="22225" cy="57150"/>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282" name="Freeform 330"/>
          <p:cNvSpPr>
            <a:spLocks/>
          </p:cNvSpPr>
          <p:nvPr>
            <p:custDataLst>
              <p:tags r:id="rId233"/>
            </p:custDataLst>
          </p:nvPr>
        </p:nvSpPr>
        <p:spPr bwMode="auto">
          <a:xfrm>
            <a:off x="6929438" y="3929063"/>
            <a:ext cx="11112" cy="57150"/>
          </a:xfrm>
          <a:custGeom>
            <a:avLst/>
            <a:gdLst>
              <a:gd name="T0" fmla="*/ 0 w 33"/>
              <a:gd name="T1" fmla="*/ 2147483647 h 31"/>
              <a:gd name="T2" fmla="*/ 2147483647 w 33"/>
              <a:gd name="T3" fmla="*/ 2147483647 h 31"/>
              <a:gd name="T4" fmla="*/ 2147483647 w 33"/>
              <a:gd name="T5" fmla="*/ 2147483647 h 31"/>
              <a:gd name="T6" fmla="*/ 2147483647 w 33"/>
              <a:gd name="T7" fmla="*/ 2147483647 h 31"/>
              <a:gd name="T8" fmla="*/ 2147483647 w 33"/>
              <a:gd name="T9" fmla="*/ 2147483647 h 31"/>
              <a:gd name="T10" fmla="*/ 2147483647 w 33"/>
              <a:gd name="T11" fmla="*/ 0 h 31"/>
              <a:gd name="T12" fmla="*/ 2147483647 w 33"/>
              <a:gd name="T13" fmla="*/ 0 h 31"/>
              <a:gd name="T14" fmla="*/ 2147483647 w 33"/>
              <a:gd name="T15" fmla="*/ 0 h 31"/>
              <a:gd name="T16" fmla="*/ 2147483647 w 33"/>
              <a:gd name="T17" fmla="*/ 0 h 31"/>
              <a:gd name="T18" fmla="*/ 0 w 33"/>
              <a:gd name="T19" fmla="*/ 0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283" name="Freeform 331"/>
          <p:cNvSpPr>
            <a:spLocks/>
          </p:cNvSpPr>
          <p:nvPr>
            <p:custDataLst>
              <p:tags r:id="rId234"/>
            </p:custDataLst>
          </p:nvPr>
        </p:nvSpPr>
        <p:spPr bwMode="auto">
          <a:xfrm>
            <a:off x="7445375" y="3886200"/>
            <a:ext cx="28575" cy="55563"/>
          </a:xfrm>
          <a:custGeom>
            <a:avLst/>
            <a:gdLst>
              <a:gd name="T0" fmla="*/ 2147483647 w 65"/>
              <a:gd name="T1" fmla="*/ 2147483647 h 68"/>
              <a:gd name="T2" fmla="*/ 2147483647 w 65"/>
              <a:gd name="T3" fmla="*/ 2147483647 h 68"/>
              <a:gd name="T4" fmla="*/ 2147483647 w 65"/>
              <a:gd name="T5" fmla="*/ 2147483647 h 68"/>
              <a:gd name="T6" fmla="*/ 2147483647 w 65"/>
              <a:gd name="T7" fmla="*/ 2147483647 h 68"/>
              <a:gd name="T8" fmla="*/ 2147483647 w 65"/>
              <a:gd name="T9" fmla="*/ 2147483647 h 68"/>
              <a:gd name="T10" fmla="*/ 2147483647 w 65"/>
              <a:gd name="T11" fmla="*/ 2147483647 h 68"/>
              <a:gd name="T12" fmla="*/ 2147483647 w 65"/>
              <a:gd name="T13" fmla="*/ 2147483647 h 68"/>
              <a:gd name="T14" fmla="*/ 0 w 65"/>
              <a:gd name="T15" fmla="*/ 2147483647 h 68"/>
              <a:gd name="T16" fmla="*/ 0 w 65"/>
              <a:gd name="T17" fmla="*/ 2147483647 h 68"/>
              <a:gd name="T18" fmla="*/ 0 w 65"/>
              <a:gd name="T19" fmla="*/ 2147483647 h 68"/>
              <a:gd name="T20" fmla="*/ 2147483647 w 65"/>
              <a:gd name="T21" fmla="*/ 2147483647 h 68"/>
              <a:gd name="T22" fmla="*/ 2147483647 w 65"/>
              <a:gd name="T23" fmla="*/ 2147483647 h 68"/>
              <a:gd name="T24" fmla="*/ 2147483647 w 65"/>
              <a:gd name="T25" fmla="*/ 2147483647 h 68"/>
              <a:gd name="T26" fmla="*/ 2147483647 w 65"/>
              <a:gd name="T27" fmla="*/ 2147483647 h 68"/>
              <a:gd name="T28" fmla="*/ 2147483647 w 65"/>
              <a:gd name="T29" fmla="*/ 2147483647 h 68"/>
              <a:gd name="T30" fmla="*/ 2147483647 w 65"/>
              <a:gd name="T31" fmla="*/ 2147483647 h 68"/>
              <a:gd name="T32" fmla="*/ 2147483647 w 65"/>
              <a:gd name="T33" fmla="*/ 0 h 68"/>
              <a:gd name="T34" fmla="*/ 2147483647 w 65"/>
              <a:gd name="T35" fmla="*/ 0 h 68"/>
              <a:gd name="T36" fmla="*/ 2147483647 w 65"/>
              <a:gd name="T37" fmla="*/ 0 h 68"/>
              <a:gd name="T38" fmla="*/ 2147483647 w 65"/>
              <a:gd name="T39" fmla="*/ 2147483647 h 68"/>
              <a:gd name="T40" fmla="*/ 2147483647 w 65"/>
              <a:gd name="T41" fmla="*/ 2147483647 h 68"/>
              <a:gd name="T42" fmla="*/ 2147483647 w 65"/>
              <a:gd name="T43" fmla="*/ 2147483647 h 68"/>
              <a:gd name="T44" fmla="*/ 2147483647 w 65"/>
              <a:gd name="T45" fmla="*/ 2147483647 h 68"/>
              <a:gd name="T46" fmla="*/ 2147483647 w 65"/>
              <a:gd name="T47" fmla="*/ 2147483647 h 68"/>
              <a:gd name="T48" fmla="*/ 2147483647 w 65"/>
              <a:gd name="T49" fmla="*/ 2147483647 h 68"/>
              <a:gd name="T50" fmla="*/ 2147483647 w 65"/>
              <a:gd name="T51" fmla="*/ 2147483647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284" name="Freeform 332"/>
          <p:cNvSpPr>
            <a:spLocks/>
          </p:cNvSpPr>
          <p:nvPr>
            <p:custDataLst>
              <p:tags r:id="rId235"/>
            </p:custDataLst>
          </p:nvPr>
        </p:nvSpPr>
        <p:spPr bwMode="auto">
          <a:xfrm>
            <a:off x="6383338" y="3468688"/>
            <a:ext cx="274637" cy="368300"/>
          </a:xfrm>
          <a:custGeom>
            <a:avLst/>
            <a:gdLst>
              <a:gd name="T0" fmla="*/ 2147483647 w 625"/>
              <a:gd name="T1" fmla="*/ 2147483647 h 694"/>
              <a:gd name="T2" fmla="*/ 2147483647 w 625"/>
              <a:gd name="T3" fmla="*/ 2147483647 h 694"/>
              <a:gd name="T4" fmla="*/ 2147483647 w 625"/>
              <a:gd name="T5" fmla="*/ 2147483647 h 694"/>
              <a:gd name="T6" fmla="*/ 2147483647 w 625"/>
              <a:gd name="T7" fmla="*/ 2147483647 h 694"/>
              <a:gd name="T8" fmla="*/ 2147483647 w 625"/>
              <a:gd name="T9" fmla="*/ 2147483647 h 694"/>
              <a:gd name="T10" fmla="*/ 2147483647 w 625"/>
              <a:gd name="T11" fmla="*/ 2147483647 h 694"/>
              <a:gd name="T12" fmla="*/ 2147483647 w 625"/>
              <a:gd name="T13" fmla="*/ 2147483647 h 694"/>
              <a:gd name="T14" fmla="*/ 2147483647 w 625"/>
              <a:gd name="T15" fmla="*/ 2147483647 h 694"/>
              <a:gd name="T16" fmla="*/ 2147483647 w 625"/>
              <a:gd name="T17" fmla="*/ 2147483647 h 694"/>
              <a:gd name="T18" fmla="*/ 2147483647 w 625"/>
              <a:gd name="T19" fmla="*/ 2147483647 h 694"/>
              <a:gd name="T20" fmla="*/ 2147483647 w 625"/>
              <a:gd name="T21" fmla="*/ 2147483647 h 694"/>
              <a:gd name="T22" fmla="*/ 2147483647 w 625"/>
              <a:gd name="T23" fmla="*/ 2147483647 h 694"/>
              <a:gd name="T24" fmla="*/ 2147483647 w 625"/>
              <a:gd name="T25" fmla="*/ 2147483647 h 694"/>
              <a:gd name="T26" fmla="*/ 2147483647 w 625"/>
              <a:gd name="T27" fmla="*/ 2147483647 h 694"/>
              <a:gd name="T28" fmla="*/ 2147483647 w 625"/>
              <a:gd name="T29" fmla="*/ 2147483647 h 694"/>
              <a:gd name="T30" fmla="*/ 2147483647 w 625"/>
              <a:gd name="T31" fmla="*/ 2147483647 h 694"/>
              <a:gd name="T32" fmla="*/ 2147483647 w 625"/>
              <a:gd name="T33" fmla="*/ 2147483647 h 694"/>
              <a:gd name="T34" fmla="*/ 2147483647 w 625"/>
              <a:gd name="T35" fmla="*/ 2147483647 h 694"/>
              <a:gd name="T36" fmla="*/ 2147483647 w 625"/>
              <a:gd name="T37" fmla="*/ 2147483647 h 694"/>
              <a:gd name="T38" fmla="*/ 2147483647 w 625"/>
              <a:gd name="T39" fmla="*/ 2147483647 h 694"/>
              <a:gd name="T40" fmla="*/ 2147483647 w 625"/>
              <a:gd name="T41" fmla="*/ 2147483647 h 694"/>
              <a:gd name="T42" fmla="*/ 2147483647 w 625"/>
              <a:gd name="T43" fmla="*/ 2147483647 h 694"/>
              <a:gd name="T44" fmla="*/ 2147483647 w 625"/>
              <a:gd name="T45" fmla="*/ 2147483647 h 694"/>
              <a:gd name="T46" fmla="*/ 2147483647 w 625"/>
              <a:gd name="T47" fmla="*/ 2147483647 h 694"/>
              <a:gd name="T48" fmla="*/ 2147483647 w 625"/>
              <a:gd name="T49" fmla="*/ 2147483647 h 694"/>
              <a:gd name="T50" fmla="*/ 2147483647 w 625"/>
              <a:gd name="T51" fmla="*/ 2147483647 h 694"/>
              <a:gd name="T52" fmla="*/ 2147483647 w 625"/>
              <a:gd name="T53" fmla="*/ 2147483647 h 694"/>
              <a:gd name="T54" fmla="*/ 2147483647 w 625"/>
              <a:gd name="T55" fmla="*/ 2147483647 h 694"/>
              <a:gd name="T56" fmla="*/ 2147483647 w 625"/>
              <a:gd name="T57" fmla="*/ 2147483647 h 694"/>
              <a:gd name="T58" fmla="*/ 2147483647 w 625"/>
              <a:gd name="T59" fmla="*/ 2147483647 h 694"/>
              <a:gd name="T60" fmla="*/ 2147483647 w 625"/>
              <a:gd name="T61" fmla="*/ 2147483647 h 694"/>
              <a:gd name="T62" fmla="*/ 2147483647 w 625"/>
              <a:gd name="T63" fmla="*/ 2147483647 h 694"/>
              <a:gd name="T64" fmla="*/ 2147483647 w 625"/>
              <a:gd name="T65" fmla="*/ 2147483647 h 694"/>
              <a:gd name="T66" fmla="*/ 2147483647 w 625"/>
              <a:gd name="T67" fmla="*/ 2147483647 h 694"/>
              <a:gd name="T68" fmla="*/ 2147483647 w 625"/>
              <a:gd name="T69" fmla="*/ 2147483647 h 694"/>
              <a:gd name="T70" fmla="*/ 2147483647 w 625"/>
              <a:gd name="T71" fmla="*/ 2147483647 h 694"/>
              <a:gd name="T72" fmla="*/ 2147483647 w 625"/>
              <a:gd name="T73" fmla="*/ 2147483647 h 694"/>
              <a:gd name="T74" fmla="*/ 2147483647 w 625"/>
              <a:gd name="T75" fmla="*/ 2147483647 h 694"/>
              <a:gd name="T76" fmla="*/ 2147483647 w 625"/>
              <a:gd name="T77" fmla="*/ 2147483647 h 694"/>
              <a:gd name="T78" fmla="*/ 2147483647 w 625"/>
              <a:gd name="T79" fmla="*/ 2147483647 h 694"/>
              <a:gd name="T80" fmla="*/ 2147483647 w 625"/>
              <a:gd name="T81" fmla="*/ 2147483647 h 694"/>
              <a:gd name="T82" fmla="*/ 2147483647 w 625"/>
              <a:gd name="T83" fmla="*/ 2147483647 h 694"/>
              <a:gd name="T84" fmla="*/ 2147483647 w 625"/>
              <a:gd name="T85" fmla="*/ 2147483647 h 694"/>
              <a:gd name="T86" fmla="*/ 2147483647 w 625"/>
              <a:gd name="T87" fmla="*/ 2147483647 h 694"/>
              <a:gd name="T88" fmla="*/ 2147483647 w 625"/>
              <a:gd name="T89" fmla="*/ 2147483647 h 694"/>
              <a:gd name="T90" fmla="*/ 2147483647 w 625"/>
              <a:gd name="T91" fmla="*/ 2147483647 h 694"/>
              <a:gd name="T92" fmla="*/ 2147483647 w 625"/>
              <a:gd name="T93" fmla="*/ 2147483647 h 694"/>
              <a:gd name="T94" fmla="*/ 2147483647 w 625"/>
              <a:gd name="T95" fmla="*/ 2147483647 h 694"/>
              <a:gd name="T96" fmla="*/ 2147483647 w 625"/>
              <a:gd name="T97" fmla="*/ 2147483647 h 694"/>
              <a:gd name="T98" fmla="*/ 2147483647 w 625"/>
              <a:gd name="T99" fmla="*/ 2147483647 h 694"/>
              <a:gd name="T100" fmla="*/ 2147483647 w 625"/>
              <a:gd name="T101" fmla="*/ 2147483647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FF0000"/>
          </a:solidFill>
          <a:ln w="9525" cap="flat" cmpd="sng">
            <a:solidFill>
              <a:srgbClr val="FFFFFF"/>
            </a:solidFill>
            <a:prstDash val="solid"/>
            <a:round/>
            <a:headEnd type="none" w="med" len="med"/>
            <a:tailEnd type="none" w="med" len="med"/>
          </a:ln>
        </p:spPr>
        <p:txBody>
          <a:bodyPr/>
          <a:lstStyle/>
          <a:p>
            <a:endParaRPr lang="en-AU"/>
          </a:p>
        </p:txBody>
      </p:sp>
      <p:sp>
        <p:nvSpPr>
          <p:cNvPr id="2285" name="Freeform 333"/>
          <p:cNvSpPr>
            <a:spLocks/>
          </p:cNvSpPr>
          <p:nvPr>
            <p:custDataLst>
              <p:tags r:id="rId236"/>
            </p:custDataLst>
          </p:nvPr>
        </p:nvSpPr>
        <p:spPr bwMode="auto">
          <a:xfrm>
            <a:off x="6724650" y="3517900"/>
            <a:ext cx="254000" cy="257175"/>
          </a:xfrm>
          <a:custGeom>
            <a:avLst/>
            <a:gdLst>
              <a:gd name="T0" fmla="*/ 2147483647 w 585"/>
              <a:gd name="T1" fmla="*/ 2147483647 h 493"/>
              <a:gd name="T2" fmla="*/ 2147483647 w 585"/>
              <a:gd name="T3" fmla="*/ 2147483647 h 493"/>
              <a:gd name="T4" fmla="*/ 2147483647 w 585"/>
              <a:gd name="T5" fmla="*/ 2147483647 h 493"/>
              <a:gd name="T6" fmla="*/ 2147483647 w 585"/>
              <a:gd name="T7" fmla="*/ 2147483647 h 493"/>
              <a:gd name="T8" fmla="*/ 2147483647 w 585"/>
              <a:gd name="T9" fmla="*/ 2147483647 h 493"/>
              <a:gd name="T10" fmla="*/ 2147483647 w 585"/>
              <a:gd name="T11" fmla="*/ 2147483647 h 493"/>
              <a:gd name="T12" fmla="*/ 2147483647 w 585"/>
              <a:gd name="T13" fmla="*/ 2147483647 h 493"/>
              <a:gd name="T14" fmla="*/ 2147483647 w 585"/>
              <a:gd name="T15" fmla="*/ 2147483647 h 493"/>
              <a:gd name="T16" fmla="*/ 2147483647 w 585"/>
              <a:gd name="T17" fmla="*/ 2147483647 h 493"/>
              <a:gd name="T18" fmla="*/ 2147483647 w 585"/>
              <a:gd name="T19" fmla="*/ 2147483647 h 493"/>
              <a:gd name="T20" fmla="*/ 2147483647 w 585"/>
              <a:gd name="T21" fmla="*/ 2147483647 h 493"/>
              <a:gd name="T22" fmla="*/ 2147483647 w 585"/>
              <a:gd name="T23" fmla="*/ 2147483647 h 493"/>
              <a:gd name="T24" fmla="*/ 2147483647 w 585"/>
              <a:gd name="T25" fmla="*/ 2147483647 h 493"/>
              <a:gd name="T26" fmla="*/ 2147483647 w 585"/>
              <a:gd name="T27" fmla="*/ 2147483647 h 493"/>
              <a:gd name="T28" fmla="*/ 2147483647 w 585"/>
              <a:gd name="T29" fmla="*/ 2147483647 h 493"/>
              <a:gd name="T30" fmla="*/ 2147483647 w 585"/>
              <a:gd name="T31" fmla="*/ 2147483647 h 493"/>
              <a:gd name="T32" fmla="*/ 2147483647 w 585"/>
              <a:gd name="T33" fmla="*/ 2147483647 h 493"/>
              <a:gd name="T34" fmla="*/ 2147483647 w 585"/>
              <a:gd name="T35" fmla="*/ 2147483647 h 493"/>
              <a:gd name="T36" fmla="*/ 2147483647 w 585"/>
              <a:gd name="T37" fmla="*/ 2147483647 h 493"/>
              <a:gd name="T38" fmla="*/ 2147483647 w 585"/>
              <a:gd name="T39" fmla="*/ 2147483647 h 493"/>
              <a:gd name="T40" fmla="*/ 2147483647 w 585"/>
              <a:gd name="T41" fmla="*/ 2147483647 h 493"/>
              <a:gd name="T42" fmla="*/ 2147483647 w 585"/>
              <a:gd name="T43" fmla="*/ 2147483647 h 493"/>
              <a:gd name="T44" fmla="*/ 2147483647 w 585"/>
              <a:gd name="T45" fmla="*/ 2147483647 h 493"/>
              <a:gd name="T46" fmla="*/ 2147483647 w 585"/>
              <a:gd name="T47" fmla="*/ 2147483647 h 493"/>
              <a:gd name="T48" fmla="*/ 2147483647 w 585"/>
              <a:gd name="T49" fmla="*/ 2147483647 h 493"/>
              <a:gd name="T50" fmla="*/ 2147483647 w 585"/>
              <a:gd name="T51" fmla="*/ 2147483647 h 493"/>
              <a:gd name="T52" fmla="*/ 2147483647 w 585"/>
              <a:gd name="T53" fmla="*/ 2147483647 h 493"/>
              <a:gd name="T54" fmla="*/ 2147483647 w 585"/>
              <a:gd name="T55" fmla="*/ 2147483647 h 493"/>
              <a:gd name="T56" fmla="*/ 2147483647 w 585"/>
              <a:gd name="T57" fmla="*/ 2147483647 h 493"/>
              <a:gd name="T58" fmla="*/ 2147483647 w 585"/>
              <a:gd name="T59" fmla="*/ 2147483647 h 493"/>
              <a:gd name="T60" fmla="*/ 2147483647 w 585"/>
              <a:gd name="T61" fmla="*/ 2147483647 h 493"/>
              <a:gd name="T62" fmla="*/ 2147483647 w 585"/>
              <a:gd name="T63" fmla="*/ 2147483647 h 493"/>
              <a:gd name="T64" fmla="*/ 2147483647 w 585"/>
              <a:gd name="T65" fmla="*/ 2147483647 h 493"/>
              <a:gd name="T66" fmla="*/ 2147483647 w 585"/>
              <a:gd name="T67" fmla="*/ 2147483647 h 493"/>
              <a:gd name="T68" fmla="*/ 2147483647 w 585"/>
              <a:gd name="T69" fmla="*/ 2147483647 h 493"/>
              <a:gd name="T70" fmla="*/ 2147483647 w 585"/>
              <a:gd name="T71" fmla="*/ 2147483647 h 493"/>
              <a:gd name="T72" fmla="*/ 2147483647 w 585"/>
              <a:gd name="T73" fmla="*/ 2147483647 h 493"/>
              <a:gd name="T74" fmla="*/ 2147483647 w 585"/>
              <a:gd name="T75" fmla="*/ 2147483647 h 493"/>
              <a:gd name="T76" fmla="*/ 2147483647 w 585"/>
              <a:gd name="T77" fmla="*/ 2147483647 h 493"/>
              <a:gd name="T78" fmla="*/ 2147483647 w 585"/>
              <a:gd name="T79" fmla="*/ 2147483647 h 493"/>
              <a:gd name="T80" fmla="*/ 2147483647 w 585"/>
              <a:gd name="T81" fmla="*/ 2147483647 h 493"/>
              <a:gd name="T82" fmla="*/ 2147483647 w 585"/>
              <a:gd name="T83" fmla="*/ 2147483647 h 493"/>
              <a:gd name="T84" fmla="*/ 2147483647 w 585"/>
              <a:gd name="T85" fmla="*/ 2147483647 h 493"/>
              <a:gd name="T86" fmla="*/ 2147483647 w 585"/>
              <a:gd name="T87" fmla="*/ 2147483647 h 493"/>
              <a:gd name="T88" fmla="*/ 2147483647 w 585"/>
              <a:gd name="T89" fmla="*/ 2147483647 h 493"/>
              <a:gd name="T90" fmla="*/ 2147483647 w 585"/>
              <a:gd name="T91" fmla="*/ 2147483647 h 493"/>
              <a:gd name="T92" fmla="*/ 2147483647 w 585"/>
              <a:gd name="T93" fmla="*/ 2147483647 h 493"/>
              <a:gd name="T94" fmla="*/ 2147483647 w 585"/>
              <a:gd name="T95" fmla="*/ 2147483647 h 493"/>
              <a:gd name="T96" fmla="*/ 2147483647 w 585"/>
              <a:gd name="T97" fmla="*/ 2147483647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FF0000"/>
          </a:solidFill>
          <a:ln w="9525" cap="flat" cmpd="sng">
            <a:solidFill>
              <a:srgbClr val="FFFFFF"/>
            </a:solidFill>
            <a:prstDash val="solid"/>
            <a:round/>
            <a:headEnd type="none" w="med" len="med"/>
            <a:tailEnd type="none" w="med" len="med"/>
          </a:ln>
        </p:spPr>
        <p:txBody>
          <a:bodyPr/>
          <a:lstStyle/>
          <a:p>
            <a:endParaRPr lang="en-AU"/>
          </a:p>
        </p:txBody>
      </p:sp>
      <p:sp>
        <p:nvSpPr>
          <p:cNvPr id="2286" name="Freeform 334"/>
          <p:cNvSpPr>
            <a:spLocks/>
          </p:cNvSpPr>
          <p:nvPr>
            <p:custDataLst>
              <p:tags r:id="rId237"/>
            </p:custDataLst>
          </p:nvPr>
        </p:nvSpPr>
        <p:spPr bwMode="auto">
          <a:xfrm>
            <a:off x="7080250" y="3924300"/>
            <a:ext cx="92075" cy="57150"/>
          </a:xfrm>
          <a:custGeom>
            <a:avLst/>
            <a:gdLst>
              <a:gd name="T0" fmla="*/ 0 w 212"/>
              <a:gd name="T1" fmla="*/ 2147483647 h 105"/>
              <a:gd name="T2" fmla="*/ 2147483647 w 212"/>
              <a:gd name="T3" fmla="*/ 2147483647 h 105"/>
              <a:gd name="T4" fmla="*/ 2147483647 w 212"/>
              <a:gd name="T5" fmla="*/ 2147483647 h 105"/>
              <a:gd name="T6" fmla="*/ 2147483647 w 212"/>
              <a:gd name="T7" fmla="*/ 2147483647 h 105"/>
              <a:gd name="T8" fmla="*/ 2147483647 w 212"/>
              <a:gd name="T9" fmla="*/ 2147483647 h 105"/>
              <a:gd name="T10" fmla="*/ 2147483647 w 212"/>
              <a:gd name="T11" fmla="*/ 2147483647 h 105"/>
              <a:gd name="T12" fmla="*/ 2147483647 w 212"/>
              <a:gd name="T13" fmla="*/ 2147483647 h 105"/>
              <a:gd name="T14" fmla="*/ 2147483647 w 212"/>
              <a:gd name="T15" fmla="*/ 2147483647 h 105"/>
              <a:gd name="T16" fmla="*/ 2147483647 w 212"/>
              <a:gd name="T17" fmla="*/ 2147483647 h 105"/>
              <a:gd name="T18" fmla="*/ 2147483647 w 212"/>
              <a:gd name="T19" fmla="*/ 2147483647 h 105"/>
              <a:gd name="T20" fmla="*/ 2147483647 w 212"/>
              <a:gd name="T21" fmla="*/ 2147483647 h 105"/>
              <a:gd name="T22" fmla="*/ 2147483647 w 212"/>
              <a:gd name="T23" fmla="*/ 2147483647 h 105"/>
              <a:gd name="T24" fmla="*/ 2147483647 w 212"/>
              <a:gd name="T25" fmla="*/ 0 h 105"/>
              <a:gd name="T26" fmla="*/ 2147483647 w 212"/>
              <a:gd name="T27" fmla="*/ 0 h 105"/>
              <a:gd name="T28" fmla="*/ 2147483647 w 212"/>
              <a:gd name="T29" fmla="*/ 2147483647 h 105"/>
              <a:gd name="T30" fmla="*/ 2147483647 w 212"/>
              <a:gd name="T31" fmla="*/ 2147483647 h 105"/>
              <a:gd name="T32" fmla="*/ 2147483647 w 212"/>
              <a:gd name="T33" fmla="*/ 2147483647 h 105"/>
              <a:gd name="T34" fmla="*/ 2147483647 w 212"/>
              <a:gd name="T35" fmla="*/ 2147483647 h 105"/>
              <a:gd name="T36" fmla="*/ 2147483647 w 212"/>
              <a:gd name="T37" fmla="*/ 2147483647 h 105"/>
              <a:gd name="T38" fmla="*/ 2147483647 w 212"/>
              <a:gd name="T39" fmla="*/ 2147483647 h 105"/>
              <a:gd name="T40" fmla="*/ 2147483647 w 212"/>
              <a:gd name="T41" fmla="*/ 2147483647 h 105"/>
              <a:gd name="T42" fmla="*/ 2147483647 w 212"/>
              <a:gd name="T43" fmla="*/ 2147483647 h 105"/>
              <a:gd name="T44" fmla="*/ 2147483647 w 212"/>
              <a:gd name="T45" fmla="*/ 2147483647 h 105"/>
              <a:gd name="T46" fmla="*/ 0 w 212"/>
              <a:gd name="T47" fmla="*/ 2147483647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FF0000"/>
          </a:solidFill>
          <a:ln w="9525" cap="flat" cmpd="sng">
            <a:solidFill>
              <a:srgbClr val="FFFFFF"/>
            </a:solidFill>
            <a:prstDash val="solid"/>
            <a:round/>
            <a:headEnd type="none" w="med" len="med"/>
            <a:tailEnd type="none" w="med" len="med"/>
          </a:ln>
        </p:spPr>
        <p:txBody>
          <a:bodyPr/>
          <a:lstStyle/>
          <a:p>
            <a:endParaRPr lang="en-AU"/>
          </a:p>
        </p:txBody>
      </p:sp>
      <p:sp>
        <p:nvSpPr>
          <p:cNvPr id="2287" name="Freeform 335"/>
          <p:cNvSpPr>
            <a:spLocks/>
          </p:cNvSpPr>
          <p:nvPr>
            <p:custDataLst>
              <p:tags r:id="rId238"/>
            </p:custDataLst>
          </p:nvPr>
        </p:nvSpPr>
        <p:spPr bwMode="auto">
          <a:xfrm>
            <a:off x="7196138" y="3590925"/>
            <a:ext cx="42862" cy="88900"/>
          </a:xfrm>
          <a:custGeom>
            <a:avLst/>
            <a:gdLst>
              <a:gd name="T0" fmla="*/ 0 w 92"/>
              <a:gd name="T1" fmla="*/ 2147483647 h 166"/>
              <a:gd name="T2" fmla="*/ 0 w 92"/>
              <a:gd name="T3" fmla="*/ 2147483647 h 166"/>
              <a:gd name="T4" fmla="*/ 2147483647 w 92"/>
              <a:gd name="T5" fmla="*/ 2147483647 h 166"/>
              <a:gd name="T6" fmla="*/ 2147483647 w 92"/>
              <a:gd name="T7" fmla="*/ 2147483647 h 166"/>
              <a:gd name="T8" fmla="*/ 2147483647 w 92"/>
              <a:gd name="T9" fmla="*/ 2147483647 h 166"/>
              <a:gd name="T10" fmla="*/ 2147483647 w 92"/>
              <a:gd name="T11" fmla="*/ 2147483647 h 166"/>
              <a:gd name="T12" fmla="*/ 2147483647 w 92"/>
              <a:gd name="T13" fmla="*/ 2147483647 h 166"/>
              <a:gd name="T14" fmla="*/ 2147483647 w 92"/>
              <a:gd name="T15" fmla="*/ 2147483647 h 166"/>
              <a:gd name="T16" fmla="*/ 2147483647 w 92"/>
              <a:gd name="T17" fmla="*/ 2147483647 h 166"/>
              <a:gd name="T18" fmla="*/ 2147483647 w 92"/>
              <a:gd name="T19" fmla="*/ 2147483647 h 166"/>
              <a:gd name="T20" fmla="*/ 2147483647 w 92"/>
              <a:gd name="T21" fmla="*/ 2147483647 h 166"/>
              <a:gd name="T22" fmla="*/ 2147483647 w 92"/>
              <a:gd name="T23" fmla="*/ 2147483647 h 166"/>
              <a:gd name="T24" fmla="*/ 2147483647 w 92"/>
              <a:gd name="T25" fmla="*/ 2147483647 h 166"/>
              <a:gd name="T26" fmla="*/ 2147483647 w 92"/>
              <a:gd name="T27" fmla="*/ 2147483647 h 166"/>
              <a:gd name="T28" fmla="*/ 2147483647 w 92"/>
              <a:gd name="T29" fmla="*/ 2147483647 h 166"/>
              <a:gd name="T30" fmla="*/ 2147483647 w 92"/>
              <a:gd name="T31" fmla="*/ 2147483647 h 166"/>
              <a:gd name="T32" fmla="*/ 2147483647 w 92"/>
              <a:gd name="T33" fmla="*/ 2147483647 h 166"/>
              <a:gd name="T34" fmla="*/ 2147483647 w 92"/>
              <a:gd name="T35" fmla="*/ 2147483647 h 166"/>
              <a:gd name="T36" fmla="*/ 2147483647 w 92"/>
              <a:gd name="T37" fmla="*/ 2147483647 h 166"/>
              <a:gd name="T38" fmla="*/ 2147483647 w 92"/>
              <a:gd name="T39" fmla="*/ 2147483647 h 166"/>
              <a:gd name="T40" fmla="*/ 2147483647 w 92"/>
              <a:gd name="T41" fmla="*/ 2147483647 h 166"/>
              <a:gd name="T42" fmla="*/ 2147483647 w 92"/>
              <a:gd name="T43" fmla="*/ 2147483647 h 166"/>
              <a:gd name="T44" fmla="*/ 2147483647 w 92"/>
              <a:gd name="T45" fmla="*/ 2147483647 h 166"/>
              <a:gd name="T46" fmla="*/ 2147483647 w 92"/>
              <a:gd name="T47" fmla="*/ 2147483647 h 166"/>
              <a:gd name="T48" fmla="*/ 2147483647 w 92"/>
              <a:gd name="T49" fmla="*/ 2147483647 h 166"/>
              <a:gd name="T50" fmla="*/ 2147483647 w 92"/>
              <a:gd name="T51" fmla="*/ 2147483647 h 166"/>
              <a:gd name="T52" fmla="*/ 2147483647 w 92"/>
              <a:gd name="T53" fmla="*/ 2147483647 h 166"/>
              <a:gd name="T54" fmla="*/ 2147483647 w 92"/>
              <a:gd name="T55" fmla="*/ 2147483647 h 166"/>
              <a:gd name="T56" fmla="*/ 2147483647 w 92"/>
              <a:gd name="T57" fmla="*/ 2147483647 h 166"/>
              <a:gd name="T58" fmla="*/ 2147483647 w 92"/>
              <a:gd name="T59" fmla="*/ 2147483647 h 166"/>
              <a:gd name="T60" fmla="*/ 2147483647 w 92"/>
              <a:gd name="T61" fmla="*/ 2147483647 h 166"/>
              <a:gd name="T62" fmla="*/ 2147483647 w 92"/>
              <a:gd name="T63" fmla="*/ 2147483647 h 166"/>
              <a:gd name="T64" fmla="*/ 2147483647 w 92"/>
              <a:gd name="T65" fmla="*/ 2147483647 h 166"/>
              <a:gd name="T66" fmla="*/ 2147483647 w 92"/>
              <a:gd name="T67" fmla="*/ 2147483647 h 166"/>
              <a:gd name="T68" fmla="*/ 2147483647 w 92"/>
              <a:gd name="T69" fmla="*/ 2147483647 h 166"/>
              <a:gd name="T70" fmla="*/ 2147483647 w 92"/>
              <a:gd name="T71" fmla="*/ 2147483647 h 166"/>
              <a:gd name="T72" fmla="*/ 2147483647 w 92"/>
              <a:gd name="T73" fmla="*/ 2147483647 h 166"/>
              <a:gd name="T74" fmla="*/ 2147483647 w 92"/>
              <a:gd name="T75" fmla="*/ 2147483647 h 166"/>
              <a:gd name="T76" fmla="*/ 2147483647 w 92"/>
              <a:gd name="T77" fmla="*/ 2147483647 h 166"/>
              <a:gd name="T78" fmla="*/ 2147483647 w 92"/>
              <a:gd name="T79" fmla="*/ 2147483647 h 166"/>
              <a:gd name="T80" fmla="*/ 2147483647 w 92"/>
              <a:gd name="T81" fmla="*/ 2147483647 h 166"/>
              <a:gd name="T82" fmla="*/ 2147483647 w 92"/>
              <a:gd name="T83" fmla="*/ 2147483647 h 166"/>
              <a:gd name="T84" fmla="*/ 2147483647 w 92"/>
              <a:gd name="T85" fmla="*/ 2147483647 h 166"/>
              <a:gd name="T86" fmla="*/ 2147483647 w 92"/>
              <a:gd name="T87" fmla="*/ 2147483647 h 166"/>
              <a:gd name="T88" fmla="*/ 2147483647 w 92"/>
              <a:gd name="T89" fmla="*/ 2147483647 h 166"/>
              <a:gd name="T90" fmla="*/ 0 w 92"/>
              <a:gd name="T91" fmla="*/ 0 h 166"/>
              <a:gd name="T92" fmla="*/ 0 w 92"/>
              <a:gd name="T93" fmla="*/ 2147483647 h 166"/>
              <a:gd name="T94" fmla="*/ 0 w 92"/>
              <a:gd name="T95" fmla="*/ 2147483647 h 166"/>
              <a:gd name="T96" fmla="*/ 0 w 92"/>
              <a:gd name="T97" fmla="*/ 2147483647 h 166"/>
              <a:gd name="T98" fmla="*/ 0 w 92"/>
              <a:gd name="T99" fmla="*/ 2147483647 h 166"/>
              <a:gd name="T100" fmla="*/ 0 w 92"/>
              <a:gd name="T101" fmla="*/ 2147483647 h 166"/>
              <a:gd name="T102" fmla="*/ 0 w 92"/>
              <a:gd name="T103" fmla="*/ 2147483647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ED2A09"/>
          </a:solidFill>
          <a:ln w="9525" cap="flat" cmpd="sng">
            <a:solidFill>
              <a:srgbClr val="FFFFFF"/>
            </a:solidFill>
            <a:prstDash val="solid"/>
            <a:round/>
            <a:headEnd type="none" w="med" len="med"/>
            <a:tailEnd type="none" w="med" len="med"/>
          </a:ln>
          <a:effectLst/>
        </p:spPr>
        <p:txBody>
          <a:bodyPr/>
          <a:lstStyle/>
          <a:p>
            <a:endParaRPr lang="en-AU"/>
          </a:p>
        </p:txBody>
      </p:sp>
      <p:sp>
        <p:nvSpPr>
          <p:cNvPr id="2288" name="Freeform 336"/>
          <p:cNvSpPr>
            <a:spLocks/>
          </p:cNvSpPr>
          <p:nvPr>
            <p:custDataLst>
              <p:tags r:id="rId239"/>
            </p:custDataLst>
          </p:nvPr>
        </p:nvSpPr>
        <p:spPr bwMode="auto">
          <a:xfrm>
            <a:off x="7208838" y="3735388"/>
            <a:ext cx="71437" cy="55562"/>
          </a:xfrm>
          <a:custGeom>
            <a:avLst/>
            <a:gdLst>
              <a:gd name="T0" fmla="*/ 2147483647 w 166"/>
              <a:gd name="T1" fmla="*/ 0 h 62"/>
              <a:gd name="T2" fmla="*/ 2147483647 w 166"/>
              <a:gd name="T3" fmla="*/ 2147483647 h 62"/>
              <a:gd name="T4" fmla="*/ 2147483647 w 166"/>
              <a:gd name="T5" fmla="*/ 2147483647 h 62"/>
              <a:gd name="T6" fmla="*/ 2147483647 w 166"/>
              <a:gd name="T7" fmla="*/ 2147483647 h 62"/>
              <a:gd name="T8" fmla="*/ 2147483647 w 166"/>
              <a:gd name="T9" fmla="*/ 2147483647 h 62"/>
              <a:gd name="T10" fmla="*/ 2147483647 w 166"/>
              <a:gd name="T11" fmla="*/ 2147483647 h 62"/>
              <a:gd name="T12" fmla="*/ 2147483647 w 166"/>
              <a:gd name="T13" fmla="*/ 2147483647 h 62"/>
              <a:gd name="T14" fmla="*/ 2147483647 w 166"/>
              <a:gd name="T15" fmla="*/ 2147483647 h 62"/>
              <a:gd name="T16" fmla="*/ 2147483647 w 166"/>
              <a:gd name="T17" fmla="*/ 2147483647 h 62"/>
              <a:gd name="T18" fmla="*/ 2147483647 w 166"/>
              <a:gd name="T19" fmla="*/ 2147483647 h 62"/>
              <a:gd name="T20" fmla="*/ 2147483647 w 166"/>
              <a:gd name="T21" fmla="*/ 0 h 62"/>
              <a:gd name="T22" fmla="*/ 2147483647 w 166"/>
              <a:gd name="T23" fmla="*/ 2147483647 h 62"/>
              <a:gd name="T24" fmla="*/ 2147483647 w 166"/>
              <a:gd name="T25" fmla="*/ 2147483647 h 62"/>
              <a:gd name="T26" fmla="*/ 2147483647 w 166"/>
              <a:gd name="T27" fmla="*/ 2147483647 h 62"/>
              <a:gd name="T28" fmla="*/ 2147483647 w 166"/>
              <a:gd name="T29" fmla="*/ 2147483647 h 62"/>
              <a:gd name="T30" fmla="*/ 2147483647 w 166"/>
              <a:gd name="T31" fmla="*/ 2147483647 h 62"/>
              <a:gd name="T32" fmla="*/ 2147483647 w 166"/>
              <a:gd name="T33" fmla="*/ 2147483647 h 62"/>
              <a:gd name="T34" fmla="*/ 2147483647 w 166"/>
              <a:gd name="T35" fmla="*/ 2147483647 h 62"/>
              <a:gd name="T36" fmla="*/ 2147483647 w 166"/>
              <a:gd name="T37" fmla="*/ 2147483647 h 62"/>
              <a:gd name="T38" fmla="*/ 2147483647 w 166"/>
              <a:gd name="T39" fmla="*/ 2147483647 h 62"/>
              <a:gd name="T40" fmla="*/ 2147483647 w 166"/>
              <a:gd name="T41" fmla="*/ 2147483647 h 62"/>
              <a:gd name="T42" fmla="*/ 2147483647 w 166"/>
              <a:gd name="T43" fmla="*/ 2147483647 h 62"/>
              <a:gd name="T44" fmla="*/ 2147483647 w 166"/>
              <a:gd name="T45" fmla="*/ 2147483647 h 62"/>
              <a:gd name="T46" fmla="*/ 2147483647 w 166"/>
              <a:gd name="T47" fmla="*/ 2147483647 h 62"/>
              <a:gd name="T48" fmla="*/ 2147483647 w 166"/>
              <a:gd name="T49" fmla="*/ 2147483647 h 62"/>
              <a:gd name="T50" fmla="*/ 2147483647 w 166"/>
              <a:gd name="T51" fmla="*/ 2147483647 h 62"/>
              <a:gd name="T52" fmla="*/ 2147483647 w 166"/>
              <a:gd name="T53" fmla="*/ 2147483647 h 62"/>
              <a:gd name="T54" fmla="*/ 2147483647 w 166"/>
              <a:gd name="T55" fmla="*/ 2147483647 h 62"/>
              <a:gd name="T56" fmla="*/ 2147483647 w 166"/>
              <a:gd name="T57" fmla="*/ 2147483647 h 62"/>
              <a:gd name="T58" fmla="*/ 2147483647 w 166"/>
              <a:gd name="T59" fmla="*/ 2147483647 h 62"/>
              <a:gd name="T60" fmla="*/ 2147483647 w 166"/>
              <a:gd name="T61" fmla="*/ 2147483647 h 62"/>
              <a:gd name="T62" fmla="*/ 2147483647 w 166"/>
              <a:gd name="T63" fmla="*/ 2147483647 h 62"/>
              <a:gd name="T64" fmla="*/ 2147483647 w 166"/>
              <a:gd name="T65" fmla="*/ 2147483647 h 62"/>
              <a:gd name="T66" fmla="*/ 2147483647 w 166"/>
              <a:gd name="T67" fmla="*/ 2147483647 h 62"/>
              <a:gd name="T68" fmla="*/ 2147483647 w 166"/>
              <a:gd name="T69" fmla="*/ 2147483647 h 62"/>
              <a:gd name="T70" fmla="*/ 2147483647 w 166"/>
              <a:gd name="T71" fmla="*/ 2147483647 h 62"/>
              <a:gd name="T72" fmla="*/ 2147483647 w 166"/>
              <a:gd name="T73" fmla="*/ 2147483647 h 62"/>
              <a:gd name="T74" fmla="*/ 2147483647 w 166"/>
              <a:gd name="T75" fmla="*/ 2147483647 h 62"/>
              <a:gd name="T76" fmla="*/ 2147483647 w 166"/>
              <a:gd name="T77" fmla="*/ 2147483647 h 62"/>
              <a:gd name="T78" fmla="*/ 2147483647 w 166"/>
              <a:gd name="T79" fmla="*/ 2147483647 h 62"/>
              <a:gd name="T80" fmla="*/ 2147483647 w 166"/>
              <a:gd name="T81" fmla="*/ 2147483647 h 62"/>
              <a:gd name="T82" fmla="*/ 2147483647 w 166"/>
              <a:gd name="T83" fmla="*/ 2147483647 h 62"/>
              <a:gd name="T84" fmla="*/ 2147483647 w 166"/>
              <a:gd name="T85" fmla="*/ 2147483647 h 62"/>
              <a:gd name="T86" fmla="*/ 0 w 166"/>
              <a:gd name="T87" fmla="*/ 2147483647 h 62"/>
              <a:gd name="T88" fmla="*/ 2147483647 w 166"/>
              <a:gd name="T89" fmla="*/ 2147483647 h 62"/>
              <a:gd name="T90" fmla="*/ 2147483647 w 166"/>
              <a:gd name="T91" fmla="*/ 2147483647 h 62"/>
              <a:gd name="T92" fmla="*/ 2147483647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ED2A09"/>
          </a:solidFill>
          <a:ln w="9525" cap="flat" cmpd="sng">
            <a:solidFill>
              <a:srgbClr val="FFFFFF"/>
            </a:solidFill>
            <a:prstDash val="solid"/>
            <a:round/>
            <a:headEnd type="none" w="med" len="med"/>
            <a:tailEnd type="none" w="med" len="med"/>
          </a:ln>
          <a:effectLst/>
        </p:spPr>
        <p:txBody>
          <a:bodyPr/>
          <a:lstStyle/>
          <a:p>
            <a:endParaRPr lang="en-AU"/>
          </a:p>
        </p:txBody>
      </p:sp>
      <p:sp>
        <p:nvSpPr>
          <p:cNvPr id="2289" name="Freeform 337"/>
          <p:cNvSpPr>
            <a:spLocks/>
          </p:cNvSpPr>
          <p:nvPr>
            <p:custDataLst>
              <p:tags r:id="rId240"/>
            </p:custDataLst>
          </p:nvPr>
        </p:nvSpPr>
        <p:spPr bwMode="auto">
          <a:xfrm>
            <a:off x="7285038" y="3659188"/>
            <a:ext cx="85725" cy="63500"/>
          </a:xfrm>
          <a:custGeom>
            <a:avLst/>
            <a:gdLst>
              <a:gd name="T0" fmla="*/ 2147483647 w 193"/>
              <a:gd name="T1" fmla="*/ 2147483647 h 121"/>
              <a:gd name="T2" fmla="*/ 2147483647 w 193"/>
              <a:gd name="T3" fmla="*/ 2147483647 h 121"/>
              <a:gd name="T4" fmla="*/ 2147483647 w 193"/>
              <a:gd name="T5" fmla="*/ 2147483647 h 121"/>
              <a:gd name="T6" fmla="*/ 2147483647 w 193"/>
              <a:gd name="T7" fmla="*/ 2147483647 h 121"/>
              <a:gd name="T8" fmla="*/ 2147483647 w 193"/>
              <a:gd name="T9" fmla="*/ 2147483647 h 121"/>
              <a:gd name="T10" fmla="*/ 2147483647 w 193"/>
              <a:gd name="T11" fmla="*/ 2147483647 h 121"/>
              <a:gd name="T12" fmla="*/ 2147483647 w 193"/>
              <a:gd name="T13" fmla="*/ 2147483647 h 121"/>
              <a:gd name="T14" fmla="*/ 2147483647 w 193"/>
              <a:gd name="T15" fmla="*/ 2147483647 h 121"/>
              <a:gd name="T16" fmla="*/ 2147483647 w 193"/>
              <a:gd name="T17" fmla="*/ 2147483647 h 121"/>
              <a:gd name="T18" fmla="*/ 2147483647 w 193"/>
              <a:gd name="T19" fmla="*/ 2147483647 h 121"/>
              <a:gd name="T20" fmla="*/ 2147483647 w 193"/>
              <a:gd name="T21" fmla="*/ 2147483647 h 121"/>
              <a:gd name="T22" fmla="*/ 2147483647 w 193"/>
              <a:gd name="T23" fmla="*/ 2147483647 h 121"/>
              <a:gd name="T24" fmla="*/ 2147483647 w 193"/>
              <a:gd name="T25" fmla="*/ 2147483647 h 121"/>
              <a:gd name="T26" fmla="*/ 2147483647 w 193"/>
              <a:gd name="T27" fmla="*/ 2147483647 h 121"/>
              <a:gd name="T28" fmla="*/ 2147483647 w 193"/>
              <a:gd name="T29" fmla="*/ 2147483647 h 121"/>
              <a:gd name="T30" fmla="*/ 2147483647 w 193"/>
              <a:gd name="T31" fmla="*/ 2147483647 h 121"/>
              <a:gd name="T32" fmla="*/ 2147483647 w 193"/>
              <a:gd name="T33" fmla="*/ 2147483647 h 121"/>
              <a:gd name="T34" fmla="*/ 2147483647 w 193"/>
              <a:gd name="T35" fmla="*/ 2147483647 h 121"/>
              <a:gd name="T36" fmla="*/ 2147483647 w 193"/>
              <a:gd name="T37" fmla="*/ 2147483647 h 121"/>
              <a:gd name="T38" fmla="*/ 2147483647 w 193"/>
              <a:gd name="T39" fmla="*/ 2147483647 h 121"/>
              <a:gd name="T40" fmla="*/ 2147483647 w 193"/>
              <a:gd name="T41" fmla="*/ 2147483647 h 121"/>
              <a:gd name="T42" fmla="*/ 2147483647 w 193"/>
              <a:gd name="T43" fmla="*/ 2147483647 h 121"/>
              <a:gd name="T44" fmla="*/ 2147483647 w 193"/>
              <a:gd name="T45" fmla="*/ 2147483647 h 121"/>
              <a:gd name="T46" fmla="*/ 2147483647 w 193"/>
              <a:gd name="T47" fmla="*/ 2147483647 h 121"/>
              <a:gd name="T48" fmla="*/ 2147483647 w 193"/>
              <a:gd name="T49" fmla="*/ 2147483647 h 121"/>
              <a:gd name="T50" fmla="*/ 2147483647 w 193"/>
              <a:gd name="T51" fmla="*/ 2147483647 h 121"/>
              <a:gd name="T52" fmla="*/ 2147483647 w 193"/>
              <a:gd name="T53" fmla="*/ 2147483647 h 121"/>
              <a:gd name="T54" fmla="*/ 2147483647 w 193"/>
              <a:gd name="T55" fmla="*/ 2147483647 h 121"/>
              <a:gd name="T56" fmla="*/ 2147483647 w 193"/>
              <a:gd name="T57" fmla="*/ 2147483647 h 121"/>
              <a:gd name="T58" fmla="*/ 0 w 193"/>
              <a:gd name="T59" fmla="*/ 2147483647 h 121"/>
              <a:gd name="T60" fmla="*/ 2147483647 w 193"/>
              <a:gd name="T61" fmla="*/ 2147483647 h 121"/>
              <a:gd name="T62" fmla="*/ 2147483647 w 193"/>
              <a:gd name="T63" fmla="*/ 2147483647 h 121"/>
              <a:gd name="T64" fmla="*/ 2147483647 w 193"/>
              <a:gd name="T65" fmla="*/ 2147483647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ED2A09"/>
          </a:solidFill>
          <a:ln w="9525" cap="flat" cmpd="sng">
            <a:solidFill>
              <a:srgbClr val="FFFFFF"/>
            </a:solidFill>
            <a:prstDash val="solid"/>
            <a:round/>
            <a:headEnd type="none" w="med" len="med"/>
            <a:tailEnd type="none" w="med" len="med"/>
          </a:ln>
          <a:effectLst/>
        </p:spPr>
        <p:txBody>
          <a:bodyPr/>
          <a:lstStyle/>
          <a:p>
            <a:endParaRPr lang="en-AU"/>
          </a:p>
        </p:txBody>
      </p:sp>
      <p:sp>
        <p:nvSpPr>
          <p:cNvPr id="2290" name="Freeform 338"/>
          <p:cNvSpPr>
            <a:spLocks/>
          </p:cNvSpPr>
          <p:nvPr>
            <p:custDataLst>
              <p:tags r:id="rId241"/>
            </p:custDataLst>
          </p:nvPr>
        </p:nvSpPr>
        <p:spPr bwMode="auto">
          <a:xfrm>
            <a:off x="6973888" y="3597275"/>
            <a:ext cx="166687" cy="230188"/>
          </a:xfrm>
          <a:custGeom>
            <a:avLst/>
            <a:gdLst>
              <a:gd name="T0" fmla="*/ 2147483647 w 379"/>
              <a:gd name="T1" fmla="*/ 2147483647 h 437"/>
              <a:gd name="T2" fmla="*/ 2147483647 w 379"/>
              <a:gd name="T3" fmla="*/ 2147483647 h 437"/>
              <a:gd name="T4" fmla="*/ 2147483647 w 379"/>
              <a:gd name="T5" fmla="*/ 2147483647 h 437"/>
              <a:gd name="T6" fmla="*/ 2147483647 w 379"/>
              <a:gd name="T7" fmla="*/ 2147483647 h 437"/>
              <a:gd name="T8" fmla="*/ 2147483647 w 379"/>
              <a:gd name="T9" fmla="*/ 2147483647 h 437"/>
              <a:gd name="T10" fmla="*/ 2147483647 w 379"/>
              <a:gd name="T11" fmla="*/ 2147483647 h 437"/>
              <a:gd name="T12" fmla="*/ 2147483647 w 379"/>
              <a:gd name="T13" fmla="*/ 2147483647 h 437"/>
              <a:gd name="T14" fmla="*/ 2147483647 w 379"/>
              <a:gd name="T15" fmla="*/ 2147483647 h 437"/>
              <a:gd name="T16" fmla="*/ 2147483647 w 379"/>
              <a:gd name="T17" fmla="*/ 2147483647 h 437"/>
              <a:gd name="T18" fmla="*/ 2147483647 w 379"/>
              <a:gd name="T19" fmla="*/ 2147483647 h 437"/>
              <a:gd name="T20" fmla="*/ 2147483647 w 379"/>
              <a:gd name="T21" fmla="*/ 2147483647 h 437"/>
              <a:gd name="T22" fmla="*/ 2147483647 w 379"/>
              <a:gd name="T23" fmla="*/ 2147483647 h 437"/>
              <a:gd name="T24" fmla="*/ 2147483647 w 379"/>
              <a:gd name="T25" fmla="*/ 2147483647 h 437"/>
              <a:gd name="T26" fmla="*/ 2147483647 w 379"/>
              <a:gd name="T27" fmla="*/ 2147483647 h 437"/>
              <a:gd name="T28" fmla="*/ 2147483647 w 379"/>
              <a:gd name="T29" fmla="*/ 2147483647 h 437"/>
              <a:gd name="T30" fmla="*/ 2147483647 w 379"/>
              <a:gd name="T31" fmla="*/ 2147483647 h 437"/>
              <a:gd name="T32" fmla="*/ 2147483647 w 379"/>
              <a:gd name="T33" fmla="*/ 2147483647 h 437"/>
              <a:gd name="T34" fmla="*/ 2147483647 w 379"/>
              <a:gd name="T35" fmla="*/ 2147483647 h 437"/>
              <a:gd name="T36" fmla="*/ 2147483647 w 379"/>
              <a:gd name="T37" fmla="*/ 2147483647 h 437"/>
              <a:gd name="T38" fmla="*/ 2147483647 w 379"/>
              <a:gd name="T39" fmla="*/ 2147483647 h 437"/>
              <a:gd name="T40" fmla="*/ 2147483647 w 379"/>
              <a:gd name="T41" fmla="*/ 2147483647 h 437"/>
              <a:gd name="T42" fmla="*/ 2147483647 w 379"/>
              <a:gd name="T43" fmla="*/ 2147483647 h 437"/>
              <a:gd name="T44" fmla="*/ 2147483647 w 379"/>
              <a:gd name="T45" fmla="*/ 2147483647 h 437"/>
              <a:gd name="T46" fmla="*/ 2147483647 w 379"/>
              <a:gd name="T47" fmla="*/ 2147483647 h 437"/>
              <a:gd name="T48" fmla="*/ 2147483647 w 379"/>
              <a:gd name="T49" fmla="*/ 2147483647 h 437"/>
              <a:gd name="T50" fmla="*/ 2147483647 w 379"/>
              <a:gd name="T51" fmla="*/ 2147483647 h 437"/>
              <a:gd name="T52" fmla="*/ 2147483647 w 379"/>
              <a:gd name="T53" fmla="*/ 2147483647 h 437"/>
              <a:gd name="T54" fmla="*/ 2147483647 w 379"/>
              <a:gd name="T55" fmla="*/ 2147483647 h 437"/>
              <a:gd name="T56" fmla="*/ 2147483647 w 379"/>
              <a:gd name="T57" fmla="*/ 2147483647 h 437"/>
              <a:gd name="T58" fmla="*/ 2147483647 w 379"/>
              <a:gd name="T59" fmla="*/ 2147483647 h 437"/>
              <a:gd name="T60" fmla="*/ 2147483647 w 379"/>
              <a:gd name="T61" fmla="*/ 2147483647 h 437"/>
              <a:gd name="T62" fmla="*/ 2147483647 w 379"/>
              <a:gd name="T63" fmla="*/ 2147483647 h 437"/>
              <a:gd name="T64" fmla="*/ 2147483647 w 379"/>
              <a:gd name="T65" fmla="*/ 2147483647 h 437"/>
              <a:gd name="T66" fmla="*/ 2147483647 w 379"/>
              <a:gd name="T67" fmla="*/ 2147483647 h 437"/>
              <a:gd name="T68" fmla="*/ 2147483647 w 379"/>
              <a:gd name="T69" fmla="*/ 2147483647 h 437"/>
              <a:gd name="T70" fmla="*/ 2147483647 w 379"/>
              <a:gd name="T71" fmla="*/ 2147483647 h 437"/>
              <a:gd name="T72" fmla="*/ 2147483647 w 379"/>
              <a:gd name="T73" fmla="*/ 2147483647 h 437"/>
              <a:gd name="T74" fmla="*/ 2147483647 w 379"/>
              <a:gd name="T75" fmla="*/ 2147483647 h 437"/>
              <a:gd name="T76" fmla="*/ 2147483647 w 379"/>
              <a:gd name="T77" fmla="*/ 2147483647 h 437"/>
              <a:gd name="T78" fmla="*/ 2147483647 w 379"/>
              <a:gd name="T79" fmla="*/ 2147483647 h 437"/>
              <a:gd name="T80" fmla="*/ 2147483647 w 379"/>
              <a:gd name="T81" fmla="*/ 2147483647 h 437"/>
              <a:gd name="T82" fmla="*/ 2147483647 w 379"/>
              <a:gd name="T83" fmla="*/ 2147483647 h 437"/>
              <a:gd name="T84" fmla="*/ 2147483647 w 379"/>
              <a:gd name="T85" fmla="*/ 2147483647 h 437"/>
              <a:gd name="T86" fmla="*/ 2147483647 w 379"/>
              <a:gd name="T87" fmla="*/ 2147483647 h 437"/>
              <a:gd name="T88" fmla="*/ 2147483647 w 379"/>
              <a:gd name="T89" fmla="*/ 2147483647 h 437"/>
              <a:gd name="T90" fmla="*/ 2147483647 w 379"/>
              <a:gd name="T91" fmla="*/ 2147483647 h 437"/>
              <a:gd name="T92" fmla="*/ 2147483647 w 379"/>
              <a:gd name="T93" fmla="*/ 2147483647 h 437"/>
              <a:gd name="T94" fmla="*/ 2147483647 w 379"/>
              <a:gd name="T95" fmla="*/ 2147483647 h 437"/>
              <a:gd name="T96" fmla="*/ 2147483647 w 379"/>
              <a:gd name="T97" fmla="*/ 2147483647 h 437"/>
              <a:gd name="T98" fmla="*/ 2147483647 w 379"/>
              <a:gd name="T99" fmla="*/ 2147483647 h 437"/>
              <a:gd name="T100" fmla="*/ 2147483647 w 379"/>
              <a:gd name="T101" fmla="*/ 2147483647 h 437"/>
              <a:gd name="T102" fmla="*/ 2147483647 w 379"/>
              <a:gd name="T103" fmla="*/ 2147483647 h 437"/>
              <a:gd name="T104" fmla="*/ 2147483647 w 379"/>
              <a:gd name="T105" fmla="*/ 2147483647 h 437"/>
              <a:gd name="T106" fmla="*/ 2147483647 w 379"/>
              <a:gd name="T107" fmla="*/ 2147483647 h 437"/>
              <a:gd name="T108" fmla="*/ 2147483647 w 379"/>
              <a:gd name="T109" fmla="*/ 2147483647 h 437"/>
              <a:gd name="T110" fmla="*/ 2147483647 w 379"/>
              <a:gd name="T111" fmla="*/ 2147483647 h 437"/>
              <a:gd name="T112" fmla="*/ 2147483647 w 379"/>
              <a:gd name="T113" fmla="*/ 2147483647 h 437"/>
              <a:gd name="T114" fmla="*/ 2147483647 w 379"/>
              <a:gd name="T115" fmla="*/ 2147483647 h 437"/>
              <a:gd name="T116" fmla="*/ 2147483647 w 379"/>
              <a:gd name="T117" fmla="*/ 2147483647 h 437"/>
              <a:gd name="T118" fmla="*/ 2147483647 w 379"/>
              <a:gd name="T119" fmla="*/ 2147483647 h 437"/>
              <a:gd name="T120" fmla="*/ 2147483647 w 379"/>
              <a:gd name="T121" fmla="*/ 2147483647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FF0000"/>
          </a:solidFill>
          <a:ln w="9525" cap="flat" cmpd="sng">
            <a:solidFill>
              <a:srgbClr val="FFFFFF"/>
            </a:solidFill>
            <a:prstDash val="solid"/>
            <a:round/>
            <a:headEnd type="none" w="med" len="med"/>
            <a:tailEnd type="none" w="med" len="med"/>
          </a:ln>
        </p:spPr>
        <p:txBody>
          <a:bodyPr/>
          <a:lstStyle/>
          <a:p>
            <a:endParaRPr lang="en-AU"/>
          </a:p>
        </p:txBody>
      </p:sp>
      <p:sp>
        <p:nvSpPr>
          <p:cNvPr id="2291" name="Freeform 339"/>
          <p:cNvSpPr>
            <a:spLocks/>
          </p:cNvSpPr>
          <p:nvPr>
            <p:custDataLst>
              <p:tags r:id="rId242"/>
            </p:custDataLst>
          </p:nvPr>
        </p:nvSpPr>
        <p:spPr bwMode="auto">
          <a:xfrm>
            <a:off x="6638925" y="3838575"/>
            <a:ext cx="250825" cy="95250"/>
          </a:xfrm>
          <a:custGeom>
            <a:avLst/>
            <a:gdLst>
              <a:gd name="T0" fmla="*/ 2147483647 w 578"/>
              <a:gd name="T1" fmla="*/ 2147483647 h 184"/>
              <a:gd name="T2" fmla="*/ 2147483647 w 578"/>
              <a:gd name="T3" fmla="*/ 2147483647 h 184"/>
              <a:gd name="T4" fmla="*/ 2147483647 w 578"/>
              <a:gd name="T5" fmla="*/ 2147483647 h 184"/>
              <a:gd name="T6" fmla="*/ 2147483647 w 578"/>
              <a:gd name="T7" fmla="*/ 0 h 184"/>
              <a:gd name="T8" fmla="*/ 2147483647 w 578"/>
              <a:gd name="T9" fmla="*/ 2147483647 h 184"/>
              <a:gd name="T10" fmla="*/ 2147483647 w 578"/>
              <a:gd name="T11" fmla="*/ 2147483647 h 184"/>
              <a:gd name="T12" fmla="*/ 2147483647 w 578"/>
              <a:gd name="T13" fmla="*/ 2147483647 h 184"/>
              <a:gd name="T14" fmla="*/ 2147483647 w 578"/>
              <a:gd name="T15" fmla="*/ 2147483647 h 184"/>
              <a:gd name="T16" fmla="*/ 2147483647 w 578"/>
              <a:gd name="T17" fmla="*/ 2147483647 h 184"/>
              <a:gd name="T18" fmla="*/ 2147483647 w 578"/>
              <a:gd name="T19" fmla="*/ 2147483647 h 184"/>
              <a:gd name="T20" fmla="*/ 2147483647 w 578"/>
              <a:gd name="T21" fmla="*/ 2147483647 h 184"/>
              <a:gd name="T22" fmla="*/ 2147483647 w 578"/>
              <a:gd name="T23" fmla="*/ 2147483647 h 184"/>
              <a:gd name="T24" fmla="*/ 2147483647 w 578"/>
              <a:gd name="T25" fmla="*/ 2147483647 h 184"/>
              <a:gd name="T26" fmla="*/ 2147483647 w 578"/>
              <a:gd name="T27" fmla="*/ 2147483647 h 184"/>
              <a:gd name="T28" fmla="*/ 2147483647 w 578"/>
              <a:gd name="T29" fmla="*/ 2147483647 h 184"/>
              <a:gd name="T30" fmla="*/ 2147483647 w 578"/>
              <a:gd name="T31" fmla="*/ 2147483647 h 184"/>
              <a:gd name="T32" fmla="*/ 2147483647 w 578"/>
              <a:gd name="T33" fmla="*/ 2147483647 h 184"/>
              <a:gd name="T34" fmla="*/ 2147483647 w 578"/>
              <a:gd name="T35" fmla="*/ 2147483647 h 184"/>
              <a:gd name="T36" fmla="*/ 2147483647 w 578"/>
              <a:gd name="T37" fmla="*/ 2147483647 h 184"/>
              <a:gd name="T38" fmla="*/ 2147483647 w 578"/>
              <a:gd name="T39" fmla="*/ 2147483647 h 184"/>
              <a:gd name="T40" fmla="*/ 2147483647 w 578"/>
              <a:gd name="T41" fmla="*/ 2147483647 h 184"/>
              <a:gd name="T42" fmla="*/ 2147483647 w 578"/>
              <a:gd name="T43" fmla="*/ 2147483647 h 184"/>
              <a:gd name="T44" fmla="*/ 2147483647 w 578"/>
              <a:gd name="T45" fmla="*/ 2147483647 h 184"/>
              <a:gd name="T46" fmla="*/ 2147483647 w 578"/>
              <a:gd name="T47" fmla="*/ 2147483647 h 184"/>
              <a:gd name="T48" fmla="*/ 2147483647 w 578"/>
              <a:gd name="T49" fmla="*/ 2147483647 h 184"/>
              <a:gd name="T50" fmla="*/ 2147483647 w 578"/>
              <a:gd name="T51" fmla="*/ 2147483647 h 184"/>
              <a:gd name="T52" fmla="*/ 2147483647 w 578"/>
              <a:gd name="T53" fmla="*/ 2147483647 h 184"/>
              <a:gd name="T54" fmla="*/ 2147483647 w 578"/>
              <a:gd name="T55" fmla="*/ 2147483647 h 184"/>
              <a:gd name="T56" fmla="*/ 2147483647 w 578"/>
              <a:gd name="T57" fmla="*/ 2147483647 h 184"/>
              <a:gd name="T58" fmla="*/ 2147483647 w 578"/>
              <a:gd name="T59" fmla="*/ 2147483647 h 184"/>
              <a:gd name="T60" fmla="*/ 2147483647 w 578"/>
              <a:gd name="T61" fmla="*/ 2147483647 h 184"/>
              <a:gd name="T62" fmla="*/ 2147483647 w 578"/>
              <a:gd name="T63" fmla="*/ 2147483647 h 184"/>
              <a:gd name="T64" fmla="*/ 2147483647 w 578"/>
              <a:gd name="T65" fmla="*/ 2147483647 h 184"/>
              <a:gd name="T66" fmla="*/ 2147483647 w 578"/>
              <a:gd name="T67" fmla="*/ 2147483647 h 184"/>
              <a:gd name="T68" fmla="*/ 2147483647 w 578"/>
              <a:gd name="T69" fmla="*/ 2147483647 h 184"/>
              <a:gd name="T70" fmla="*/ 2147483647 w 578"/>
              <a:gd name="T71" fmla="*/ 2147483647 h 184"/>
              <a:gd name="T72" fmla="*/ 2147483647 w 578"/>
              <a:gd name="T73" fmla="*/ 2147483647 h 184"/>
              <a:gd name="T74" fmla="*/ 2147483647 w 578"/>
              <a:gd name="T75" fmla="*/ 2147483647 h 184"/>
              <a:gd name="T76" fmla="*/ 2147483647 w 578"/>
              <a:gd name="T77" fmla="*/ 2147483647 h 184"/>
              <a:gd name="T78" fmla="*/ 2147483647 w 578"/>
              <a:gd name="T79" fmla="*/ 2147483647 h 184"/>
              <a:gd name="T80" fmla="*/ 2147483647 w 578"/>
              <a:gd name="T81" fmla="*/ 2147483647 h 184"/>
              <a:gd name="T82" fmla="*/ 2147483647 w 578"/>
              <a:gd name="T83" fmla="*/ 2147483647 h 184"/>
              <a:gd name="T84" fmla="*/ 2147483647 w 578"/>
              <a:gd name="T85" fmla="*/ 2147483647 h 184"/>
              <a:gd name="T86" fmla="*/ 2147483647 w 578"/>
              <a:gd name="T87" fmla="*/ 2147483647 h 184"/>
              <a:gd name="T88" fmla="*/ 2147483647 w 578"/>
              <a:gd name="T89" fmla="*/ 2147483647 h 184"/>
              <a:gd name="T90" fmla="*/ 2147483647 w 578"/>
              <a:gd name="T91" fmla="*/ 2147483647 h 184"/>
              <a:gd name="T92" fmla="*/ 2147483647 w 578"/>
              <a:gd name="T93" fmla="*/ 2147483647 h 184"/>
              <a:gd name="T94" fmla="*/ 2147483647 w 578"/>
              <a:gd name="T95" fmla="*/ 2147483647 h 184"/>
              <a:gd name="T96" fmla="*/ 2147483647 w 578"/>
              <a:gd name="T97" fmla="*/ 2147483647 h 184"/>
              <a:gd name="T98" fmla="*/ 2147483647 w 578"/>
              <a:gd name="T99" fmla="*/ 2147483647 h 184"/>
              <a:gd name="T100" fmla="*/ 2147483647 w 578"/>
              <a:gd name="T101" fmla="*/ 2147483647 h 184"/>
              <a:gd name="T102" fmla="*/ 2147483647 w 578"/>
              <a:gd name="T103" fmla="*/ 2147483647 h 184"/>
              <a:gd name="T104" fmla="*/ 2147483647 w 578"/>
              <a:gd name="T105" fmla="*/ 2147483647 h 184"/>
              <a:gd name="T106" fmla="*/ 0 w 578"/>
              <a:gd name="T107" fmla="*/ 2147483647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FF0000"/>
          </a:solidFill>
          <a:ln w="9525" cap="flat" cmpd="sng">
            <a:solidFill>
              <a:srgbClr val="FFFFFF"/>
            </a:solidFill>
            <a:prstDash val="solid"/>
            <a:round/>
            <a:headEnd type="none" w="med" len="med"/>
            <a:tailEnd type="none" w="med" len="med"/>
          </a:ln>
        </p:spPr>
        <p:txBody>
          <a:bodyPr/>
          <a:lstStyle/>
          <a:p>
            <a:endParaRPr lang="en-AU"/>
          </a:p>
        </p:txBody>
      </p:sp>
      <p:sp>
        <p:nvSpPr>
          <p:cNvPr id="2292" name="Freeform 340"/>
          <p:cNvSpPr>
            <a:spLocks/>
          </p:cNvSpPr>
          <p:nvPr>
            <p:custDataLst>
              <p:tags r:id="rId243"/>
            </p:custDataLst>
          </p:nvPr>
        </p:nvSpPr>
        <p:spPr bwMode="auto">
          <a:xfrm>
            <a:off x="7319963" y="3695700"/>
            <a:ext cx="214312" cy="252413"/>
          </a:xfrm>
          <a:custGeom>
            <a:avLst/>
            <a:gdLst>
              <a:gd name="T0" fmla="*/ 2147483647 w 491"/>
              <a:gd name="T1" fmla="*/ 2147483647 h 481"/>
              <a:gd name="T2" fmla="*/ 2147483647 w 491"/>
              <a:gd name="T3" fmla="*/ 2147483647 h 481"/>
              <a:gd name="T4" fmla="*/ 2147483647 w 491"/>
              <a:gd name="T5" fmla="*/ 2147483647 h 481"/>
              <a:gd name="T6" fmla="*/ 2147483647 w 491"/>
              <a:gd name="T7" fmla="*/ 2147483647 h 481"/>
              <a:gd name="T8" fmla="*/ 2147483647 w 491"/>
              <a:gd name="T9" fmla="*/ 2147483647 h 481"/>
              <a:gd name="T10" fmla="*/ 2147483647 w 491"/>
              <a:gd name="T11" fmla="*/ 2147483647 h 481"/>
              <a:gd name="T12" fmla="*/ 2147483647 w 491"/>
              <a:gd name="T13" fmla="*/ 2147483647 h 481"/>
              <a:gd name="T14" fmla="*/ 2147483647 w 491"/>
              <a:gd name="T15" fmla="*/ 2147483647 h 481"/>
              <a:gd name="T16" fmla="*/ 2147483647 w 491"/>
              <a:gd name="T17" fmla="*/ 2147483647 h 481"/>
              <a:gd name="T18" fmla="*/ 2147483647 w 491"/>
              <a:gd name="T19" fmla="*/ 2147483647 h 481"/>
              <a:gd name="T20" fmla="*/ 2147483647 w 491"/>
              <a:gd name="T21" fmla="*/ 2147483647 h 481"/>
              <a:gd name="T22" fmla="*/ 2147483647 w 491"/>
              <a:gd name="T23" fmla="*/ 2147483647 h 481"/>
              <a:gd name="T24" fmla="*/ 2147483647 w 491"/>
              <a:gd name="T25" fmla="*/ 2147483647 h 481"/>
              <a:gd name="T26" fmla="*/ 2147483647 w 491"/>
              <a:gd name="T27" fmla="*/ 2147483647 h 481"/>
              <a:gd name="T28" fmla="*/ 2147483647 w 491"/>
              <a:gd name="T29" fmla="*/ 2147483647 h 481"/>
              <a:gd name="T30" fmla="*/ 2147483647 w 491"/>
              <a:gd name="T31" fmla="*/ 2147483647 h 481"/>
              <a:gd name="T32" fmla="*/ 2147483647 w 491"/>
              <a:gd name="T33" fmla="*/ 2147483647 h 481"/>
              <a:gd name="T34" fmla="*/ 2147483647 w 491"/>
              <a:gd name="T35" fmla="*/ 2147483647 h 481"/>
              <a:gd name="T36" fmla="*/ 2147483647 w 491"/>
              <a:gd name="T37" fmla="*/ 2147483647 h 481"/>
              <a:gd name="T38" fmla="*/ 2147483647 w 491"/>
              <a:gd name="T39" fmla="*/ 2147483647 h 481"/>
              <a:gd name="T40" fmla="*/ 2147483647 w 491"/>
              <a:gd name="T41" fmla="*/ 2147483647 h 481"/>
              <a:gd name="T42" fmla="*/ 2147483647 w 491"/>
              <a:gd name="T43" fmla="*/ 2147483647 h 481"/>
              <a:gd name="T44" fmla="*/ 2147483647 w 491"/>
              <a:gd name="T45" fmla="*/ 2147483647 h 481"/>
              <a:gd name="T46" fmla="*/ 2147483647 w 491"/>
              <a:gd name="T47" fmla="*/ 2147483647 h 481"/>
              <a:gd name="T48" fmla="*/ 2147483647 w 491"/>
              <a:gd name="T49" fmla="*/ 2147483647 h 481"/>
              <a:gd name="T50" fmla="*/ 2147483647 w 491"/>
              <a:gd name="T51" fmla="*/ 2147483647 h 481"/>
              <a:gd name="T52" fmla="*/ 2147483647 w 491"/>
              <a:gd name="T53" fmla="*/ 2147483647 h 481"/>
              <a:gd name="T54" fmla="*/ 2147483647 w 491"/>
              <a:gd name="T55" fmla="*/ 2147483647 h 481"/>
              <a:gd name="T56" fmla="*/ 2147483647 w 491"/>
              <a:gd name="T57" fmla="*/ 2147483647 h 481"/>
              <a:gd name="T58" fmla="*/ 2147483647 w 491"/>
              <a:gd name="T59" fmla="*/ 2147483647 h 481"/>
              <a:gd name="T60" fmla="*/ 2147483647 w 491"/>
              <a:gd name="T61" fmla="*/ 2147483647 h 481"/>
              <a:gd name="T62" fmla="*/ 0 w 491"/>
              <a:gd name="T63" fmla="*/ 2147483647 h 481"/>
              <a:gd name="T64" fmla="*/ 2147483647 w 491"/>
              <a:gd name="T65" fmla="*/ 2147483647 h 481"/>
              <a:gd name="T66" fmla="*/ 2147483647 w 491"/>
              <a:gd name="T67" fmla="*/ 2147483647 h 481"/>
              <a:gd name="T68" fmla="*/ 2147483647 w 491"/>
              <a:gd name="T69" fmla="*/ 2147483647 h 481"/>
              <a:gd name="T70" fmla="*/ 2147483647 w 491"/>
              <a:gd name="T71" fmla="*/ 2147483647 h 481"/>
              <a:gd name="T72" fmla="*/ 2147483647 w 491"/>
              <a:gd name="T73" fmla="*/ 2147483647 h 481"/>
              <a:gd name="T74" fmla="*/ 2147483647 w 491"/>
              <a:gd name="T75" fmla="*/ 2147483647 h 481"/>
              <a:gd name="T76" fmla="*/ 2147483647 w 491"/>
              <a:gd name="T77" fmla="*/ 2147483647 h 481"/>
              <a:gd name="T78" fmla="*/ 2147483647 w 491"/>
              <a:gd name="T79" fmla="*/ 2147483647 h 481"/>
              <a:gd name="T80" fmla="*/ 2147483647 w 491"/>
              <a:gd name="T81" fmla="*/ 2147483647 h 481"/>
              <a:gd name="T82" fmla="*/ 2147483647 w 491"/>
              <a:gd name="T83" fmla="*/ 2147483647 h 481"/>
              <a:gd name="T84" fmla="*/ 2147483647 w 491"/>
              <a:gd name="T85" fmla="*/ 2147483647 h 481"/>
              <a:gd name="T86" fmla="*/ 2147483647 w 491"/>
              <a:gd name="T87" fmla="*/ 2147483647 h 481"/>
              <a:gd name="T88" fmla="*/ 2147483647 w 491"/>
              <a:gd name="T89" fmla="*/ 2147483647 h 481"/>
              <a:gd name="T90" fmla="*/ 2147483647 w 491"/>
              <a:gd name="T91" fmla="*/ 2147483647 h 481"/>
              <a:gd name="T92" fmla="*/ 2147483647 w 491"/>
              <a:gd name="T93" fmla="*/ 2147483647 h 481"/>
              <a:gd name="T94" fmla="*/ 2147483647 w 491"/>
              <a:gd name="T95" fmla="*/ 0 h 481"/>
              <a:gd name="T96" fmla="*/ 2147483647 w 491"/>
              <a:gd name="T97" fmla="*/ 2147483647 h 481"/>
              <a:gd name="T98" fmla="*/ 2147483647 w 491"/>
              <a:gd name="T99" fmla="*/ 2147483647 h 481"/>
              <a:gd name="T100" fmla="*/ 2147483647 w 491"/>
              <a:gd name="T101" fmla="*/ 2147483647 h 481"/>
              <a:gd name="T102" fmla="*/ 2147483647 w 491"/>
              <a:gd name="T103" fmla="*/ 2147483647 h 481"/>
              <a:gd name="T104" fmla="*/ 2147483647 w 491"/>
              <a:gd name="T105" fmla="*/ 2147483647 h 481"/>
              <a:gd name="T106" fmla="*/ 2147483647 w 491"/>
              <a:gd name="T107" fmla="*/ 2147483647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FF0000"/>
          </a:solidFill>
          <a:ln w="9525" cap="flat" cmpd="sng">
            <a:solidFill>
              <a:srgbClr val="FFFFFF"/>
            </a:solidFill>
            <a:prstDash val="solid"/>
            <a:round/>
            <a:headEnd type="none" w="med" len="med"/>
            <a:tailEnd type="none" w="med" len="med"/>
          </a:ln>
        </p:spPr>
        <p:txBody>
          <a:bodyPr/>
          <a:lstStyle/>
          <a:p>
            <a:endParaRPr lang="en-AU"/>
          </a:p>
        </p:txBody>
      </p:sp>
      <p:sp>
        <p:nvSpPr>
          <p:cNvPr id="2293" name="Freeform 341"/>
          <p:cNvSpPr>
            <a:spLocks/>
          </p:cNvSpPr>
          <p:nvPr>
            <p:custDataLst>
              <p:tags r:id="rId244"/>
            </p:custDataLst>
          </p:nvPr>
        </p:nvSpPr>
        <p:spPr bwMode="auto">
          <a:xfrm>
            <a:off x="5851525" y="2527300"/>
            <a:ext cx="53975" cy="60325"/>
          </a:xfrm>
          <a:custGeom>
            <a:avLst/>
            <a:gdLst>
              <a:gd name="T0" fmla="*/ 0 w 133"/>
              <a:gd name="T1" fmla="*/ 2147483647 h 117"/>
              <a:gd name="T2" fmla="*/ 2147483647 w 133"/>
              <a:gd name="T3" fmla="*/ 0 h 117"/>
              <a:gd name="T4" fmla="*/ 2147483647 w 133"/>
              <a:gd name="T5" fmla="*/ 2147483647 h 117"/>
              <a:gd name="T6" fmla="*/ 2147483647 w 133"/>
              <a:gd name="T7" fmla="*/ 2147483647 h 117"/>
              <a:gd name="T8" fmla="*/ 2147483647 w 133"/>
              <a:gd name="T9" fmla="*/ 2147483647 h 117"/>
              <a:gd name="T10" fmla="*/ 2147483647 w 133"/>
              <a:gd name="T11" fmla="*/ 2147483647 h 117"/>
              <a:gd name="T12" fmla="*/ 2147483647 w 133"/>
              <a:gd name="T13" fmla="*/ 2147483647 h 117"/>
              <a:gd name="T14" fmla="*/ 2147483647 w 133"/>
              <a:gd name="T15" fmla="*/ 2147483647 h 117"/>
              <a:gd name="T16" fmla="*/ 2147483647 w 133"/>
              <a:gd name="T17" fmla="*/ 2147483647 h 117"/>
              <a:gd name="T18" fmla="*/ 2147483647 w 133"/>
              <a:gd name="T19" fmla="*/ 2147483647 h 117"/>
              <a:gd name="T20" fmla="*/ 2147483647 w 133"/>
              <a:gd name="T21" fmla="*/ 2147483647 h 117"/>
              <a:gd name="T22" fmla="*/ 2147483647 w 133"/>
              <a:gd name="T23" fmla="*/ 2147483647 h 117"/>
              <a:gd name="T24" fmla="*/ 2147483647 w 133"/>
              <a:gd name="T25" fmla="*/ 2147483647 h 117"/>
              <a:gd name="T26" fmla="*/ 2147483647 w 133"/>
              <a:gd name="T27" fmla="*/ 2147483647 h 117"/>
              <a:gd name="T28" fmla="*/ 2147483647 w 133"/>
              <a:gd name="T29" fmla="*/ 2147483647 h 117"/>
              <a:gd name="T30" fmla="*/ 2147483647 w 133"/>
              <a:gd name="T31" fmla="*/ 2147483647 h 117"/>
              <a:gd name="T32" fmla="*/ 2147483647 w 133"/>
              <a:gd name="T33" fmla="*/ 2147483647 h 117"/>
              <a:gd name="T34" fmla="*/ 2147483647 w 133"/>
              <a:gd name="T35" fmla="*/ 2147483647 h 117"/>
              <a:gd name="T36" fmla="*/ 2147483647 w 133"/>
              <a:gd name="T37" fmla="*/ 2147483647 h 117"/>
              <a:gd name="T38" fmla="*/ 2147483647 w 133"/>
              <a:gd name="T39" fmla="*/ 2147483647 h 117"/>
              <a:gd name="T40" fmla="*/ 2147483647 w 133"/>
              <a:gd name="T41" fmla="*/ 2147483647 h 117"/>
              <a:gd name="T42" fmla="*/ 2147483647 w 133"/>
              <a:gd name="T43" fmla="*/ 2147483647 h 117"/>
              <a:gd name="T44" fmla="*/ 2147483647 w 133"/>
              <a:gd name="T45" fmla="*/ 2147483647 h 117"/>
              <a:gd name="T46" fmla="*/ 2147483647 w 133"/>
              <a:gd name="T47" fmla="*/ 2147483647 h 117"/>
              <a:gd name="T48" fmla="*/ 2147483647 w 133"/>
              <a:gd name="T49" fmla="*/ 2147483647 h 117"/>
              <a:gd name="T50" fmla="*/ 0 w 133"/>
              <a:gd name="T51" fmla="*/ 2147483647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0000FF"/>
          </a:solidFill>
          <a:ln w="9525" cmpd="sng">
            <a:solidFill>
              <a:srgbClr val="FFFFFF"/>
            </a:solidFill>
            <a:prstDash val="solid"/>
            <a:round/>
            <a:headEnd/>
            <a:tailEnd/>
          </a:ln>
        </p:spPr>
        <p:txBody>
          <a:bodyPr/>
          <a:lstStyle/>
          <a:p>
            <a:endParaRPr lang="en-AU"/>
          </a:p>
        </p:txBody>
      </p:sp>
      <p:sp>
        <p:nvSpPr>
          <p:cNvPr id="2294" name="Freeform 342"/>
          <p:cNvSpPr>
            <a:spLocks/>
          </p:cNvSpPr>
          <p:nvPr>
            <p:custDataLst>
              <p:tags r:id="rId245"/>
            </p:custDataLst>
          </p:nvPr>
        </p:nvSpPr>
        <p:spPr bwMode="auto">
          <a:xfrm>
            <a:off x="4308475" y="1931988"/>
            <a:ext cx="220663" cy="177800"/>
          </a:xfrm>
          <a:custGeom>
            <a:avLst/>
            <a:gdLst>
              <a:gd name="T0" fmla="*/ 2147483647 w 505"/>
              <a:gd name="T1" fmla="*/ 2147483647 h 339"/>
              <a:gd name="T2" fmla="*/ 2147483647 w 505"/>
              <a:gd name="T3" fmla="*/ 2147483647 h 339"/>
              <a:gd name="T4" fmla="*/ 2147483647 w 505"/>
              <a:gd name="T5" fmla="*/ 2147483647 h 339"/>
              <a:gd name="T6" fmla="*/ 2147483647 w 505"/>
              <a:gd name="T7" fmla="*/ 2147483647 h 339"/>
              <a:gd name="T8" fmla="*/ 2147483647 w 505"/>
              <a:gd name="T9" fmla="*/ 2147483647 h 339"/>
              <a:gd name="T10" fmla="*/ 2147483647 w 505"/>
              <a:gd name="T11" fmla="*/ 2147483647 h 339"/>
              <a:gd name="T12" fmla="*/ 2147483647 w 505"/>
              <a:gd name="T13" fmla="*/ 2147483647 h 339"/>
              <a:gd name="T14" fmla="*/ 2147483647 w 505"/>
              <a:gd name="T15" fmla="*/ 2147483647 h 339"/>
              <a:gd name="T16" fmla="*/ 2147483647 w 505"/>
              <a:gd name="T17" fmla="*/ 2147483647 h 339"/>
              <a:gd name="T18" fmla="*/ 2147483647 w 505"/>
              <a:gd name="T19" fmla="*/ 2147483647 h 339"/>
              <a:gd name="T20" fmla="*/ 2147483647 w 505"/>
              <a:gd name="T21" fmla="*/ 2147483647 h 339"/>
              <a:gd name="T22" fmla="*/ 2147483647 w 505"/>
              <a:gd name="T23" fmla="*/ 2147483647 h 339"/>
              <a:gd name="T24" fmla="*/ 2147483647 w 505"/>
              <a:gd name="T25" fmla="*/ 2147483647 h 339"/>
              <a:gd name="T26" fmla="*/ 2147483647 w 505"/>
              <a:gd name="T27" fmla="*/ 2147483647 h 339"/>
              <a:gd name="T28" fmla="*/ 2147483647 w 505"/>
              <a:gd name="T29" fmla="*/ 2147483647 h 339"/>
              <a:gd name="T30" fmla="*/ 2147483647 w 505"/>
              <a:gd name="T31" fmla="*/ 2147483647 h 339"/>
              <a:gd name="T32" fmla="*/ 2147483647 w 505"/>
              <a:gd name="T33" fmla="*/ 2147483647 h 339"/>
              <a:gd name="T34" fmla="*/ 2147483647 w 505"/>
              <a:gd name="T35" fmla="*/ 2147483647 h 339"/>
              <a:gd name="T36" fmla="*/ 2147483647 w 505"/>
              <a:gd name="T37" fmla="*/ 2147483647 h 339"/>
              <a:gd name="T38" fmla="*/ 2147483647 w 505"/>
              <a:gd name="T39" fmla="*/ 2147483647 h 339"/>
              <a:gd name="T40" fmla="*/ 2147483647 w 505"/>
              <a:gd name="T41" fmla="*/ 2147483647 h 339"/>
              <a:gd name="T42" fmla="*/ 2147483647 w 505"/>
              <a:gd name="T43" fmla="*/ 2147483647 h 339"/>
              <a:gd name="T44" fmla="*/ 2147483647 w 505"/>
              <a:gd name="T45" fmla="*/ 2147483647 h 339"/>
              <a:gd name="T46" fmla="*/ 2147483647 w 505"/>
              <a:gd name="T47" fmla="*/ 2147483647 h 339"/>
              <a:gd name="T48" fmla="*/ 2147483647 w 505"/>
              <a:gd name="T49" fmla="*/ 2147483647 h 339"/>
              <a:gd name="T50" fmla="*/ 2147483647 w 505"/>
              <a:gd name="T51" fmla="*/ 2147483647 h 339"/>
              <a:gd name="T52" fmla="*/ 2147483647 w 505"/>
              <a:gd name="T53" fmla="*/ 2147483647 h 339"/>
              <a:gd name="T54" fmla="*/ 2147483647 w 505"/>
              <a:gd name="T55" fmla="*/ 2147483647 h 339"/>
              <a:gd name="T56" fmla="*/ 2147483647 w 505"/>
              <a:gd name="T57" fmla="*/ 2147483647 h 339"/>
              <a:gd name="T58" fmla="*/ 2147483647 w 505"/>
              <a:gd name="T59" fmla="*/ 2147483647 h 339"/>
              <a:gd name="T60" fmla="*/ 2147483647 w 505"/>
              <a:gd name="T61" fmla="*/ 2147483647 h 339"/>
              <a:gd name="T62" fmla="*/ 2147483647 w 505"/>
              <a:gd name="T63" fmla="*/ 2147483647 h 339"/>
              <a:gd name="T64" fmla="*/ 2147483647 w 505"/>
              <a:gd name="T65" fmla="*/ 2147483647 h 339"/>
              <a:gd name="T66" fmla="*/ 2147483647 w 505"/>
              <a:gd name="T67" fmla="*/ 2147483647 h 339"/>
              <a:gd name="T68" fmla="*/ 2147483647 w 505"/>
              <a:gd name="T69" fmla="*/ 2147483647 h 339"/>
              <a:gd name="T70" fmla="*/ 2147483647 w 505"/>
              <a:gd name="T71" fmla="*/ 2147483647 h 339"/>
              <a:gd name="T72" fmla="*/ 2147483647 w 505"/>
              <a:gd name="T73" fmla="*/ 2147483647 h 339"/>
              <a:gd name="T74" fmla="*/ 2147483647 w 505"/>
              <a:gd name="T75" fmla="*/ 2147483647 h 339"/>
              <a:gd name="T76" fmla="*/ 2147483647 w 505"/>
              <a:gd name="T77" fmla="*/ 2147483647 h 339"/>
              <a:gd name="T78" fmla="*/ 2147483647 w 505"/>
              <a:gd name="T79" fmla="*/ 2147483647 h 339"/>
              <a:gd name="T80" fmla="*/ 2147483647 w 505"/>
              <a:gd name="T81" fmla="*/ 2147483647 h 339"/>
              <a:gd name="T82" fmla="*/ 2147483647 w 505"/>
              <a:gd name="T83" fmla="*/ 2147483647 h 339"/>
              <a:gd name="T84" fmla="*/ 2147483647 w 505"/>
              <a:gd name="T85" fmla="*/ 2147483647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295" name="Freeform 343"/>
          <p:cNvSpPr>
            <a:spLocks/>
          </p:cNvSpPr>
          <p:nvPr>
            <p:custDataLst>
              <p:tags r:id="rId246"/>
            </p:custDataLst>
          </p:nvPr>
        </p:nvSpPr>
        <p:spPr bwMode="auto">
          <a:xfrm>
            <a:off x="4371975" y="2136775"/>
            <a:ext cx="146050" cy="71438"/>
          </a:xfrm>
          <a:custGeom>
            <a:avLst/>
            <a:gdLst>
              <a:gd name="T0" fmla="*/ 2147483647 w 338"/>
              <a:gd name="T1" fmla="*/ 0 h 141"/>
              <a:gd name="T2" fmla="*/ 2147483647 w 338"/>
              <a:gd name="T3" fmla="*/ 0 h 141"/>
              <a:gd name="T4" fmla="*/ 2147483647 w 338"/>
              <a:gd name="T5" fmla="*/ 2147483647 h 141"/>
              <a:gd name="T6" fmla="*/ 2147483647 w 338"/>
              <a:gd name="T7" fmla="*/ 2147483647 h 141"/>
              <a:gd name="T8" fmla="*/ 2147483647 w 338"/>
              <a:gd name="T9" fmla="*/ 2147483647 h 141"/>
              <a:gd name="T10" fmla="*/ 2147483647 w 338"/>
              <a:gd name="T11" fmla="*/ 2147483647 h 141"/>
              <a:gd name="T12" fmla="*/ 2147483647 w 338"/>
              <a:gd name="T13" fmla="*/ 2147483647 h 141"/>
              <a:gd name="T14" fmla="*/ 2147483647 w 338"/>
              <a:gd name="T15" fmla="*/ 2147483647 h 141"/>
              <a:gd name="T16" fmla="*/ 2147483647 w 338"/>
              <a:gd name="T17" fmla="*/ 2147483647 h 141"/>
              <a:gd name="T18" fmla="*/ 2147483647 w 338"/>
              <a:gd name="T19" fmla="*/ 2147483647 h 141"/>
              <a:gd name="T20" fmla="*/ 2147483647 w 338"/>
              <a:gd name="T21" fmla="*/ 2147483647 h 141"/>
              <a:gd name="T22" fmla="*/ 2147483647 w 338"/>
              <a:gd name="T23" fmla="*/ 2147483647 h 141"/>
              <a:gd name="T24" fmla="*/ 2147483647 w 338"/>
              <a:gd name="T25" fmla="*/ 2147483647 h 141"/>
              <a:gd name="T26" fmla="*/ 2147483647 w 338"/>
              <a:gd name="T27" fmla="*/ 2147483647 h 141"/>
              <a:gd name="T28" fmla="*/ 2147483647 w 338"/>
              <a:gd name="T29" fmla="*/ 2147483647 h 141"/>
              <a:gd name="T30" fmla="*/ 2147483647 w 338"/>
              <a:gd name="T31" fmla="*/ 2147483647 h 141"/>
              <a:gd name="T32" fmla="*/ 2147483647 w 338"/>
              <a:gd name="T33" fmla="*/ 2147483647 h 141"/>
              <a:gd name="T34" fmla="*/ 2147483647 w 338"/>
              <a:gd name="T35" fmla="*/ 2147483647 h 141"/>
              <a:gd name="T36" fmla="*/ 2147483647 w 338"/>
              <a:gd name="T37" fmla="*/ 2147483647 h 141"/>
              <a:gd name="T38" fmla="*/ 2147483647 w 338"/>
              <a:gd name="T39" fmla="*/ 2147483647 h 141"/>
              <a:gd name="T40" fmla="*/ 2147483647 w 338"/>
              <a:gd name="T41" fmla="*/ 2147483647 h 141"/>
              <a:gd name="T42" fmla="*/ 0 w 338"/>
              <a:gd name="T43" fmla="*/ 2147483647 h 141"/>
              <a:gd name="T44" fmla="*/ 2147483647 w 338"/>
              <a:gd name="T45" fmla="*/ 2147483647 h 141"/>
              <a:gd name="T46" fmla="*/ 2147483647 w 338"/>
              <a:gd name="T47" fmla="*/ 2147483647 h 141"/>
              <a:gd name="T48" fmla="*/ 2147483647 w 338"/>
              <a:gd name="T49" fmla="*/ 2147483647 h 141"/>
              <a:gd name="T50" fmla="*/ 2147483647 w 338"/>
              <a:gd name="T51" fmla="*/ 2147483647 h 141"/>
              <a:gd name="T52" fmla="*/ 2147483647 w 338"/>
              <a:gd name="T53" fmla="*/ 2147483647 h 141"/>
              <a:gd name="T54" fmla="*/ 2147483647 w 338"/>
              <a:gd name="T55" fmla="*/ 2147483647 h 141"/>
              <a:gd name="T56" fmla="*/ 2147483647 w 338"/>
              <a:gd name="T57" fmla="*/ 2147483647 h 141"/>
              <a:gd name="T58" fmla="*/ 2147483647 w 338"/>
              <a:gd name="T59" fmla="*/ 2147483647 h 141"/>
              <a:gd name="T60" fmla="*/ 2147483647 w 338"/>
              <a:gd name="T61" fmla="*/ 2147483647 h 141"/>
              <a:gd name="T62" fmla="*/ 2147483647 w 338"/>
              <a:gd name="T63" fmla="*/ 2147483647 h 141"/>
              <a:gd name="T64" fmla="*/ 2147483647 w 338"/>
              <a:gd name="T65" fmla="*/ 2147483647 h 141"/>
              <a:gd name="T66" fmla="*/ 2147483647 w 338"/>
              <a:gd name="T67" fmla="*/ 2147483647 h 141"/>
              <a:gd name="T68" fmla="*/ 2147483647 w 338"/>
              <a:gd name="T69" fmla="*/ 2147483647 h 141"/>
              <a:gd name="T70" fmla="*/ 2147483647 w 338"/>
              <a:gd name="T71" fmla="*/ 2147483647 h 141"/>
              <a:gd name="T72" fmla="*/ 2147483647 w 338"/>
              <a:gd name="T73" fmla="*/ 2147483647 h 141"/>
              <a:gd name="T74" fmla="*/ 2147483647 w 338"/>
              <a:gd name="T75" fmla="*/ 2147483647 h 141"/>
              <a:gd name="T76" fmla="*/ 2147483647 w 338"/>
              <a:gd name="T77" fmla="*/ 2147483647 h 141"/>
              <a:gd name="T78" fmla="*/ 2147483647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296" name="Freeform 344"/>
          <p:cNvSpPr>
            <a:spLocks/>
          </p:cNvSpPr>
          <p:nvPr>
            <p:custDataLst>
              <p:tags r:id="rId247"/>
            </p:custDataLst>
          </p:nvPr>
        </p:nvSpPr>
        <p:spPr bwMode="auto">
          <a:xfrm>
            <a:off x="4471988" y="1792288"/>
            <a:ext cx="111125" cy="65087"/>
          </a:xfrm>
          <a:custGeom>
            <a:avLst/>
            <a:gdLst>
              <a:gd name="T0" fmla="*/ 2147483647 w 259"/>
              <a:gd name="T1" fmla="*/ 2147483647 h 129"/>
              <a:gd name="T2" fmla="*/ 2147483647 w 259"/>
              <a:gd name="T3" fmla="*/ 2147483647 h 129"/>
              <a:gd name="T4" fmla="*/ 2147483647 w 259"/>
              <a:gd name="T5" fmla="*/ 2147483647 h 129"/>
              <a:gd name="T6" fmla="*/ 2147483647 w 259"/>
              <a:gd name="T7" fmla="*/ 2147483647 h 129"/>
              <a:gd name="T8" fmla="*/ 2147483647 w 259"/>
              <a:gd name="T9" fmla="*/ 2147483647 h 129"/>
              <a:gd name="T10" fmla="*/ 2147483647 w 259"/>
              <a:gd name="T11" fmla="*/ 2147483647 h 129"/>
              <a:gd name="T12" fmla="*/ 2147483647 w 259"/>
              <a:gd name="T13" fmla="*/ 2147483647 h 129"/>
              <a:gd name="T14" fmla="*/ 2147483647 w 259"/>
              <a:gd name="T15" fmla="*/ 2147483647 h 129"/>
              <a:gd name="T16" fmla="*/ 2147483647 w 259"/>
              <a:gd name="T17" fmla="*/ 2147483647 h 129"/>
              <a:gd name="T18" fmla="*/ 2147483647 w 259"/>
              <a:gd name="T19" fmla="*/ 2147483647 h 129"/>
              <a:gd name="T20" fmla="*/ 2147483647 w 259"/>
              <a:gd name="T21" fmla="*/ 2147483647 h 129"/>
              <a:gd name="T22" fmla="*/ 2147483647 w 259"/>
              <a:gd name="T23" fmla="*/ 2147483647 h 129"/>
              <a:gd name="T24" fmla="*/ 2147483647 w 259"/>
              <a:gd name="T25" fmla="*/ 2147483647 h 129"/>
              <a:gd name="T26" fmla="*/ 2147483647 w 259"/>
              <a:gd name="T27" fmla="*/ 2147483647 h 129"/>
              <a:gd name="T28" fmla="*/ 2147483647 w 259"/>
              <a:gd name="T29" fmla="*/ 2147483647 h 129"/>
              <a:gd name="T30" fmla="*/ 2147483647 w 259"/>
              <a:gd name="T31" fmla="*/ 2147483647 h 129"/>
              <a:gd name="T32" fmla="*/ 2147483647 w 259"/>
              <a:gd name="T33" fmla="*/ 2147483647 h 129"/>
              <a:gd name="T34" fmla="*/ 2147483647 w 259"/>
              <a:gd name="T35" fmla="*/ 2147483647 h 129"/>
              <a:gd name="T36" fmla="*/ 2147483647 w 259"/>
              <a:gd name="T37" fmla="*/ 2147483647 h 129"/>
              <a:gd name="T38" fmla="*/ 2147483647 w 259"/>
              <a:gd name="T39" fmla="*/ 2147483647 h 129"/>
              <a:gd name="T40" fmla="*/ 2147483647 w 259"/>
              <a:gd name="T41" fmla="*/ 2147483647 h 129"/>
              <a:gd name="T42" fmla="*/ 2147483647 w 259"/>
              <a:gd name="T43" fmla="*/ 2147483647 h 129"/>
              <a:gd name="T44" fmla="*/ 2147483647 w 259"/>
              <a:gd name="T45" fmla="*/ 0 h 129"/>
              <a:gd name="T46" fmla="*/ 2147483647 w 259"/>
              <a:gd name="T47" fmla="*/ 0 h 129"/>
              <a:gd name="T48" fmla="*/ 2147483647 w 259"/>
              <a:gd name="T49" fmla="*/ 0 h 129"/>
              <a:gd name="T50" fmla="*/ 2147483647 w 259"/>
              <a:gd name="T51" fmla="*/ 0 h 129"/>
              <a:gd name="T52" fmla="*/ 2147483647 w 259"/>
              <a:gd name="T53" fmla="*/ 2147483647 h 129"/>
              <a:gd name="T54" fmla="*/ 2147483647 w 259"/>
              <a:gd name="T55" fmla="*/ 2147483647 h 129"/>
              <a:gd name="T56" fmla="*/ 2147483647 w 259"/>
              <a:gd name="T57" fmla="*/ 2147483647 h 129"/>
              <a:gd name="T58" fmla="*/ 2147483647 w 259"/>
              <a:gd name="T59" fmla="*/ 2147483647 h 129"/>
              <a:gd name="T60" fmla="*/ 2147483647 w 259"/>
              <a:gd name="T61" fmla="*/ 2147483647 h 129"/>
              <a:gd name="T62" fmla="*/ 2147483647 w 259"/>
              <a:gd name="T63" fmla="*/ 2147483647 h 129"/>
              <a:gd name="T64" fmla="*/ 2147483647 w 259"/>
              <a:gd name="T65" fmla="*/ 2147483647 h 129"/>
              <a:gd name="T66" fmla="*/ 0 w 259"/>
              <a:gd name="T67" fmla="*/ 2147483647 h 129"/>
              <a:gd name="T68" fmla="*/ 0 w 259"/>
              <a:gd name="T69" fmla="*/ 2147483647 h 129"/>
              <a:gd name="T70" fmla="*/ 0 w 259"/>
              <a:gd name="T71" fmla="*/ 2147483647 h 129"/>
              <a:gd name="T72" fmla="*/ 2147483647 w 259"/>
              <a:gd name="T73" fmla="*/ 2147483647 h 129"/>
              <a:gd name="T74" fmla="*/ 2147483647 w 259"/>
              <a:gd name="T75" fmla="*/ 2147483647 h 129"/>
              <a:gd name="T76" fmla="*/ 2147483647 w 259"/>
              <a:gd name="T77" fmla="*/ 2147483647 h 129"/>
              <a:gd name="T78" fmla="*/ 2147483647 w 259"/>
              <a:gd name="T79" fmla="*/ 2147483647 h 129"/>
              <a:gd name="T80" fmla="*/ 2147483647 w 259"/>
              <a:gd name="T81" fmla="*/ 2147483647 h 129"/>
              <a:gd name="T82" fmla="*/ 2147483647 w 259"/>
              <a:gd name="T83" fmla="*/ 2147483647 h 129"/>
              <a:gd name="T84" fmla="*/ 2147483647 w 259"/>
              <a:gd name="T85" fmla="*/ 2147483647 h 129"/>
              <a:gd name="T86" fmla="*/ 2147483647 w 259"/>
              <a:gd name="T87" fmla="*/ 2147483647 h 129"/>
              <a:gd name="T88" fmla="*/ 2147483647 w 259"/>
              <a:gd name="T89" fmla="*/ 2147483647 h 129"/>
              <a:gd name="T90" fmla="*/ 2147483647 w 259"/>
              <a:gd name="T91" fmla="*/ 2147483647 h 129"/>
              <a:gd name="T92" fmla="*/ 2147483647 w 259"/>
              <a:gd name="T93" fmla="*/ 2147483647 h 129"/>
              <a:gd name="T94" fmla="*/ 2147483647 w 259"/>
              <a:gd name="T95" fmla="*/ 2147483647 h 129"/>
              <a:gd name="T96" fmla="*/ 2147483647 w 259"/>
              <a:gd name="T97" fmla="*/ 2147483647 h 129"/>
              <a:gd name="T98" fmla="*/ 2147483647 w 259"/>
              <a:gd name="T99" fmla="*/ 2147483647 h 129"/>
              <a:gd name="T100" fmla="*/ 2147483647 w 259"/>
              <a:gd name="T101" fmla="*/ 2147483647 h 129"/>
              <a:gd name="T102" fmla="*/ 2147483647 w 259"/>
              <a:gd name="T103" fmla="*/ 2147483647 h 129"/>
              <a:gd name="T104" fmla="*/ 2147483647 w 259"/>
              <a:gd name="T105" fmla="*/ 2147483647 h 129"/>
              <a:gd name="T106" fmla="*/ 2147483647 w 259"/>
              <a:gd name="T107" fmla="*/ 2147483647 h 129"/>
              <a:gd name="T108" fmla="*/ 2147483647 w 259"/>
              <a:gd name="T109" fmla="*/ 2147483647 h 129"/>
              <a:gd name="T110" fmla="*/ 2147483647 w 259"/>
              <a:gd name="T111" fmla="*/ 2147483647 h 129"/>
              <a:gd name="T112" fmla="*/ 2147483647 w 259"/>
              <a:gd name="T113" fmla="*/ 2147483647 h 129"/>
              <a:gd name="T114" fmla="*/ 2147483647 w 259"/>
              <a:gd name="T115" fmla="*/ 2147483647 h 129"/>
              <a:gd name="T116" fmla="*/ 2147483647 w 259"/>
              <a:gd name="T117" fmla="*/ 214748364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297" name="Freeform 345"/>
          <p:cNvSpPr>
            <a:spLocks/>
          </p:cNvSpPr>
          <p:nvPr>
            <p:custDataLst>
              <p:tags r:id="rId248"/>
            </p:custDataLst>
          </p:nvPr>
        </p:nvSpPr>
        <p:spPr bwMode="auto">
          <a:xfrm>
            <a:off x="4484688" y="2139950"/>
            <a:ext cx="179387" cy="142875"/>
          </a:xfrm>
          <a:custGeom>
            <a:avLst/>
            <a:gdLst>
              <a:gd name="T0" fmla="*/ 2147483647 w 425"/>
              <a:gd name="T1" fmla="*/ 2147483647 h 272"/>
              <a:gd name="T2" fmla="*/ 2147483647 w 425"/>
              <a:gd name="T3" fmla="*/ 2147483647 h 272"/>
              <a:gd name="T4" fmla="*/ 2147483647 w 425"/>
              <a:gd name="T5" fmla="*/ 2147483647 h 272"/>
              <a:gd name="T6" fmla="*/ 2147483647 w 425"/>
              <a:gd name="T7" fmla="*/ 2147483647 h 272"/>
              <a:gd name="T8" fmla="*/ 2147483647 w 425"/>
              <a:gd name="T9" fmla="*/ 2147483647 h 272"/>
              <a:gd name="T10" fmla="*/ 2147483647 w 425"/>
              <a:gd name="T11" fmla="*/ 2147483647 h 272"/>
              <a:gd name="T12" fmla="*/ 2147483647 w 425"/>
              <a:gd name="T13" fmla="*/ 2147483647 h 272"/>
              <a:gd name="T14" fmla="*/ 2147483647 w 425"/>
              <a:gd name="T15" fmla="*/ 2147483647 h 272"/>
              <a:gd name="T16" fmla="*/ 2147483647 w 425"/>
              <a:gd name="T17" fmla="*/ 2147483647 h 272"/>
              <a:gd name="T18" fmla="*/ 2147483647 w 425"/>
              <a:gd name="T19" fmla="*/ 2147483647 h 272"/>
              <a:gd name="T20" fmla="*/ 2147483647 w 425"/>
              <a:gd name="T21" fmla="*/ 2147483647 h 272"/>
              <a:gd name="T22" fmla="*/ 2147483647 w 425"/>
              <a:gd name="T23" fmla="*/ 2147483647 h 272"/>
              <a:gd name="T24" fmla="*/ 2147483647 w 425"/>
              <a:gd name="T25" fmla="*/ 2147483647 h 272"/>
              <a:gd name="T26" fmla="*/ 2147483647 w 425"/>
              <a:gd name="T27" fmla="*/ 2147483647 h 272"/>
              <a:gd name="T28" fmla="*/ 2147483647 w 425"/>
              <a:gd name="T29" fmla="*/ 2147483647 h 272"/>
              <a:gd name="T30" fmla="*/ 2147483647 w 425"/>
              <a:gd name="T31" fmla="*/ 2147483647 h 272"/>
              <a:gd name="T32" fmla="*/ 2147483647 w 425"/>
              <a:gd name="T33" fmla="*/ 2147483647 h 272"/>
              <a:gd name="T34" fmla="*/ 2147483647 w 425"/>
              <a:gd name="T35" fmla="*/ 2147483647 h 272"/>
              <a:gd name="T36" fmla="*/ 2147483647 w 425"/>
              <a:gd name="T37" fmla="*/ 2147483647 h 272"/>
              <a:gd name="T38" fmla="*/ 0 w 425"/>
              <a:gd name="T39" fmla="*/ 2147483647 h 272"/>
              <a:gd name="T40" fmla="*/ 2147483647 w 425"/>
              <a:gd name="T41" fmla="*/ 2147483647 h 272"/>
              <a:gd name="T42" fmla="*/ 2147483647 w 425"/>
              <a:gd name="T43" fmla="*/ 2147483647 h 272"/>
              <a:gd name="T44" fmla="*/ 2147483647 w 425"/>
              <a:gd name="T45" fmla="*/ 2147483647 h 272"/>
              <a:gd name="T46" fmla="*/ 2147483647 w 425"/>
              <a:gd name="T47" fmla="*/ 2147483647 h 272"/>
              <a:gd name="T48" fmla="*/ 2147483647 w 425"/>
              <a:gd name="T49" fmla="*/ 2147483647 h 272"/>
              <a:gd name="T50" fmla="*/ 2147483647 w 425"/>
              <a:gd name="T51" fmla="*/ 2147483647 h 272"/>
              <a:gd name="T52" fmla="*/ 2147483647 w 425"/>
              <a:gd name="T53" fmla="*/ 2147483647 h 272"/>
              <a:gd name="T54" fmla="*/ 2147483647 w 425"/>
              <a:gd name="T55" fmla="*/ 2147483647 h 272"/>
              <a:gd name="T56" fmla="*/ 2147483647 w 425"/>
              <a:gd name="T57" fmla="*/ 2147483647 h 272"/>
              <a:gd name="T58" fmla="*/ 2147483647 w 425"/>
              <a:gd name="T59" fmla="*/ 2147483647 h 272"/>
              <a:gd name="T60" fmla="*/ 2147483647 w 425"/>
              <a:gd name="T61" fmla="*/ 2147483647 h 272"/>
              <a:gd name="T62" fmla="*/ 2147483647 w 425"/>
              <a:gd name="T63" fmla="*/ 2147483647 h 272"/>
              <a:gd name="T64" fmla="*/ 2147483647 w 425"/>
              <a:gd name="T65" fmla="*/ 2147483647 h 272"/>
              <a:gd name="T66" fmla="*/ 2147483647 w 425"/>
              <a:gd name="T67" fmla="*/ 0 h 272"/>
              <a:gd name="T68" fmla="*/ 2147483647 w 425"/>
              <a:gd name="T69" fmla="*/ 2147483647 h 272"/>
              <a:gd name="T70" fmla="*/ 2147483647 w 425"/>
              <a:gd name="T71" fmla="*/ 2147483647 h 272"/>
              <a:gd name="T72" fmla="*/ 2147483647 w 425"/>
              <a:gd name="T73" fmla="*/ 2147483647 h 272"/>
              <a:gd name="T74" fmla="*/ 2147483647 w 425"/>
              <a:gd name="T75" fmla="*/ 2147483647 h 272"/>
              <a:gd name="T76" fmla="*/ 2147483647 w 425"/>
              <a:gd name="T77" fmla="*/ 2147483647 h 272"/>
              <a:gd name="T78" fmla="*/ 2147483647 w 425"/>
              <a:gd name="T79" fmla="*/ 2147483647 h 272"/>
              <a:gd name="T80" fmla="*/ 2147483647 w 425"/>
              <a:gd name="T81" fmla="*/ 2147483647 h 272"/>
              <a:gd name="T82" fmla="*/ 2147483647 w 425"/>
              <a:gd name="T83" fmla="*/ 2147483647 h 272"/>
              <a:gd name="T84" fmla="*/ 2147483647 w 425"/>
              <a:gd name="T85" fmla="*/ 2147483647 h 272"/>
              <a:gd name="T86" fmla="*/ 2147483647 w 425"/>
              <a:gd name="T87" fmla="*/ 2147483647 h 272"/>
              <a:gd name="T88" fmla="*/ 2147483647 w 425"/>
              <a:gd name="T89" fmla="*/ 2147483647 h 272"/>
              <a:gd name="T90" fmla="*/ 2147483647 w 425"/>
              <a:gd name="T91" fmla="*/ 2147483647 h 272"/>
              <a:gd name="T92" fmla="*/ 2147483647 w 425"/>
              <a:gd name="T93" fmla="*/ 2147483647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298" name="Freeform 346"/>
          <p:cNvSpPr>
            <a:spLocks/>
          </p:cNvSpPr>
          <p:nvPr>
            <p:custDataLst>
              <p:tags r:id="rId249"/>
            </p:custDataLst>
          </p:nvPr>
        </p:nvSpPr>
        <p:spPr bwMode="auto">
          <a:xfrm>
            <a:off x="2484438" y="3178175"/>
            <a:ext cx="14287" cy="55563"/>
          </a:xfrm>
          <a:custGeom>
            <a:avLst/>
            <a:gdLst>
              <a:gd name="T0" fmla="*/ 2147483647 w 33"/>
              <a:gd name="T1" fmla="*/ 2147483647 h 31"/>
              <a:gd name="T2" fmla="*/ 0 w 33"/>
              <a:gd name="T3" fmla="*/ 2147483647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0 h 31"/>
              <a:gd name="T18" fmla="*/ 2147483647 w 33"/>
              <a:gd name="T19" fmla="*/ 0 h 31"/>
              <a:gd name="T20" fmla="*/ 2147483647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mpd="sng">
            <a:solidFill>
              <a:srgbClr val="FFFFFF"/>
            </a:solidFill>
            <a:prstDash val="solid"/>
            <a:round/>
            <a:headEnd/>
            <a:tailEnd/>
          </a:ln>
        </p:spPr>
        <p:txBody>
          <a:bodyPr/>
          <a:lstStyle/>
          <a:p>
            <a:endParaRPr lang="en-AU"/>
          </a:p>
        </p:txBody>
      </p:sp>
      <p:sp>
        <p:nvSpPr>
          <p:cNvPr id="2299" name="Freeform 347"/>
          <p:cNvSpPr>
            <a:spLocks/>
          </p:cNvSpPr>
          <p:nvPr>
            <p:custDataLst>
              <p:tags r:id="rId250"/>
            </p:custDataLst>
          </p:nvPr>
        </p:nvSpPr>
        <p:spPr bwMode="auto">
          <a:xfrm>
            <a:off x="4589463" y="2132013"/>
            <a:ext cx="85725" cy="79375"/>
          </a:xfrm>
          <a:custGeom>
            <a:avLst/>
            <a:gdLst>
              <a:gd name="T0" fmla="*/ 2147483647 w 192"/>
              <a:gd name="T1" fmla="*/ 2147483647 h 154"/>
              <a:gd name="T2" fmla="*/ 2147483647 w 192"/>
              <a:gd name="T3" fmla="*/ 0 h 154"/>
              <a:gd name="T4" fmla="*/ 2147483647 w 192"/>
              <a:gd name="T5" fmla="*/ 2147483647 h 154"/>
              <a:gd name="T6" fmla="*/ 2147483647 w 192"/>
              <a:gd name="T7" fmla="*/ 2147483647 h 154"/>
              <a:gd name="T8" fmla="*/ 2147483647 w 192"/>
              <a:gd name="T9" fmla="*/ 2147483647 h 154"/>
              <a:gd name="T10" fmla="*/ 2147483647 w 192"/>
              <a:gd name="T11" fmla="*/ 2147483647 h 154"/>
              <a:gd name="T12" fmla="*/ 2147483647 w 192"/>
              <a:gd name="T13" fmla="*/ 2147483647 h 154"/>
              <a:gd name="T14" fmla="*/ 2147483647 w 192"/>
              <a:gd name="T15" fmla="*/ 2147483647 h 154"/>
              <a:gd name="T16" fmla="*/ 2147483647 w 192"/>
              <a:gd name="T17" fmla="*/ 2147483647 h 154"/>
              <a:gd name="T18" fmla="*/ 2147483647 w 192"/>
              <a:gd name="T19" fmla="*/ 2147483647 h 154"/>
              <a:gd name="T20" fmla="*/ 2147483647 w 192"/>
              <a:gd name="T21" fmla="*/ 2147483647 h 154"/>
              <a:gd name="T22" fmla="*/ 2147483647 w 192"/>
              <a:gd name="T23" fmla="*/ 2147483647 h 154"/>
              <a:gd name="T24" fmla="*/ 2147483647 w 192"/>
              <a:gd name="T25" fmla="*/ 2147483647 h 154"/>
              <a:gd name="T26" fmla="*/ 2147483647 w 192"/>
              <a:gd name="T27" fmla="*/ 2147483647 h 154"/>
              <a:gd name="T28" fmla="*/ 2147483647 w 192"/>
              <a:gd name="T29" fmla="*/ 2147483647 h 154"/>
              <a:gd name="T30" fmla="*/ 2147483647 w 192"/>
              <a:gd name="T31" fmla="*/ 2147483647 h 154"/>
              <a:gd name="T32" fmla="*/ 2147483647 w 192"/>
              <a:gd name="T33" fmla="*/ 2147483647 h 154"/>
              <a:gd name="T34" fmla="*/ 2147483647 w 192"/>
              <a:gd name="T35" fmla="*/ 2147483647 h 154"/>
              <a:gd name="T36" fmla="*/ 2147483647 w 192"/>
              <a:gd name="T37" fmla="*/ 2147483647 h 154"/>
              <a:gd name="T38" fmla="*/ 2147483647 w 192"/>
              <a:gd name="T39" fmla="*/ 2147483647 h 154"/>
              <a:gd name="T40" fmla="*/ 2147483647 w 192"/>
              <a:gd name="T41" fmla="*/ 2147483647 h 154"/>
              <a:gd name="T42" fmla="*/ 2147483647 w 192"/>
              <a:gd name="T43" fmla="*/ 2147483647 h 154"/>
              <a:gd name="T44" fmla="*/ 2147483647 w 192"/>
              <a:gd name="T45" fmla="*/ 2147483647 h 154"/>
              <a:gd name="T46" fmla="*/ 2147483647 w 192"/>
              <a:gd name="T47" fmla="*/ 2147483647 h 154"/>
              <a:gd name="T48" fmla="*/ 2147483647 w 192"/>
              <a:gd name="T49" fmla="*/ 2147483647 h 154"/>
              <a:gd name="T50" fmla="*/ 2147483647 w 192"/>
              <a:gd name="T51" fmla="*/ 2147483647 h 154"/>
              <a:gd name="T52" fmla="*/ 0 w 192"/>
              <a:gd name="T53" fmla="*/ 2147483647 h 154"/>
              <a:gd name="T54" fmla="*/ 2147483647 w 192"/>
              <a:gd name="T55" fmla="*/ 2147483647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C0C0C0"/>
          </a:solidFill>
          <a:ln w="9525" cmpd="sng">
            <a:solidFill>
              <a:srgbClr val="FFFFFF"/>
            </a:solidFill>
            <a:prstDash val="solid"/>
            <a:round/>
            <a:headEnd/>
            <a:tailEnd/>
          </a:ln>
        </p:spPr>
        <p:txBody>
          <a:bodyPr/>
          <a:lstStyle/>
          <a:p>
            <a:endParaRPr lang="en-AU"/>
          </a:p>
        </p:txBody>
      </p:sp>
      <p:sp>
        <p:nvSpPr>
          <p:cNvPr id="2300" name="Freeform 348"/>
          <p:cNvSpPr>
            <a:spLocks/>
          </p:cNvSpPr>
          <p:nvPr>
            <p:custDataLst>
              <p:tags r:id="rId251"/>
            </p:custDataLst>
          </p:nvPr>
        </p:nvSpPr>
        <p:spPr bwMode="auto">
          <a:xfrm>
            <a:off x="4506913" y="2014538"/>
            <a:ext cx="381000" cy="247650"/>
          </a:xfrm>
          <a:custGeom>
            <a:avLst/>
            <a:gdLst>
              <a:gd name="T0" fmla="*/ 2147483647 w 877"/>
              <a:gd name="T1" fmla="*/ 2147483647 h 469"/>
              <a:gd name="T2" fmla="*/ 2147483647 w 877"/>
              <a:gd name="T3" fmla="*/ 2147483647 h 469"/>
              <a:gd name="T4" fmla="*/ 2147483647 w 877"/>
              <a:gd name="T5" fmla="*/ 2147483647 h 469"/>
              <a:gd name="T6" fmla="*/ 2147483647 w 877"/>
              <a:gd name="T7" fmla="*/ 2147483647 h 469"/>
              <a:gd name="T8" fmla="*/ 2147483647 w 877"/>
              <a:gd name="T9" fmla="*/ 2147483647 h 469"/>
              <a:gd name="T10" fmla="*/ 2147483647 w 877"/>
              <a:gd name="T11" fmla="*/ 2147483647 h 469"/>
              <a:gd name="T12" fmla="*/ 2147483647 w 877"/>
              <a:gd name="T13" fmla="*/ 2147483647 h 469"/>
              <a:gd name="T14" fmla="*/ 2147483647 w 877"/>
              <a:gd name="T15" fmla="*/ 2147483647 h 469"/>
              <a:gd name="T16" fmla="*/ 2147483647 w 877"/>
              <a:gd name="T17" fmla="*/ 2147483647 h 469"/>
              <a:gd name="T18" fmla="*/ 2147483647 w 877"/>
              <a:gd name="T19" fmla="*/ 2147483647 h 469"/>
              <a:gd name="T20" fmla="*/ 2147483647 w 877"/>
              <a:gd name="T21" fmla="*/ 2147483647 h 469"/>
              <a:gd name="T22" fmla="*/ 2147483647 w 877"/>
              <a:gd name="T23" fmla="*/ 2147483647 h 469"/>
              <a:gd name="T24" fmla="*/ 2147483647 w 877"/>
              <a:gd name="T25" fmla="*/ 2147483647 h 469"/>
              <a:gd name="T26" fmla="*/ 2147483647 w 877"/>
              <a:gd name="T27" fmla="*/ 2147483647 h 469"/>
              <a:gd name="T28" fmla="*/ 2147483647 w 877"/>
              <a:gd name="T29" fmla="*/ 2147483647 h 469"/>
              <a:gd name="T30" fmla="*/ 2147483647 w 877"/>
              <a:gd name="T31" fmla="*/ 2147483647 h 469"/>
              <a:gd name="T32" fmla="*/ 2147483647 w 877"/>
              <a:gd name="T33" fmla="*/ 2147483647 h 469"/>
              <a:gd name="T34" fmla="*/ 2147483647 w 877"/>
              <a:gd name="T35" fmla="*/ 2147483647 h 469"/>
              <a:gd name="T36" fmla="*/ 2147483647 w 877"/>
              <a:gd name="T37" fmla="*/ 2147483647 h 469"/>
              <a:gd name="T38" fmla="*/ 2147483647 w 877"/>
              <a:gd name="T39" fmla="*/ 2147483647 h 469"/>
              <a:gd name="T40" fmla="*/ 2147483647 w 877"/>
              <a:gd name="T41" fmla="*/ 0 h 469"/>
              <a:gd name="T42" fmla="*/ 2147483647 w 877"/>
              <a:gd name="T43" fmla="*/ 2147483647 h 469"/>
              <a:gd name="T44" fmla="*/ 2147483647 w 877"/>
              <a:gd name="T45" fmla="*/ 2147483647 h 469"/>
              <a:gd name="T46" fmla="*/ 2147483647 w 877"/>
              <a:gd name="T47" fmla="*/ 2147483647 h 469"/>
              <a:gd name="T48" fmla="*/ 2147483647 w 877"/>
              <a:gd name="T49" fmla="*/ 2147483647 h 469"/>
              <a:gd name="T50" fmla="*/ 2147483647 w 877"/>
              <a:gd name="T51" fmla="*/ 2147483647 h 469"/>
              <a:gd name="T52" fmla="*/ 2147483647 w 877"/>
              <a:gd name="T53" fmla="*/ 2147483647 h 469"/>
              <a:gd name="T54" fmla="*/ 2147483647 w 877"/>
              <a:gd name="T55" fmla="*/ 2147483647 h 469"/>
              <a:gd name="T56" fmla="*/ 2147483647 w 877"/>
              <a:gd name="T57" fmla="*/ 2147483647 h 469"/>
              <a:gd name="T58" fmla="*/ 2147483647 w 877"/>
              <a:gd name="T59" fmla="*/ 2147483647 h 469"/>
              <a:gd name="T60" fmla="*/ 2147483647 w 877"/>
              <a:gd name="T61" fmla="*/ 2147483647 h 469"/>
              <a:gd name="T62" fmla="*/ 2147483647 w 877"/>
              <a:gd name="T63" fmla="*/ 2147483647 h 469"/>
              <a:gd name="T64" fmla="*/ 2147483647 w 877"/>
              <a:gd name="T65" fmla="*/ 2147483647 h 469"/>
              <a:gd name="T66" fmla="*/ 2147483647 w 877"/>
              <a:gd name="T67" fmla="*/ 2147483647 h 469"/>
              <a:gd name="T68" fmla="*/ 2147483647 w 877"/>
              <a:gd name="T69" fmla="*/ 2147483647 h 469"/>
              <a:gd name="T70" fmla="*/ 2147483647 w 877"/>
              <a:gd name="T71" fmla="*/ 2147483647 h 469"/>
              <a:gd name="T72" fmla="*/ 2147483647 w 877"/>
              <a:gd name="T73" fmla="*/ 2147483647 h 469"/>
              <a:gd name="T74" fmla="*/ 2147483647 w 877"/>
              <a:gd name="T75" fmla="*/ 2147483647 h 469"/>
              <a:gd name="T76" fmla="*/ 2147483647 w 877"/>
              <a:gd name="T77" fmla="*/ 2147483647 h 469"/>
              <a:gd name="T78" fmla="*/ 2147483647 w 877"/>
              <a:gd name="T79" fmla="*/ 2147483647 h 469"/>
              <a:gd name="T80" fmla="*/ 2147483647 w 877"/>
              <a:gd name="T81" fmla="*/ 2147483647 h 469"/>
              <a:gd name="T82" fmla="*/ 2147483647 w 877"/>
              <a:gd name="T83" fmla="*/ 2147483647 h 469"/>
              <a:gd name="T84" fmla="*/ 2147483647 w 877"/>
              <a:gd name="T85" fmla="*/ 2147483647 h 469"/>
              <a:gd name="T86" fmla="*/ 2147483647 w 877"/>
              <a:gd name="T87" fmla="*/ 2147483647 h 469"/>
              <a:gd name="T88" fmla="*/ 2147483647 w 877"/>
              <a:gd name="T89" fmla="*/ 2147483647 h 469"/>
              <a:gd name="T90" fmla="*/ 2147483647 w 877"/>
              <a:gd name="T91" fmla="*/ 2147483647 h 469"/>
              <a:gd name="T92" fmla="*/ 2147483647 w 877"/>
              <a:gd name="T93" fmla="*/ 2147483647 h 469"/>
              <a:gd name="T94" fmla="*/ 2147483647 w 877"/>
              <a:gd name="T95" fmla="*/ 2147483647 h 469"/>
              <a:gd name="T96" fmla="*/ 2147483647 w 877"/>
              <a:gd name="T97" fmla="*/ 2147483647 h 469"/>
              <a:gd name="T98" fmla="*/ 2147483647 w 877"/>
              <a:gd name="T99" fmla="*/ 2147483647 h 469"/>
              <a:gd name="T100" fmla="*/ 2147483647 w 877"/>
              <a:gd name="T101" fmla="*/ 2147483647 h 469"/>
              <a:gd name="T102" fmla="*/ 2147483647 w 877"/>
              <a:gd name="T103" fmla="*/ 2147483647 h 469"/>
              <a:gd name="T104" fmla="*/ 2147483647 w 877"/>
              <a:gd name="T105" fmla="*/ 2147483647 h 469"/>
              <a:gd name="T106" fmla="*/ 2147483647 w 877"/>
              <a:gd name="T107" fmla="*/ 2147483647 h 469"/>
              <a:gd name="T108" fmla="*/ 2147483647 w 877"/>
              <a:gd name="T109" fmla="*/ 2147483647 h 469"/>
              <a:gd name="T110" fmla="*/ 2147483647 w 877"/>
              <a:gd name="T111" fmla="*/ 2147483647 h 469"/>
              <a:gd name="T112" fmla="*/ 2147483647 w 877"/>
              <a:gd name="T113" fmla="*/ 2147483647 h 469"/>
              <a:gd name="T114" fmla="*/ 2147483647 w 877"/>
              <a:gd name="T115" fmla="*/ 2147483647 h 469"/>
              <a:gd name="T116" fmla="*/ 2147483647 w 877"/>
              <a:gd name="T117" fmla="*/ 2147483647 h 469"/>
              <a:gd name="T118" fmla="*/ 2147483647 w 877"/>
              <a:gd name="T119" fmla="*/ 2147483647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301" name="Freeform 349"/>
          <p:cNvSpPr>
            <a:spLocks/>
          </p:cNvSpPr>
          <p:nvPr>
            <p:custDataLst>
              <p:tags r:id="rId252"/>
            </p:custDataLst>
          </p:nvPr>
        </p:nvSpPr>
        <p:spPr bwMode="auto">
          <a:xfrm>
            <a:off x="5018088" y="2357438"/>
            <a:ext cx="47625" cy="63500"/>
          </a:xfrm>
          <a:custGeom>
            <a:avLst/>
            <a:gdLst>
              <a:gd name="T0" fmla="*/ 2147483647 w 107"/>
              <a:gd name="T1" fmla="*/ 0 h 123"/>
              <a:gd name="T2" fmla="*/ 2147483647 w 107"/>
              <a:gd name="T3" fmla="*/ 2147483647 h 123"/>
              <a:gd name="T4" fmla="*/ 2147483647 w 107"/>
              <a:gd name="T5" fmla="*/ 2147483647 h 123"/>
              <a:gd name="T6" fmla="*/ 2147483647 w 107"/>
              <a:gd name="T7" fmla="*/ 2147483647 h 123"/>
              <a:gd name="T8" fmla="*/ 2147483647 w 107"/>
              <a:gd name="T9" fmla="*/ 2147483647 h 123"/>
              <a:gd name="T10" fmla="*/ 2147483647 w 107"/>
              <a:gd name="T11" fmla="*/ 2147483647 h 123"/>
              <a:gd name="T12" fmla="*/ 2147483647 w 107"/>
              <a:gd name="T13" fmla="*/ 2147483647 h 123"/>
              <a:gd name="T14" fmla="*/ 2147483647 w 107"/>
              <a:gd name="T15" fmla="*/ 2147483647 h 123"/>
              <a:gd name="T16" fmla="*/ 2147483647 w 107"/>
              <a:gd name="T17" fmla="*/ 2147483647 h 123"/>
              <a:gd name="T18" fmla="*/ 2147483647 w 107"/>
              <a:gd name="T19" fmla="*/ 2147483647 h 123"/>
              <a:gd name="T20" fmla="*/ 2147483647 w 107"/>
              <a:gd name="T21" fmla="*/ 2147483647 h 123"/>
              <a:gd name="T22" fmla="*/ 2147483647 w 107"/>
              <a:gd name="T23" fmla="*/ 2147483647 h 123"/>
              <a:gd name="T24" fmla="*/ 2147483647 w 107"/>
              <a:gd name="T25" fmla="*/ 2147483647 h 123"/>
              <a:gd name="T26" fmla="*/ 2147483647 w 107"/>
              <a:gd name="T27" fmla="*/ 2147483647 h 123"/>
              <a:gd name="T28" fmla="*/ 2147483647 w 107"/>
              <a:gd name="T29" fmla="*/ 2147483647 h 123"/>
              <a:gd name="T30" fmla="*/ 2147483647 w 107"/>
              <a:gd name="T31" fmla="*/ 2147483647 h 123"/>
              <a:gd name="T32" fmla="*/ 2147483647 w 107"/>
              <a:gd name="T33" fmla="*/ 2147483647 h 123"/>
              <a:gd name="T34" fmla="*/ 2147483647 w 107"/>
              <a:gd name="T35" fmla="*/ 2147483647 h 123"/>
              <a:gd name="T36" fmla="*/ 2147483647 w 107"/>
              <a:gd name="T37" fmla="*/ 2147483647 h 123"/>
              <a:gd name="T38" fmla="*/ 2147483647 w 107"/>
              <a:gd name="T39" fmla="*/ 2147483647 h 123"/>
              <a:gd name="T40" fmla="*/ 2147483647 w 107"/>
              <a:gd name="T41" fmla="*/ 2147483647 h 123"/>
              <a:gd name="T42" fmla="*/ 0 w 107"/>
              <a:gd name="T43" fmla="*/ 2147483647 h 123"/>
              <a:gd name="T44" fmla="*/ 2147483647 w 107"/>
              <a:gd name="T45" fmla="*/ 0 h 123"/>
              <a:gd name="T46" fmla="*/ 2147483647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cmpd="sng">
            <a:solidFill>
              <a:srgbClr val="FFFFFF"/>
            </a:solidFill>
            <a:prstDash val="solid"/>
            <a:round/>
            <a:headEnd/>
            <a:tailEnd/>
          </a:ln>
        </p:spPr>
        <p:txBody>
          <a:bodyPr/>
          <a:lstStyle/>
          <a:p>
            <a:endParaRPr lang="en-AU"/>
          </a:p>
        </p:txBody>
      </p:sp>
      <p:sp>
        <p:nvSpPr>
          <p:cNvPr id="2302" name="Freeform 350"/>
          <p:cNvSpPr>
            <a:spLocks/>
          </p:cNvSpPr>
          <p:nvPr>
            <p:custDataLst>
              <p:tags r:id="rId253"/>
            </p:custDataLst>
          </p:nvPr>
        </p:nvSpPr>
        <p:spPr bwMode="auto">
          <a:xfrm>
            <a:off x="5561013" y="2371725"/>
            <a:ext cx="207962" cy="122238"/>
          </a:xfrm>
          <a:custGeom>
            <a:avLst/>
            <a:gdLst>
              <a:gd name="T0" fmla="*/ 2147483647 w 471"/>
              <a:gd name="T1" fmla="*/ 2147483647 h 234"/>
              <a:gd name="T2" fmla="*/ 2147483647 w 471"/>
              <a:gd name="T3" fmla="*/ 2147483647 h 234"/>
              <a:gd name="T4" fmla="*/ 2147483647 w 471"/>
              <a:gd name="T5" fmla="*/ 2147483647 h 234"/>
              <a:gd name="T6" fmla="*/ 2147483647 w 471"/>
              <a:gd name="T7" fmla="*/ 2147483647 h 234"/>
              <a:gd name="T8" fmla="*/ 2147483647 w 471"/>
              <a:gd name="T9" fmla="*/ 2147483647 h 234"/>
              <a:gd name="T10" fmla="*/ 2147483647 w 471"/>
              <a:gd name="T11" fmla="*/ 2147483647 h 234"/>
              <a:gd name="T12" fmla="*/ 2147483647 w 471"/>
              <a:gd name="T13" fmla="*/ 2147483647 h 234"/>
              <a:gd name="T14" fmla="*/ 2147483647 w 471"/>
              <a:gd name="T15" fmla="*/ 2147483647 h 234"/>
              <a:gd name="T16" fmla="*/ 2147483647 w 471"/>
              <a:gd name="T17" fmla="*/ 2147483647 h 234"/>
              <a:gd name="T18" fmla="*/ 2147483647 w 471"/>
              <a:gd name="T19" fmla="*/ 2147483647 h 234"/>
              <a:gd name="T20" fmla="*/ 2147483647 w 471"/>
              <a:gd name="T21" fmla="*/ 2147483647 h 234"/>
              <a:gd name="T22" fmla="*/ 2147483647 w 471"/>
              <a:gd name="T23" fmla="*/ 2147483647 h 234"/>
              <a:gd name="T24" fmla="*/ 2147483647 w 471"/>
              <a:gd name="T25" fmla="*/ 2147483647 h 234"/>
              <a:gd name="T26" fmla="*/ 2147483647 w 471"/>
              <a:gd name="T27" fmla="*/ 2147483647 h 234"/>
              <a:gd name="T28" fmla="*/ 2147483647 w 471"/>
              <a:gd name="T29" fmla="*/ 2147483647 h 234"/>
              <a:gd name="T30" fmla="*/ 2147483647 w 471"/>
              <a:gd name="T31" fmla="*/ 2147483647 h 234"/>
              <a:gd name="T32" fmla="*/ 2147483647 w 471"/>
              <a:gd name="T33" fmla="*/ 2147483647 h 234"/>
              <a:gd name="T34" fmla="*/ 2147483647 w 471"/>
              <a:gd name="T35" fmla="*/ 2147483647 h 234"/>
              <a:gd name="T36" fmla="*/ 2147483647 w 471"/>
              <a:gd name="T37" fmla="*/ 2147483647 h 234"/>
              <a:gd name="T38" fmla="*/ 2147483647 w 471"/>
              <a:gd name="T39" fmla="*/ 2147483647 h 234"/>
              <a:gd name="T40" fmla="*/ 2147483647 w 471"/>
              <a:gd name="T41" fmla="*/ 2147483647 h 234"/>
              <a:gd name="T42" fmla="*/ 2147483647 w 471"/>
              <a:gd name="T43" fmla="*/ 2147483647 h 234"/>
              <a:gd name="T44" fmla="*/ 2147483647 w 471"/>
              <a:gd name="T45" fmla="*/ 2147483647 h 234"/>
              <a:gd name="T46" fmla="*/ 2147483647 w 471"/>
              <a:gd name="T47" fmla="*/ 2147483647 h 234"/>
              <a:gd name="T48" fmla="*/ 2147483647 w 471"/>
              <a:gd name="T49" fmla="*/ 2147483647 h 234"/>
              <a:gd name="T50" fmla="*/ 2147483647 w 471"/>
              <a:gd name="T51" fmla="*/ 2147483647 h 234"/>
              <a:gd name="T52" fmla="*/ 2147483647 w 471"/>
              <a:gd name="T53" fmla="*/ 2147483647 h 234"/>
              <a:gd name="T54" fmla="*/ 2147483647 w 471"/>
              <a:gd name="T55" fmla="*/ 2147483647 h 234"/>
              <a:gd name="T56" fmla="*/ 2147483647 w 471"/>
              <a:gd name="T57" fmla="*/ 2147483647 h 234"/>
              <a:gd name="T58" fmla="*/ 2147483647 w 471"/>
              <a:gd name="T59" fmla="*/ 2147483647 h 234"/>
              <a:gd name="T60" fmla="*/ 2147483647 w 471"/>
              <a:gd name="T61" fmla="*/ 2147483647 h 234"/>
              <a:gd name="T62" fmla="*/ 2147483647 w 471"/>
              <a:gd name="T63" fmla="*/ 2147483647 h 234"/>
              <a:gd name="T64" fmla="*/ 2147483647 w 471"/>
              <a:gd name="T65" fmla="*/ 2147483647 h 234"/>
              <a:gd name="T66" fmla="*/ 2147483647 w 471"/>
              <a:gd name="T67" fmla="*/ 2147483647 h 234"/>
              <a:gd name="T68" fmla="*/ 2147483647 w 471"/>
              <a:gd name="T69" fmla="*/ 2147483647 h 234"/>
              <a:gd name="T70" fmla="*/ 2147483647 w 471"/>
              <a:gd name="T71" fmla="*/ 2147483647 h 234"/>
              <a:gd name="T72" fmla="*/ 2147483647 w 471"/>
              <a:gd name="T73" fmla="*/ 2147483647 h 234"/>
              <a:gd name="T74" fmla="*/ 2147483647 w 471"/>
              <a:gd name="T75" fmla="*/ 2147483647 h 234"/>
              <a:gd name="T76" fmla="*/ 2147483647 w 471"/>
              <a:gd name="T77" fmla="*/ 2147483647 h 234"/>
              <a:gd name="T78" fmla="*/ 0 w 471"/>
              <a:gd name="T79" fmla="*/ 2147483647 h 234"/>
              <a:gd name="T80" fmla="*/ 2147483647 w 471"/>
              <a:gd name="T81" fmla="*/ 2147483647 h 234"/>
              <a:gd name="T82" fmla="*/ 2147483647 w 471"/>
              <a:gd name="T83" fmla="*/ 2147483647 h 234"/>
              <a:gd name="T84" fmla="*/ 2147483647 w 471"/>
              <a:gd name="T85" fmla="*/ 0 h 234"/>
              <a:gd name="T86" fmla="*/ 2147483647 w 471"/>
              <a:gd name="T87" fmla="*/ 2147483647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FF0000"/>
          </a:solidFill>
          <a:ln w="9525" cmpd="sng">
            <a:solidFill>
              <a:srgbClr val="FFFFFF"/>
            </a:solidFill>
            <a:prstDash val="solid"/>
            <a:round/>
            <a:headEnd/>
            <a:tailEnd/>
          </a:ln>
        </p:spPr>
        <p:txBody>
          <a:bodyPr/>
          <a:lstStyle/>
          <a:p>
            <a:endParaRPr lang="en-AU"/>
          </a:p>
        </p:txBody>
      </p:sp>
      <p:sp>
        <p:nvSpPr>
          <p:cNvPr id="2303" name="Freeform 351"/>
          <p:cNvSpPr>
            <a:spLocks/>
          </p:cNvSpPr>
          <p:nvPr>
            <p:custDataLst>
              <p:tags r:id="rId254"/>
            </p:custDataLst>
          </p:nvPr>
        </p:nvSpPr>
        <p:spPr bwMode="auto">
          <a:xfrm>
            <a:off x="5610225" y="2300288"/>
            <a:ext cx="225425" cy="125412"/>
          </a:xfrm>
          <a:custGeom>
            <a:avLst/>
            <a:gdLst>
              <a:gd name="T0" fmla="*/ 2147483647 w 525"/>
              <a:gd name="T1" fmla="*/ 2147483647 h 241"/>
              <a:gd name="T2" fmla="*/ 2147483647 w 525"/>
              <a:gd name="T3" fmla="*/ 2147483647 h 241"/>
              <a:gd name="T4" fmla="*/ 2147483647 w 525"/>
              <a:gd name="T5" fmla="*/ 2147483647 h 241"/>
              <a:gd name="T6" fmla="*/ 2147483647 w 525"/>
              <a:gd name="T7" fmla="*/ 2147483647 h 241"/>
              <a:gd name="T8" fmla="*/ 2147483647 w 525"/>
              <a:gd name="T9" fmla="*/ 2147483647 h 241"/>
              <a:gd name="T10" fmla="*/ 2147483647 w 525"/>
              <a:gd name="T11" fmla="*/ 2147483647 h 241"/>
              <a:gd name="T12" fmla="*/ 2147483647 w 525"/>
              <a:gd name="T13" fmla="*/ 2147483647 h 241"/>
              <a:gd name="T14" fmla="*/ 2147483647 w 525"/>
              <a:gd name="T15" fmla="*/ 0 h 241"/>
              <a:gd name="T16" fmla="*/ 2147483647 w 525"/>
              <a:gd name="T17" fmla="*/ 2147483647 h 241"/>
              <a:gd name="T18" fmla="*/ 2147483647 w 525"/>
              <a:gd name="T19" fmla="*/ 2147483647 h 241"/>
              <a:gd name="T20" fmla="*/ 2147483647 w 525"/>
              <a:gd name="T21" fmla="*/ 2147483647 h 241"/>
              <a:gd name="T22" fmla="*/ 2147483647 w 525"/>
              <a:gd name="T23" fmla="*/ 2147483647 h 241"/>
              <a:gd name="T24" fmla="*/ 2147483647 w 525"/>
              <a:gd name="T25" fmla="*/ 2147483647 h 241"/>
              <a:gd name="T26" fmla="*/ 2147483647 w 525"/>
              <a:gd name="T27" fmla="*/ 2147483647 h 241"/>
              <a:gd name="T28" fmla="*/ 2147483647 w 525"/>
              <a:gd name="T29" fmla="*/ 2147483647 h 241"/>
              <a:gd name="T30" fmla="*/ 2147483647 w 525"/>
              <a:gd name="T31" fmla="*/ 2147483647 h 241"/>
              <a:gd name="T32" fmla="*/ 2147483647 w 525"/>
              <a:gd name="T33" fmla="*/ 2147483647 h 241"/>
              <a:gd name="T34" fmla="*/ 2147483647 w 525"/>
              <a:gd name="T35" fmla="*/ 2147483647 h 241"/>
              <a:gd name="T36" fmla="*/ 2147483647 w 525"/>
              <a:gd name="T37" fmla="*/ 2147483647 h 241"/>
              <a:gd name="T38" fmla="*/ 2147483647 w 525"/>
              <a:gd name="T39" fmla="*/ 2147483647 h 241"/>
              <a:gd name="T40" fmla="*/ 2147483647 w 525"/>
              <a:gd name="T41" fmla="*/ 2147483647 h 241"/>
              <a:gd name="T42" fmla="*/ 2147483647 w 525"/>
              <a:gd name="T43" fmla="*/ 2147483647 h 241"/>
              <a:gd name="T44" fmla="*/ 2147483647 w 525"/>
              <a:gd name="T45" fmla="*/ 2147483647 h 241"/>
              <a:gd name="T46" fmla="*/ 2147483647 w 525"/>
              <a:gd name="T47" fmla="*/ 2147483647 h 241"/>
              <a:gd name="T48" fmla="*/ 2147483647 w 525"/>
              <a:gd name="T49" fmla="*/ 2147483647 h 241"/>
              <a:gd name="T50" fmla="*/ 2147483647 w 525"/>
              <a:gd name="T51" fmla="*/ 2147483647 h 241"/>
              <a:gd name="T52" fmla="*/ 2147483647 w 525"/>
              <a:gd name="T53" fmla="*/ 2147483647 h 241"/>
              <a:gd name="T54" fmla="*/ 2147483647 w 525"/>
              <a:gd name="T55" fmla="*/ 2147483647 h 241"/>
              <a:gd name="T56" fmla="*/ 2147483647 w 525"/>
              <a:gd name="T57" fmla="*/ 2147483647 h 241"/>
              <a:gd name="T58" fmla="*/ 2147483647 w 525"/>
              <a:gd name="T59" fmla="*/ 2147483647 h 241"/>
              <a:gd name="T60" fmla="*/ 2147483647 w 525"/>
              <a:gd name="T61" fmla="*/ 2147483647 h 241"/>
              <a:gd name="T62" fmla="*/ 2147483647 w 525"/>
              <a:gd name="T63" fmla="*/ 2147483647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0000FF"/>
          </a:solidFill>
          <a:ln w="9525" cmpd="sng">
            <a:solidFill>
              <a:srgbClr val="FFFFFF"/>
            </a:solidFill>
            <a:prstDash val="solid"/>
            <a:round/>
            <a:headEnd/>
            <a:tailEnd/>
          </a:ln>
        </p:spPr>
        <p:txBody>
          <a:bodyPr/>
          <a:lstStyle/>
          <a:p>
            <a:endParaRPr lang="en-AU"/>
          </a:p>
        </p:txBody>
      </p:sp>
      <p:sp>
        <p:nvSpPr>
          <p:cNvPr id="2304" name="Freeform 352"/>
          <p:cNvSpPr>
            <a:spLocks/>
          </p:cNvSpPr>
          <p:nvPr>
            <p:custDataLst>
              <p:tags r:id="rId255"/>
            </p:custDataLst>
          </p:nvPr>
        </p:nvSpPr>
        <p:spPr bwMode="auto">
          <a:xfrm>
            <a:off x="5216525" y="2316163"/>
            <a:ext cx="342900" cy="227012"/>
          </a:xfrm>
          <a:custGeom>
            <a:avLst/>
            <a:gdLst>
              <a:gd name="T0" fmla="*/ 2147483647 w 784"/>
              <a:gd name="T1" fmla="*/ 2147483647 h 430"/>
              <a:gd name="T2" fmla="*/ 2147483647 w 784"/>
              <a:gd name="T3" fmla="*/ 2147483647 h 430"/>
              <a:gd name="T4" fmla="*/ 2147483647 w 784"/>
              <a:gd name="T5" fmla="*/ 2147483647 h 430"/>
              <a:gd name="T6" fmla="*/ 2147483647 w 784"/>
              <a:gd name="T7" fmla="*/ 2147483647 h 430"/>
              <a:gd name="T8" fmla="*/ 2147483647 w 784"/>
              <a:gd name="T9" fmla="*/ 2147483647 h 430"/>
              <a:gd name="T10" fmla="*/ 2147483647 w 784"/>
              <a:gd name="T11" fmla="*/ 2147483647 h 430"/>
              <a:gd name="T12" fmla="*/ 2147483647 w 784"/>
              <a:gd name="T13" fmla="*/ 2147483647 h 430"/>
              <a:gd name="T14" fmla="*/ 2147483647 w 784"/>
              <a:gd name="T15" fmla="*/ 2147483647 h 430"/>
              <a:gd name="T16" fmla="*/ 2147483647 w 784"/>
              <a:gd name="T17" fmla="*/ 2147483647 h 430"/>
              <a:gd name="T18" fmla="*/ 2147483647 w 784"/>
              <a:gd name="T19" fmla="*/ 2147483647 h 430"/>
              <a:gd name="T20" fmla="*/ 2147483647 w 784"/>
              <a:gd name="T21" fmla="*/ 2147483647 h 430"/>
              <a:gd name="T22" fmla="*/ 2147483647 w 784"/>
              <a:gd name="T23" fmla="*/ 2147483647 h 430"/>
              <a:gd name="T24" fmla="*/ 2147483647 w 784"/>
              <a:gd name="T25" fmla="*/ 2147483647 h 430"/>
              <a:gd name="T26" fmla="*/ 2147483647 w 784"/>
              <a:gd name="T27" fmla="*/ 2147483647 h 430"/>
              <a:gd name="T28" fmla="*/ 2147483647 w 784"/>
              <a:gd name="T29" fmla="*/ 2147483647 h 430"/>
              <a:gd name="T30" fmla="*/ 2147483647 w 784"/>
              <a:gd name="T31" fmla="*/ 2147483647 h 430"/>
              <a:gd name="T32" fmla="*/ 2147483647 w 784"/>
              <a:gd name="T33" fmla="*/ 2147483647 h 430"/>
              <a:gd name="T34" fmla="*/ 2147483647 w 784"/>
              <a:gd name="T35" fmla="*/ 2147483647 h 430"/>
              <a:gd name="T36" fmla="*/ 2147483647 w 784"/>
              <a:gd name="T37" fmla="*/ 2147483647 h 430"/>
              <a:gd name="T38" fmla="*/ 2147483647 w 784"/>
              <a:gd name="T39" fmla="*/ 2147483647 h 430"/>
              <a:gd name="T40" fmla="*/ 2147483647 w 784"/>
              <a:gd name="T41" fmla="*/ 2147483647 h 430"/>
              <a:gd name="T42" fmla="*/ 2147483647 w 784"/>
              <a:gd name="T43" fmla="*/ 2147483647 h 430"/>
              <a:gd name="T44" fmla="*/ 2147483647 w 784"/>
              <a:gd name="T45" fmla="*/ 2147483647 h 430"/>
              <a:gd name="T46" fmla="*/ 2147483647 w 784"/>
              <a:gd name="T47" fmla="*/ 2147483647 h 430"/>
              <a:gd name="T48" fmla="*/ 2147483647 w 784"/>
              <a:gd name="T49" fmla="*/ 2147483647 h 430"/>
              <a:gd name="T50" fmla="*/ 2147483647 w 784"/>
              <a:gd name="T51" fmla="*/ 2147483647 h 430"/>
              <a:gd name="T52" fmla="*/ 2147483647 w 784"/>
              <a:gd name="T53" fmla="*/ 2147483647 h 430"/>
              <a:gd name="T54" fmla="*/ 2147483647 w 784"/>
              <a:gd name="T55" fmla="*/ 2147483647 h 430"/>
              <a:gd name="T56" fmla="*/ 2147483647 w 784"/>
              <a:gd name="T57" fmla="*/ 2147483647 h 430"/>
              <a:gd name="T58" fmla="*/ 2147483647 w 784"/>
              <a:gd name="T59" fmla="*/ 2147483647 h 430"/>
              <a:gd name="T60" fmla="*/ 2147483647 w 784"/>
              <a:gd name="T61" fmla="*/ 2147483647 h 430"/>
              <a:gd name="T62" fmla="*/ 2147483647 w 784"/>
              <a:gd name="T63" fmla="*/ 2147483647 h 430"/>
              <a:gd name="T64" fmla="*/ 2147483647 w 784"/>
              <a:gd name="T65" fmla="*/ 2147483647 h 430"/>
              <a:gd name="T66" fmla="*/ 2147483647 w 784"/>
              <a:gd name="T67" fmla="*/ 2147483647 h 430"/>
              <a:gd name="T68" fmla="*/ 0 w 784"/>
              <a:gd name="T69" fmla="*/ 2147483647 h 430"/>
              <a:gd name="T70" fmla="*/ 2147483647 w 784"/>
              <a:gd name="T71" fmla="*/ 2147483647 h 430"/>
              <a:gd name="T72" fmla="*/ 2147483647 w 784"/>
              <a:gd name="T73" fmla="*/ 2147483647 h 430"/>
              <a:gd name="T74" fmla="*/ 2147483647 w 784"/>
              <a:gd name="T75" fmla="*/ 2147483647 h 430"/>
              <a:gd name="T76" fmla="*/ 2147483647 w 784"/>
              <a:gd name="T77" fmla="*/ 2147483647 h 430"/>
              <a:gd name="T78" fmla="*/ 2147483647 w 784"/>
              <a:gd name="T79" fmla="*/ 2147483647 h 430"/>
              <a:gd name="T80" fmla="*/ 2147483647 w 784"/>
              <a:gd name="T81" fmla="*/ 2147483647 h 430"/>
              <a:gd name="T82" fmla="*/ 2147483647 w 784"/>
              <a:gd name="T83" fmla="*/ 2147483647 h 430"/>
              <a:gd name="T84" fmla="*/ 2147483647 w 784"/>
              <a:gd name="T85" fmla="*/ 2147483647 h 430"/>
              <a:gd name="T86" fmla="*/ 2147483647 w 784"/>
              <a:gd name="T87" fmla="*/ 2147483647 h 430"/>
              <a:gd name="T88" fmla="*/ 2147483647 w 784"/>
              <a:gd name="T89" fmla="*/ 2147483647 h 430"/>
              <a:gd name="T90" fmla="*/ 2147483647 w 784"/>
              <a:gd name="T91" fmla="*/ 2147483647 h 430"/>
              <a:gd name="T92" fmla="*/ 2147483647 w 784"/>
              <a:gd name="T93" fmla="*/ 2147483647 h 430"/>
              <a:gd name="T94" fmla="*/ 2147483647 w 784"/>
              <a:gd name="T95" fmla="*/ 2147483647 h 430"/>
              <a:gd name="T96" fmla="*/ 2147483647 w 784"/>
              <a:gd name="T97" fmla="*/ 2147483647 h 430"/>
              <a:gd name="T98" fmla="*/ 2147483647 w 784"/>
              <a:gd name="T99" fmla="*/ 0 h 430"/>
              <a:gd name="T100" fmla="*/ 2147483647 w 784"/>
              <a:gd name="T101" fmla="*/ 2147483647 h 430"/>
              <a:gd name="T102" fmla="*/ 2147483647 w 784"/>
              <a:gd name="T103" fmla="*/ 2147483647 h 430"/>
              <a:gd name="T104" fmla="*/ 2147483647 w 784"/>
              <a:gd name="T105" fmla="*/ 2147483647 h 430"/>
              <a:gd name="T106" fmla="*/ 2147483647 w 784"/>
              <a:gd name="T107" fmla="*/ 2147483647 h 430"/>
              <a:gd name="T108" fmla="*/ 2147483647 w 784"/>
              <a:gd name="T109" fmla="*/ 2147483647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0000FF"/>
          </a:solidFill>
          <a:ln w="9525" cmpd="sng">
            <a:solidFill>
              <a:srgbClr val="FFFFFF"/>
            </a:solidFill>
            <a:prstDash val="solid"/>
            <a:round/>
            <a:headEnd/>
            <a:tailEnd/>
          </a:ln>
        </p:spPr>
        <p:txBody>
          <a:bodyPr/>
          <a:lstStyle/>
          <a:p>
            <a:endParaRPr lang="en-AU"/>
          </a:p>
        </p:txBody>
      </p:sp>
      <p:sp>
        <p:nvSpPr>
          <p:cNvPr id="2305" name="Freeform 353"/>
          <p:cNvSpPr>
            <a:spLocks/>
          </p:cNvSpPr>
          <p:nvPr>
            <p:custDataLst>
              <p:tags r:id="rId256"/>
            </p:custDataLst>
          </p:nvPr>
        </p:nvSpPr>
        <p:spPr bwMode="auto">
          <a:xfrm>
            <a:off x="4425950" y="2203450"/>
            <a:ext cx="107950" cy="149225"/>
          </a:xfrm>
          <a:custGeom>
            <a:avLst/>
            <a:gdLst>
              <a:gd name="T0" fmla="*/ 2147483647 w 246"/>
              <a:gd name="T1" fmla="*/ 2147483647 h 284"/>
              <a:gd name="T2" fmla="*/ 2147483647 w 246"/>
              <a:gd name="T3" fmla="*/ 2147483647 h 284"/>
              <a:gd name="T4" fmla="*/ 2147483647 w 246"/>
              <a:gd name="T5" fmla="*/ 2147483647 h 284"/>
              <a:gd name="T6" fmla="*/ 2147483647 w 246"/>
              <a:gd name="T7" fmla="*/ 2147483647 h 284"/>
              <a:gd name="T8" fmla="*/ 2147483647 w 246"/>
              <a:gd name="T9" fmla="*/ 2147483647 h 284"/>
              <a:gd name="T10" fmla="*/ 2147483647 w 246"/>
              <a:gd name="T11" fmla="*/ 2147483647 h 284"/>
              <a:gd name="T12" fmla="*/ 2147483647 w 246"/>
              <a:gd name="T13" fmla="*/ 2147483647 h 284"/>
              <a:gd name="T14" fmla="*/ 2147483647 w 246"/>
              <a:gd name="T15" fmla="*/ 2147483647 h 284"/>
              <a:gd name="T16" fmla="*/ 2147483647 w 246"/>
              <a:gd name="T17" fmla="*/ 2147483647 h 284"/>
              <a:gd name="T18" fmla="*/ 2147483647 w 246"/>
              <a:gd name="T19" fmla="*/ 2147483647 h 284"/>
              <a:gd name="T20" fmla="*/ 2147483647 w 246"/>
              <a:gd name="T21" fmla="*/ 2147483647 h 284"/>
              <a:gd name="T22" fmla="*/ 2147483647 w 246"/>
              <a:gd name="T23" fmla="*/ 2147483647 h 284"/>
              <a:gd name="T24" fmla="*/ 2147483647 w 246"/>
              <a:gd name="T25" fmla="*/ 2147483647 h 284"/>
              <a:gd name="T26" fmla="*/ 2147483647 w 246"/>
              <a:gd name="T27" fmla="*/ 2147483647 h 284"/>
              <a:gd name="T28" fmla="*/ 2147483647 w 246"/>
              <a:gd name="T29" fmla="*/ 2147483647 h 284"/>
              <a:gd name="T30" fmla="*/ 2147483647 w 246"/>
              <a:gd name="T31" fmla="*/ 2147483647 h 284"/>
              <a:gd name="T32" fmla="*/ 2147483647 w 246"/>
              <a:gd name="T33" fmla="*/ 2147483647 h 284"/>
              <a:gd name="T34" fmla="*/ 2147483647 w 246"/>
              <a:gd name="T35" fmla="*/ 2147483647 h 284"/>
              <a:gd name="T36" fmla="*/ 2147483647 w 246"/>
              <a:gd name="T37" fmla="*/ 2147483647 h 284"/>
              <a:gd name="T38" fmla="*/ 2147483647 w 246"/>
              <a:gd name="T39" fmla="*/ 2147483647 h 284"/>
              <a:gd name="T40" fmla="*/ 2147483647 w 246"/>
              <a:gd name="T41" fmla="*/ 2147483647 h 284"/>
              <a:gd name="T42" fmla="*/ 2147483647 w 246"/>
              <a:gd name="T43" fmla="*/ 2147483647 h 284"/>
              <a:gd name="T44" fmla="*/ 2147483647 w 246"/>
              <a:gd name="T45" fmla="*/ 2147483647 h 284"/>
              <a:gd name="T46" fmla="*/ 2147483647 w 246"/>
              <a:gd name="T47" fmla="*/ 2147483647 h 284"/>
              <a:gd name="T48" fmla="*/ 2147483647 w 246"/>
              <a:gd name="T49" fmla="*/ 2147483647 h 284"/>
              <a:gd name="T50" fmla="*/ 2147483647 w 246"/>
              <a:gd name="T51" fmla="*/ 2147483647 h 284"/>
              <a:gd name="T52" fmla="*/ 2147483647 w 246"/>
              <a:gd name="T53" fmla="*/ 2147483647 h 284"/>
              <a:gd name="T54" fmla="*/ 2147483647 w 246"/>
              <a:gd name="T55" fmla="*/ 2147483647 h 284"/>
              <a:gd name="T56" fmla="*/ 2147483647 w 246"/>
              <a:gd name="T57" fmla="*/ 2147483647 h 284"/>
              <a:gd name="T58" fmla="*/ 2147483647 w 246"/>
              <a:gd name="T59" fmla="*/ 2147483647 h 284"/>
              <a:gd name="T60" fmla="*/ 2147483647 w 246"/>
              <a:gd name="T61" fmla="*/ 2147483647 h 284"/>
              <a:gd name="T62" fmla="*/ 2147483647 w 246"/>
              <a:gd name="T63" fmla="*/ 2147483647 h 284"/>
              <a:gd name="T64" fmla="*/ 2147483647 w 246"/>
              <a:gd name="T65" fmla="*/ 2147483647 h 284"/>
              <a:gd name="T66" fmla="*/ 2147483647 w 246"/>
              <a:gd name="T67" fmla="*/ 2147483647 h 284"/>
              <a:gd name="T68" fmla="*/ 2147483647 w 246"/>
              <a:gd name="T69" fmla="*/ 2147483647 h 284"/>
              <a:gd name="T70" fmla="*/ 2147483647 w 246"/>
              <a:gd name="T71" fmla="*/ 2147483647 h 284"/>
              <a:gd name="T72" fmla="*/ 2147483647 w 246"/>
              <a:gd name="T73" fmla="*/ 2147483647 h 284"/>
              <a:gd name="T74" fmla="*/ 2147483647 w 246"/>
              <a:gd name="T75" fmla="*/ 2147483647 h 284"/>
              <a:gd name="T76" fmla="*/ 2147483647 w 246"/>
              <a:gd name="T77" fmla="*/ 2147483647 h 284"/>
              <a:gd name="T78" fmla="*/ 2147483647 w 246"/>
              <a:gd name="T79" fmla="*/ 2147483647 h 284"/>
              <a:gd name="T80" fmla="*/ 0 w 246"/>
              <a:gd name="T81" fmla="*/ 2147483647 h 284"/>
              <a:gd name="T82" fmla="*/ 2147483647 w 246"/>
              <a:gd name="T83" fmla="*/ 2147483647 h 284"/>
              <a:gd name="T84" fmla="*/ 2147483647 w 246"/>
              <a:gd name="T85" fmla="*/ 2147483647 h 284"/>
              <a:gd name="T86" fmla="*/ 2147483647 w 246"/>
              <a:gd name="T87" fmla="*/ 2147483647 h 284"/>
              <a:gd name="T88" fmla="*/ 2147483647 w 246"/>
              <a:gd name="T89" fmla="*/ 2147483647 h 284"/>
              <a:gd name="T90" fmla="*/ 2147483647 w 246"/>
              <a:gd name="T91" fmla="*/ 2147483647 h 284"/>
              <a:gd name="T92" fmla="*/ 2147483647 w 246"/>
              <a:gd name="T93" fmla="*/ 2147483647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306" name="Freeform 354"/>
          <p:cNvSpPr>
            <a:spLocks/>
          </p:cNvSpPr>
          <p:nvPr>
            <p:custDataLst>
              <p:tags r:id="rId257"/>
            </p:custDataLst>
          </p:nvPr>
        </p:nvSpPr>
        <p:spPr bwMode="auto">
          <a:xfrm>
            <a:off x="4473575" y="2311400"/>
            <a:ext cx="68263" cy="60325"/>
          </a:xfrm>
          <a:custGeom>
            <a:avLst/>
            <a:gdLst>
              <a:gd name="T0" fmla="*/ 2147483647 w 160"/>
              <a:gd name="T1" fmla="*/ 0 h 117"/>
              <a:gd name="T2" fmla="*/ 2147483647 w 160"/>
              <a:gd name="T3" fmla="*/ 2147483647 h 117"/>
              <a:gd name="T4" fmla="*/ 2147483647 w 160"/>
              <a:gd name="T5" fmla="*/ 2147483647 h 117"/>
              <a:gd name="T6" fmla="*/ 2147483647 w 160"/>
              <a:gd name="T7" fmla="*/ 2147483647 h 117"/>
              <a:gd name="T8" fmla="*/ 2147483647 w 160"/>
              <a:gd name="T9" fmla="*/ 2147483647 h 117"/>
              <a:gd name="T10" fmla="*/ 2147483647 w 160"/>
              <a:gd name="T11" fmla="*/ 2147483647 h 117"/>
              <a:gd name="T12" fmla="*/ 2147483647 w 160"/>
              <a:gd name="T13" fmla="*/ 2147483647 h 117"/>
              <a:gd name="T14" fmla="*/ 2147483647 w 160"/>
              <a:gd name="T15" fmla="*/ 2147483647 h 117"/>
              <a:gd name="T16" fmla="*/ 2147483647 w 160"/>
              <a:gd name="T17" fmla="*/ 2147483647 h 117"/>
              <a:gd name="T18" fmla="*/ 2147483647 w 160"/>
              <a:gd name="T19" fmla="*/ 2147483647 h 117"/>
              <a:gd name="T20" fmla="*/ 2147483647 w 160"/>
              <a:gd name="T21" fmla="*/ 2147483647 h 117"/>
              <a:gd name="T22" fmla="*/ 2147483647 w 160"/>
              <a:gd name="T23" fmla="*/ 2147483647 h 117"/>
              <a:gd name="T24" fmla="*/ 2147483647 w 160"/>
              <a:gd name="T25" fmla="*/ 2147483647 h 117"/>
              <a:gd name="T26" fmla="*/ 2147483647 w 160"/>
              <a:gd name="T27" fmla="*/ 2147483647 h 117"/>
              <a:gd name="T28" fmla="*/ 2147483647 w 160"/>
              <a:gd name="T29" fmla="*/ 2147483647 h 117"/>
              <a:gd name="T30" fmla="*/ 2147483647 w 160"/>
              <a:gd name="T31" fmla="*/ 2147483647 h 117"/>
              <a:gd name="T32" fmla="*/ 2147483647 w 160"/>
              <a:gd name="T33" fmla="*/ 2147483647 h 117"/>
              <a:gd name="T34" fmla="*/ 2147483647 w 160"/>
              <a:gd name="T35" fmla="*/ 2147483647 h 117"/>
              <a:gd name="T36" fmla="*/ 2147483647 w 160"/>
              <a:gd name="T37" fmla="*/ 2147483647 h 117"/>
              <a:gd name="T38" fmla="*/ 2147483647 w 160"/>
              <a:gd name="T39" fmla="*/ 2147483647 h 117"/>
              <a:gd name="T40" fmla="*/ 2147483647 w 160"/>
              <a:gd name="T41" fmla="*/ 2147483647 h 117"/>
              <a:gd name="T42" fmla="*/ 2147483647 w 160"/>
              <a:gd name="T43" fmla="*/ 2147483647 h 117"/>
              <a:gd name="T44" fmla="*/ 2147483647 w 160"/>
              <a:gd name="T45" fmla="*/ 2147483647 h 117"/>
              <a:gd name="T46" fmla="*/ 2147483647 w 160"/>
              <a:gd name="T47" fmla="*/ 2147483647 h 117"/>
              <a:gd name="T48" fmla="*/ 2147483647 w 160"/>
              <a:gd name="T49" fmla="*/ 2147483647 h 117"/>
              <a:gd name="T50" fmla="*/ 2147483647 w 160"/>
              <a:gd name="T51" fmla="*/ 2147483647 h 117"/>
              <a:gd name="T52" fmla="*/ 0 w 160"/>
              <a:gd name="T53" fmla="*/ 2147483647 h 117"/>
              <a:gd name="T54" fmla="*/ 2147483647 w 160"/>
              <a:gd name="T55" fmla="*/ 2147483647 h 117"/>
              <a:gd name="T56" fmla="*/ 2147483647 w 160"/>
              <a:gd name="T57" fmla="*/ 2147483647 h 117"/>
              <a:gd name="T58" fmla="*/ 2147483647 w 160"/>
              <a:gd name="T59" fmla="*/ 2147483647 h 117"/>
              <a:gd name="T60" fmla="*/ 2147483647 w 160"/>
              <a:gd name="T61" fmla="*/ 2147483647 h 117"/>
              <a:gd name="T62" fmla="*/ 2147483647 w 160"/>
              <a:gd name="T63" fmla="*/ 2147483647 h 117"/>
              <a:gd name="T64" fmla="*/ 214748364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307" name="Freeform 355"/>
          <p:cNvSpPr>
            <a:spLocks/>
          </p:cNvSpPr>
          <p:nvPr>
            <p:custDataLst>
              <p:tags r:id="rId258"/>
            </p:custDataLst>
          </p:nvPr>
        </p:nvSpPr>
        <p:spPr bwMode="auto">
          <a:xfrm>
            <a:off x="4557713" y="2935288"/>
            <a:ext cx="411162" cy="611187"/>
          </a:xfrm>
          <a:custGeom>
            <a:avLst/>
            <a:gdLst>
              <a:gd name="T0" fmla="*/ 2147483647 w 943"/>
              <a:gd name="T1" fmla="*/ 2147483647 h 1172"/>
              <a:gd name="T2" fmla="*/ 2147483647 w 943"/>
              <a:gd name="T3" fmla="*/ 2147483647 h 1172"/>
              <a:gd name="T4" fmla="*/ 2147483647 w 943"/>
              <a:gd name="T5" fmla="*/ 2147483647 h 1172"/>
              <a:gd name="T6" fmla="*/ 2147483647 w 943"/>
              <a:gd name="T7" fmla="*/ 2147483647 h 1172"/>
              <a:gd name="T8" fmla="*/ 2147483647 w 943"/>
              <a:gd name="T9" fmla="*/ 2147483647 h 1172"/>
              <a:gd name="T10" fmla="*/ 2147483647 w 943"/>
              <a:gd name="T11" fmla="*/ 2147483647 h 1172"/>
              <a:gd name="T12" fmla="*/ 2147483647 w 943"/>
              <a:gd name="T13" fmla="*/ 2147483647 h 1172"/>
              <a:gd name="T14" fmla="*/ 2147483647 w 943"/>
              <a:gd name="T15" fmla="*/ 2147483647 h 1172"/>
              <a:gd name="T16" fmla="*/ 2147483647 w 943"/>
              <a:gd name="T17" fmla="*/ 2147483647 h 1172"/>
              <a:gd name="T18" fmla="*/ 2147483647 w 943"/>
              <a:gd name="T19" fmla="*/ 2147483647 h 1172"/>
              <a:gd name="T20" fmla="*/ 2147483647 w 943"/>
              <a:gd name="T21" fmla="*/ 2147483647 h 1172"/>
              <a:gd name="T22" fmla="*/ 2147483647 w 943"/>
              <a:gd name="T23" fmla="*/ 2147483647 h 1172"/>
              <a:gd name="T24" fmla="*/ 2147483647 w 943"/>
              <a:gd name="T25" fmla="*/ 2147483647 h 1172"/>
              <a:gd name="T26" fmla="*/ 2147483647 w 943"/>
              <a:gd name="T27" fmla="*/ 2147483647 h 1172"/>
              <a:gd name="T28" fmla="*/ 2147483647 w 943"/>
              <a:gd name="T29" fmla="*/ 2147483647 h 1172"/>
              <a:gd name="T30" fmla="*/ 2147483647 w 943"/>
              <a:gd name="T31" fmla="*/ 2147483647 h 1172"/>
              <a:gd name="T32" fmla="*/ 2147483647 w 943"/>
              <a:gd name="T33" fmla="*/ 2147483647 h 1172"/>
              <a:gd name="T34" fmla="*/ 2147483647 w 943"/>
              <a:gd name="T35" fmla="*/ 2147483647 h 1172"/>
              <a:gd name="T36" fmla="*/ 2147483647 w 943"/>
              <a:gd name="T37" fmla="*/ 2147483647 h 1172"/>
              <a:gd name="T38" fmla="*/ 2147483647 w 943"/>
              <a:gd name="T39" fmla="*/ 2147483647 h 1172"/>
              <a:gd name="T40" fmla="*/ 2147483647 w 943"/>
              <a:gd name="T41" fmla="*/ 2147483647 h 1172"/>
              <a:gd name="T42" fmla="*/ 2147483647 w 943"/>
              <a:gd name="T43" fmla="*/ 2147483647 h 1172"/>
              <a:gd name="T44" fmla="*/ 2147483647 w 943"/>
              <a:gd name="T45" fmla="*/ 2147483647 h 1172"/>
              <a:gd name="T46" fmla="*/ 2147483647 w 943"/>
              <a:gd name="T47" fmla="*/ 2147483647 h 1172"/>
              <a:gd name="T48" fmla="*/ 2147483647 w 943"/>
              <a:gd name="T49" fmla="*/ 2147483647 h 1172"/>
              <a:gd name="T50" fmla="*/ 2147483647 w 943"/>
              <a:gd name="T51" fmla="*/ 2147483647 h 1172"/>
              <a:gd name="T52" fmla="*/ 2147483647 w 943"/>
              <a:gd name="T53" fmla="*/ 2147483647 h 1172"/>
              <a:gd name="T54" fmla="*/ 2147483647 w 943"/>
              <a:gd name="T55" fmla="*/ 2147483647 h 1172"/>
              <a:gd name="T56" fmla="*/ 2147483647 w 943"/>
              <a:gd name="T57" fmla="*/ 2147483647 h 1172"/>
              <a:gd name="T58" fmla="*/ 2147483647 w 943"/>
              <a:gd name="T59" fmla="*/ 2147483647 h 1172"/>
              <a:gd name="T60" fmla="*/ 2147483647 w 943"/>
              <a:gd name="T61" fmla="*/ 2147483647 h 1172"/>
              <a:gd name="T62" fmla="*/ 2147483647 w 943"/>
              <a:gd name="T63" fmla="*/ 2147483647 h 1172"/>
              <a:gd name="T64" fmla="*/ 2147483647 w 943"/>
              <a:gd name="T65" fmla="*/ 2147483647 h 1172"/>
              <a:gd name="T66" fmla="*/ 2147483647 w 943"/>
              <a:gd name="T67" fmla="*/ 2147483647 h 1172"/>
              <a:gd name="T68" fmla="*/ 2147483647 w 943"/>
              <a:gd name="T69" fmla="*/ 2147483647 h 1172"/>
              <a:gd name="T70" fmla="*/ 2147483647 w 943"/>
              <a:gd name="T71" fmla="*/ 2147483647 h 1172"/>
              <a:gd name="T72" fmla="*/ 2147483647 w 943"/>
              <a:gd name="T73" fmla="*/ 2147483647 h 1172"/>
              <a:gd name="T74" fmla="*/ 2147483647 w 943"/>
              <a:gd name="T75" fmla="*/ 2147483647 h 1172"/>
              <a:gd name="T76" fmla="*/ 2147483647 w 943"/>
              <a:gd name="T77" fmla="*/ 2147483647 h 1172"/>
              <a:gd name="T78" fmla="*/ 2147483647 w 943"/>
              <a:gd name="T79" fmla="*/ 2147483647 h 1172"/>
              <a:gd name="T80" fmla="*/ 2147483647 w 943"/>
              <a:gd name="T81" fmla="*/ 2147483647 h 1172"/>
              <a:gd name="T82" fmla="*/ 2147483647 w 943"/>
              <a:gd name="T83" fmla="*/ 2147483647 h 1172"/>
              <a:gd name="T84" fmla="*/ 2147483647 w 943"/>
              <a:gd name="T85" fmla="*/ 2147483647 h 1172"/>
              <a:gd name="T86" fmla="*/ 2147483647 w 943"/>
              <a:gd name="T87" fmla="*/ 2147483647 h 1172"/>
              <a:gd name="T88" fmla="*/ 2147483647 w 943"/>
              <a:gd name="T89" fmla="*/ 2147483647 h 1172"/>
              <a:gd name="T90" fmla="*/ 2147483647 w 943"/>
              <a:gd name="T91" fmla="*/ 2147483647 h 1172"/>
              <a:gd name="T92" fmla="*/ 2147483647 w 943"/>
              <a:gd name="T93" fmla="*/ 2147483647 h 1172"/>
              <a:gd name="T94" fmla="*/ 2147483647 w 943"/>
              <a:gd name="T95" fmla="*/ 2147483647 h 1172"/>
              <a:gd name="T96" fmla="*/ 2147483647 w 943"/>
              <a:gd name="T97" fmla="*/ 2147483647 h 1172"/>
              <a:gd name="T98" fmla="*/ 2147483647 w 943"/>
              <a:gd name="T99" fmla="*/ 2147483647 h 1172"/>
              <a:gd name="T100" fmla="*/ 2147483647 w 943"/>
              <a:gd name="T101" fmla="*/ 2147483647 h 1172"/>
              <a:gd name="T102" fmla="*/ 2147483647 w 943"/>
              <a:gd name="T103" fmla="*/ 214748364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AU"/>
          </a:p>
        </p:txBody>
      </p:sp>
      <p:sp>
        <p:nvSpPr>
          <p:cNvPr id="2308" name="Freeform 356"/>
          <p:cNvSpPr>
            <a:spLocks/>
          </p:cNvSpPr>
          <p:nvPr>
            <p:custDataLst>
              <p:tags r:id="rId259"/>
            </p:custDataLst>
          </p:nvPr>
        </p:nvSpPr>
        <p:spPr bwMode="auto">
          <a:xfrm>
            <a:off x="5041900" y="3275013"/>
            <a:ext cx="244475" cy="431800"/>
          </a:xfrm>
          <a:custGeom>
            <a:avLst/>
            <a:gdLst>
              <a:gd name="T0" fmla="*/ 2147483647 w 556"/>
              <a:gd name="T1" fmla="*/ 2147483647 h 819"/>
              <a:gd name="T2" fmla="*/ 2147483647 w 556"/>
              <a:gd name="T3" fmla="*/ 2147483647 h 819"/>
              <a:gd name="T4" fmla="*/ 2147483647 w 556"/>
              <a:gd name="T5" fmla="*/ 2147483647 h 819"/>
              <a:gd name="T6" fmla="*/ 2147483647 w 556"/>
              <a:gd name="T7" fmla="*/ 2147483647 h 819"/>
              <a:gd name="T8" fmla="*/ 2147483647 w 556"/>
              <a:gd name="T9" fmla="*/ 2147483647 h 819"/>
              <a:gd name="T10" fmla="*/ 2147483647 w 556"/>
              <a:gd name="T11" fmla="*/ 2147483647 h 819"/>
              <a:gd name="T12" fmla="*/ 2147483647 w 556"/>
              <a:gd name="T13" fmla="*/ 2147483647 h 819"/>
              <a:gd name="T14" fmla="*/ 2147483647 w 556"/>
              <a:gd name="T15" fmla="*/ 2147483647 h 819"/>
              <a:gd name="T16" fmla="*/ 2147483647 w 556"/>
              <a:gd name="T17" fmla="*/ 2147483647 h 819"/>
              <a:gd name="T18" fmla="*/ 2147483647 w 556"/>
              <a:gd name="T19" fmla="*/ 2147483647 h 819"/>
              <a:gd name="T20" fmla="*/ 2147483647 w 556"/>
              <a:gd name="T21" fmla="*/ 2147483647 h 819"/>
              <a:gd name="T22" fmla="*/ 2147483647 w 556"/>
              <a:gd name="T23" fmla="*/ 2147483647 h 819"/>
              <a:gd name="T24" fmla="*/ 2147483647 w 556"/>
              <a:gd name="T25" fmla="*/ 2147483647 h 819"/>
              <a:gd name="T26" fmla="*/ 2147483647 w 556"/>
              <a:gd name="T27" fmla="*/ 2147483647 h 819"/>
              <a:gd name="T28" fmla="*/ 2147483647 w 556"/>
              <a:gd name="T29" fmla="*/ 2147483647 h 819"/>
              <a:gd name="T30" fmla="*/ 2147483647 w 556"/>
              <a:gd name="T31" fmla="*/ 2147483647 h 819"/>
              <a:gd name="T32" fmla="*/ 2147483647 w 556"/>
              <a:gd name="T33" fmla="*/ 2147483647 h 819"/>
              <a:gd name="T34" fmla="*/ 2147483647 w 556"/>
              <a:gd name="T35" fmla="*/ 2147483647 h 819"/>
              <a:gd name="T36" fmla="*/ 2147483647 w 556"/>
              <a:gd name="T37" fmla="*/ 2147483647 h 819"/>
              <a:gd name="T38" fmla="*/ 2147483647 w 556"/>
              <a:gd name="T39" fmla="*/ 2147483647 h 819"/>
              <a:gd name="T40" fmla="*/ 2147483647 w 556"/>
              <a:gd name="T41" fmla="*/ 2147483647 h 819"/>
              <a:gd name="T42" fmla="*/ 2147483647 w 556"/>
              <a:gd name="T43" fmla="*/ 2147483647 h 819"/>
              <a:gd name="T44" fmla="*/ 2147483647 w 556"/>
              <a:gd name="T45" fmla="*/ 2147483647 h 819"/>
              <a:gd name="T46" fmla="*/ 2147483647 w 556"/>
              <a:gd name="T47" fmla="*/ 2147483647 h 819"/>
              <a:gd name="T48" fmla="*/ 2147483647 w 556"/>
              <a:gd name="T49" fmla="*/ 2147483647 h 819"/>
              <a:gd name="T50" fmla="*/ 2147483647 w 556"/>
              <a:gd name="T51" fmla="*/ 2147483647 h 819"/>
              <a:gd name="T52" fmla="*/ 2147483647 w 556"/>
              <a:gd name="T53" fmla="*/ 2147483647 h 819"/>
              <a:gd name="T54" fmla="*/ 2147483647 w 556"/>
              <a:gd name="T55" fmla="*/ 2147483647 h 819"/>
              <a:gd name="T56" fmla="*/ 2147483647 w 556"/>
              <a:gd name="T57" fmla="*/ 2147483647 h 819"/>
              <a:gd name="T58" fmla="*/ 2147483647 w 556"/>
              <a:gd name="T59" fmla="*/ 2147483647 h 819"/>
              <a:gd name="T60" fmla="*/ 2147483647 w 556"/>
              <a:gd name="T61" fmla="*/ 2147483647 h 819"/>
              <a:gd name="T62" fmla="*/ 2147483647 w 556"/>
              <a:gd name="T63" fmla="*/ 2147483647 h 819"/>
              <a:gd name="T64" fmla="*/ 2147483647 w 556"/>
              <a:gd name="T65" fmla="*/ 2147483647 h 819"/>
              <a:gd name="T66" fmla="*/ 2147483647 w 556"/>
              <a:gd name="T67" fmla="*/ 2147483647 h 819"/>
              <a:gd name="T68" fmla="*/ 2147483647 w 556"/>
              <a:gd name="T69" fmla="*/ 2147483647 h 819"/>
              <a:gd name="T70" fmla="*/ 2147483647 w 556"/>
              <a:gd name="T71" fmla="*/ 2147483647 h 819"/>
              <a:gd name="T72" fmla="*/ 2147483647 w 556"/>
              <a:gd name="T73" fmla="*/ 2147483647 h 819"/>
              <a:gd name="T74" fmla="*/ 2147483647 w 556"/>
              <a:gd name="T75" fmla="*/ 2147483647 h 819"/>
              <a:gd name="T76" fmla="*/ 2147483647 w 556"/>
              <a:gd name="T77" fmla="*/ 2147483647 h 819"/>
              <a:gd name="T78" fmla="*/ 2147483647 w 556"/>
              <a:gd name="T79" fmla="*/ 2147483647 h 819"/>
              <a:gd name="T80" fmla="*/ 2147483647 w 556"/>
              <a:gd name="T81" fmla="*/ 2147483647 h 819"/>
              <a:gd name="T82" fmla="*/ 2147483647 w 556"/>
              <a:gd name="T83" fmla="*/ 2147483647 h 819"/>
              <a:gd name="T84" fmla="*/ 2147483647 w 556"/>
              <a:gd name="T85" fmla="*/ 2147483647 h 819"/>
              <a:gd name="T86" fmla="*/ 2147483647 w 556"/>
              <a:gd name="T87" fmla="*/ 2147483647 h 819"/>
              <a:gd name="T88" fmla="*/ 2147483647 w 556"/>
              <a:gd name="T89" fmla="*/ 2147483647 h 819"/>
              <a:gd name="T90" fmla="*/ 2147483647 w 556"/>
              <a:gd name="T91" fmla="*/ 2147483647 h 819"/>
              <a:gd name="T92" fmla="*/ 2147483647 w 556"/>
              <a:gd name="T93" fmla="*/ 2147483647 h 819"/>
              <a:gd name="T94" fmla="*/ 2147483647 w 556"/>
              <a:gd name="T95" fmla="*/ 2147483647 h 819"/>
              <a:gd name="T96" fmla="*/ 2147483647 w 556"/>
              <a:gd name="T97" fmla="*/ 2147483647 h 819"/>
              <a:gd name="T98" fmla="*/ 2147483647 w 556"/>
              <a:gd name="T99" fmla="*/ 2147483647 h 819"/>
              <a:gd name="T100" fmla="*/ 2147483647 w 556"/>
              <a:gd name="T101" fmla="*/ 2147483647 h 819"/>
              <a:gd name="T102" fmla="*/ 2147483647 w 556"/>
              <a:gd name="T103" fmla="*/ 2147483647 h 819"/>
              <a:gd name="T104" fmla="*/ 2147483647 w 556"/>
              <a:gd name="T105" fmla="*/ 2147483647 h 819"/>
              <a:gd name="T106" fmla="*/ 2147483647 w 556"/>
              <a:gd name="T107" fmla="*/ 2147483647 h 819"/>
              <a:gd name="T108" fmla="*/ 2147483647 w 556"/>
              <a:gd name="T109" fmla="*/ 2147483647 h 819"/>
              <a:gd name="T110" fmla="*/ 2147483647 w 556"/>
              <a:gd name="T111" fmla="*/ 2147483647 h 819"/>
              <a:gd name="T112" fmla="*/ 2147483647 w 556"/>
              <a:gd name="T113" fmla="*/ 2147483647 h 819"/>
              <a:gd name="T114" fmla="*/ 2147483647 w 556"/>
              <a:gd name="T115" fmla="*/ 2147483647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cmpd="sng">
            <a:solidFill>
              <a:srgbClr val="FFFFFF"/>
            </a:solidFill>
            <a:prstDash val="solid"/>
            <a:round/>
            <a:headEnd/>
            <a:tailEnd/>
          </a:ln>
        </p:spPr>
        <p:txBody>
          <a:bodyPr/>
          <a:lstStyle/>
          <a:p>
            <a:endParaRPr lang="en-AU"/>
          </a:p>
        </p:txBody>
      </p:sp>
      <p:sp>
        <p:nvSpPr>
          <p:cNvPr id="2309" name="Freeform 357"/>
          <p:cNvSpPr>
            <a:spLocks/>
          </p:cNvSpPr>
          <p:nvPr>
            <p:custDataLst>
              <p:tags r:id="rId260"/>
            </p:custDataLst>
          </p:nvPr>
        </p:nvSpPr>
        <p:spPr bwMode="auto">
          <a:xfrm>
            <a:off x="5049838" y="3262313"/>
            <a:ext cx="38100" cy="58737"/>
          </a:xfrm>
          <a:custGeom>
            <a:avLst/>
            <a:gdLst>
              <a:gd name="T0" fmla="*/ 2147483647 w 86"/>
              <a:gd name="T1" fmla="*/ 0 h 97"/>
              <a:gd name="T2" fmla="*/ 2147483647 w 86"/>
              <a:gd name="T3" fmla="*/ 2147483647 h 97"/>
              <a:gd name="T4" fmla="*/ 2147483647 w 86"/>
              <a:gd name="T5" fmla="*/ 2147483647 h 97"/>
              <a:gd name="T6" fmla="*/ 2147483647 w 86"/>
              <a:gd name="T7" fmla="*/ 2147483647 h 97"/>
              <a:gd name="T8" fmla="*/ 2147483647 w 86"/>
              <a:gd name="T9" fmla="*/ 2147483647 h 97"/>
              <a:gd name="T10" fmla="*/ 2147483647 w 86"/>
              <a:gd name="T11" fmla="*/ 2147483647 h 97"/>
              <a:gd name="T12" fmla="*/ 2147483647 w 86"/>
              <a:gd name="T13" fmla="*/ 2147483647 h 97"/>
              <a:gd name="T14" fmla="*/ 2147483647 w 86"/>
              <a:gd name="T15" fmla="*/ 2147483647 h 97"/>
              <a:gd name="T16" fmla="*/ 2147483647 w 86"/>
              <a:gd name="T17" fmla="*/ 2147483647 h 97"/>
              <a:gd name="T18" fmla="*/ 2147483647 w 86"/>
              <a:gd name="T19" fmla="*/ 2147483647 h 97"/>
              <a:gd name="T20" fmla="*/ 2147483647 w 86"/>
              <a:gd name="T21" fmla="*/ 2147483647 h 97"/>
              <a:gd name="T22" fmla="*/ 2147483647 w 86"/>
              <a:gd name="T23" fmla="*/ 2147483647 h 97"/>
              <a:gd name="T24" fmla="*/ 2147483647 w 86"/>
              <a:gd name="T25" fmla="*/ 2147483647 h 97"/>
              <a:gd name="T26" fmla="*/ 2147483647 w 86"/>
              <a:gd name="T27" fmla="*/ 2147483647 h 97"/>
              <a:gd name="T28" fmla="*/ 2147483647 w 86"/>
              <a:gd name="T29" fmla="*/ 2147483647 h 97"/>
              <a:gd name="T30" fmla="*/ 0 w 86"/>
              <a:gd name="T31" fmla="*/ 2147483647 h 97"/>
              <a:gd name="T32" fmla="*/ 0 w 86"/>
              <a:gd name="T33" fmla="*/ 2147483647 h 97"/>
              <a:gd name="T34" fmla="*/ 0 w 86"/>
              <a:gd name="T35" fmla="*/ 2147483647 h 97"/>
              <a:gd name="T36" fmla="*/ 2147483647 w 86"/>
              <a:gd name="T37" fmla="*/ 2147483647 h 97"/>
              <a:gd name="T38" fmla="*/ 2147483647 w 86"/>
              <a:gd name="T39" fmla="*/ 2147483647 h 97"/>
              <a:gd name="T40" fmla="*/ 2147483647 w 86"/>
              <a:gd name="T41" fmla="*/ 2147483647 h 97"/>
              <a:gd name="T42" fmla="*/ 2147483647 w 86"/>
              <a:gd name="T43" fmla="*/ 2147483647 h 97"/>
              <a:gd name="T44" fmla="*/ 2147483647 w 86"/>
              <a:gd name="T45" fmla="*/ 2147483647 h 97"/>
              <a:gd name="T46" fmla="*/ 2147483647 w 86"/>
              <a:gd name="T47" fmla="*/ 2147483647 h 97"/>
              <a:gd name="T48" fmla="*/ 2147483647 w 86"/>
              <a:gd name="T49" fmla="*/ 2147483647 h 97"/>
              <a:gd name="T50" fmla="*/ 2147483647 w 86"/>
              <a:gd name="T51" fmla="*/ 2147483647 h 97"/>
              <a:gd name="T52" fmla="*/ 2147483647 w 86"/>
              <a:gd name="T53" fmla="*/ 2147483647 h 97"/>
              <a:gd name="T54" fmla="*/ 2147483647 w 86"/>
              <a:gd name="T55" fmla="*/ 2147483647 h 97"/>
              <a:gd name="T56" fmla="*/ 2147483647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mpd="sng">
            <a:solidFill>
              <a:srgbClr val="FFFFFF"/>
            </a:solidFill>
            <a:prstDash val="solid"/>
            <a:round/>
            <a:headEnd/>
            <a:tailEnd/>
          </a:ln>
        </p:spPr>
        <p:txBody>
          <a:bodyPr/>
          <a:lstStyle/>
          <a:p>
            <a:endParaRPr lang="en-AU"/>
          </a:p>
        </p:txBody>
      </p:sp>
      <p:sp>
        <p:nvSpPr>
          <p:cNvPr id="2310" name="Freeform 358"/>
          <p:cNvSpPr>
            <a:spLocks/>
          </p:cNvSpPr>
          <p:nvPr>
            <p:custDataLst>
              <p:tags r:id="rId261"/>
            </p:custDataLst>
          </p:nvPr>
        </p:nvSpPr>
        <p:spPr bwMode="auto">
          <a:xfrm>
            <a:off x="4848225" y="3173413"/>
            <a:ext cx="363538" cy="376237"/>
          </a:xfrm>
          <a:custGeom>
            <a:avLst/>
            <a:gdLst>
              <a:gd name="T0" fmla="*/ 2147483647 w 845"/>
              <a:gd name="T1" fmla="*/ 2147483647 h 720"/>
              <a:gd name="T2" fmla="*/ 2147483647 w 845"/>
              <a:gd name="T3" fmla="*/ 2147483647 h 720"/>
              <a:gd name="T4" fmla="*/ 2147483647 w 845"/>
              <a:gd name="T5" fmla="*/ 0 h 720"/>
              <a:gd name="T6" fmla="*/ 2147483647 w 845"/>
              <a:gd name="T7" fmla="*/ 2147483647 h 720"/>
              <a:gd name="T8" fmla="*/ 2147483647 w 845"/>
              <a:gd name="T9" fmla="*/ 2147483647 h 720"/>
              <a:gd name="T10" fmla="*/ 2147483647 w 845"/>
              <a:gd name="T11" fmla="*/ 2147483647 h 720"/>
              <a:gd name="T12" fmla="*/ 2147483647 w 845"/>
              <a:gd name="T13" fmla="*/ 2147483647 h 720"/>
              <a:gd name="T14" fmla="*/ 2147483647 w 845"/>
              <a:gd name="T15" fmla="*/ 2147483647 h 720"/>
              <a:gd name="T16" fmla="*/ 2147483647 w 845"/>
              <a:gd name="T17" fmla="*/ 2147483647 h 720"/>
              <a:gd name="T18" fmla="*/ 2147483647 w 845"/>
              <a:gd name="T19" fmla="*/ 2147483647 h 720"/>
              <a:gd name="T20" fmla="*/ 2147483647 w 845"/>
              <a:gd name="T21" fmla="*/ 2147483647 h 720"/>
              <a:gd name="T22" fmla="*/ 2147483647 w 845"/>
              <a:gd name="T23" fmla="*/ 2147483647 h 720"/>
              <a:gd name="T24" fmla="*/ 2147483647 w 845"/>
              <a:gd name="T25" fmla="*/ 2147483647 h 720"/>
              <a:gd name="T26" fmla="*/ 2147483647 w 845"/>
              <a:gd name="T27" fmla="*/ 2147483647 h 720"/>
              <a:gd name="T28" fmla="*/ 2147483647 w 845"/>
              <a:gd name="T29" fmla="*/ 2147483647 h 720"/>
              <a:gd name="T30" fmla="*/ 2147483647 w 845"/>
              <a:gd name="T31" fmla="*/ 2147483647 h 720"/>
              <a:gd name="T32" fmla="*/ 2147483647 w 845"/>
              <a:gd name="T33" fmla="*/ 2147483647 h 720"/>
              <a:gd name="T34" fmla="*/ 2147483647 w 845"/>
              <a:gd name="T35" fmla="*/ 2147483647 h 720"/>
              <a:gd name="T36" fmla="*/ 2147483647 w 845"/>
              <a:gd name="T37" fmla="*/ 2147483647 h 720"/>
              <a:gd name="T38" fmla="*/ 2147483647 w 845"/>
              <a:gd name="T39" fmla="*/ 2147483647 h 720"/>
              <a:gd name="T40" fmla="*/ 2147483647 w 845"/>
              <a:gd name="T41" fmla="*/ 2147483647 h 720"/>
              <a:gd name="T42" fmla="*/ 2147483647 w 845"/>
              <a:gd name="T43" fmla="*/ 2147483647 h 720"/>
              <a:gd name="T44" fmla="*/ 2147483647 w 845"/>
              <a:gd name="T45" fmla="*/ 2147483647 h 720"/>
              <a:gd name="T46" fmla="*/ 2147483647 w 845"/>
              <a:gd name="T47" fmla="*/ 2147483647 h 720"/>
              <a:gd name="T48" fmla="*/ 2147483647 w 845"/>
              <a:gd name="T49" fmla="*/ 2147483647 h 720"/>
              <a:gd name="T50" fmla="*/ 2147483647 w 845"/>
              <a:gd name="T51" fmla="*/ 2147483647 h 720"/>
              <a:gd name="T52" fmla="*/ 2147483647 w 845"/>
              <a:gd name="T53" fmla="*/ 2147483647 h 720"/>
              <a:gd name="T54" fmla="*/ 2147483647 w 845"/>
              <a:gd name="T55" fmla="*/ 2147483647 h 720"/>
              <a:gd name="T56" fmla="*/ 2147483647 w 845"/>
              <a:gd name="T57" fmla="*/ 2147483647 h 720"/>
              <a:gd name="T58" fmla="*/ 2147483647 w 845"/>
              <a:gd name="T59" fmla="*/ 2147483647 h 720"/>
              <a:gd name="T60" fmla="*/ 2147483647 w 845"/>
              <a:gd name="T61" fmla="*/ 2147483647 h 720"/>
              <a:gd name="T62" fmla="*/ 2147483647 w 845"/>
              <a:gd name="T63" fmla="*/ 2147483647 h 720"/>
              <a:gd name="T64" fmla="*/ 2147483647 w 845"/>
              <a:gd name="T65" fmla="*/ 2147483647 h 720"/>
              <a:gd name="T66" fmla="*/ 2147483647 w 845"/>
              <a:gd name="T67" fmla="*/ 2147483647 h 720"/>
              <a:gd name="T68" fmla="*/ 2147483647 w 845"/>
              <a:gd name="T69" fmla="*/ 2147483647 h 720"/>
              <a:gd name="T70" fmla="*/ 2147483647 w 845"/>
              <a:gd name="T71" fmla="*/ 2147483647 h 720"/>
              <a:gd name="T72" fmla="*/ 2147483647 w 845"/>
              <a:gd name="T73" fmla="*/ 2147483647 h 720"/>
              <a:gd name="T74" fmla="*/ 2147483647 w 845"/>
              <a:gd name="T75" fmla="*/ 2147483647 h 720"/>
              <a:gd name="T76" fmla="*/ 2147483647 w 845"/>
              <a:gd name="T77" fmla="*/ 2147483647 h 720"/>
              <a:gd name="T78" fmla="*/ 2147483647 w 845"/>
              <a:gd name="T79" fmla="*/ 2147483647 h 720"/>
              <a:gd name="T80" fmla="*/ 2147483647 w 845"/>
              <a:gd name="T81" fmla="*/ 2147483647 h 720"/>
              <a:gd name="T82" fmla="*/ 2147483647 w 845"/>
              <a:gd name="T83" fmla="*/ 2147483647 h 720"/>
              <a:gd name="T84" fmla="*/ 2147483647 w 845"/>
              <a:gd name="T85" fmla="*/ 2147483647 h 720"/>
              <a:gd name="T86" fmla="*/ 2147483647 w 845"/>
              <a:gd name="T87" fmla="*/ 2147483647 h 720"/>
              <a:gd name="T88" fmla="*/ 2147483647 w 845"/>
              <a:gd name="T89" fmla="*/ 2147483647 h 720"/>
              <a:gd name="T90" fmla="*/ 2147483647 w 845"/>
              <a:gd name="T91" fmla="*/ 2147483647 h 720"/>
              <a:gd name="T92" fmla="*/ 2147483647 w 845"/>
              <a:gd name="T93" fmla="*/ 2147483647 h 720"/>
              <a:gd name="T94" fmla="*/ 2147483647 w 845"/>
              <a:gd name="T95" fmla="*/ 2147483647 h 720"/>
              <a:gd name="T96" fmla="*/ 2147483647 w 845"/>
              <a:gd name="T97" fmla="*/ 2147483647 h 720"/>
              <a:gd name="T98" fmla="*/ 2147483647 w 845"/>
              <a:gd name="T99" fmla="*/ 2147483647 h 720"/>
              <a:gd name="T100" fmla="*/ 2147483647 w 845"/>
              <a:gd name="T101" fmla="*/ 2147483647 h 720"/>
              <a:gd name="T102" fmla="*/ 2147483647 w 845"/>
              <a:gd name="T103" fmla="*/ 2147483647 h 720"/>
              <a:gd name="T104" fmla="*/ 2147483647 w 845"/>
              <a:gd name="T105" fmla="*/ 2147483647 h 720"/>
              <a:gd name="T106" fmla="*/ 2147483647 w 845"/>
              <a:gd name="T107" fmla="*/ 2147483647 h 720"/>
              <a:gd name="T108" fmla="*/ 2147483647 w 845"/>
              <a:gd name="T109" fmla="*/ 2147483647 h 720"/>
              <a:gd name="T110" fmla="*/ 2147483647 w 845"/>
              <a:gd name="T111" fmla="*/ 2147483647 h 720"/>
              <a:gd name="T112" fmla="*/ 2147483647 w 845"/>
              <a:gd name="T113" fmla="*/ 2147483647 h 720"/>
              <a:gd name="T114" fmla="*/ 2147483647 w 845"/>
              <a:gd name="T115" fmla="*/ 2147483647 h 720"/>
              <a:gd name="T116" fmla="*/ 2147483647 w 845"/>
              <a:gd name="T117" fmla="*/ 2147483647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C0C0C0"/>
          </a:solidFill>
          <a:ln w="9525" cmpd="sng">
            <a:solidFill>
              <a:srgbClr val="FFFFFF"/>
            </a:solidFill>
            <a:prstDash val="solid"/>
            <a:round/>
            <a:headEnd/>
            <a:tailEnd/>
          </a:ln>
        </p:spPr>
        <p:txBody>
          <a:bodyPr/>
          <a:lstStyle/>
          <a:p>
            <a:endParaRPr lang="en-AU"/>
          </a:p>
        </p:txBody>
      </p:sp>
      <p:sp>
        <p:nvSpPr>
          <p:cNvPr id="2311" name="Line 359"/>
          <p:cNvSpPr>
            <a:spLocks noChangeShapeType="1"/>
          </p:cNvSpPr>
          <p:nvPr>
            <p:custDataLst>
              <p:tags r:id="rId262"/>
            </p:custDataLst>
          </p:nvPr>
        </p:nvSpPr>
        <p:spPr bwMode="auto">
          <a:xfrm flipH="1">
            <a:off x="1708150" y="3692525"/>
            <a:ext cx="4763" cy="7938"/>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AU"/>
          </a:p>
        </p:txBody>
      </p:sp>
      <p:sp>
        <p:nvSpPr>
          <p:cNvPr id="2312" name="Freeform 360"/>
          <p:cNvSpPr>
            <a:spLocks/>
          </p:cNvSpPr>
          <p:nvPr>
            <p:custDataLst>
              <p:tags r:id="rId263"/>
            </p:custDataLst>
          </p:nvPr>
        </p:nvSpPr>
        <p:spPr bwMode="auto">
          <a:xfrm>
            <a:off x="1708150" y="3700463"/>
            <a:ext cx="12700" cy="58737"/>
          </a:xfrm>
          <a:custGeom>
            <a:avLst/>
            <a:gdLst>
              <a:gd name="T0" fmla="*/ 0 w 33"/>
              <a:gd name="T1" fmla="*/ 0 h 6"/>
              <a:gd name="T2" fmla="*/ 2147483647 w 33"/>
              <a:gd name="T3" fmla="*/ 2147483647 h 6"/>
              <a:gd name="T4" fmla="*/ 2147483647 w 33"/>
              <a:gd name="T5" fmla="*/ 2147483647 h 6"/>
              <a:gd name="T6" fmla="*/ 2147483647 w 33"/>
              <a:gd name="T7" fmla="*/ 2147483647 h 6"/>
              <a:gd name="T8" fmla="*/ 2147483647 w 33"/>
              <a:gd name="T9" fmla="*/ 214748364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a:lstStyle/>
          <a:p>
            <a:endParaRPr lang="en-AU"/>
          </a:p>
        </p:txBody>
      </p:sp>
      <p:sp>
        <p:nvSpPr>
          <p:cNvPr id="2313" name="Freeform 361"/>
          <p:cNvSpPr>
            <a:spLocks/>
          </p:cNvSpPr>
          <p:nvPr>
            <p:custDataLst>
              <p:tags r:id="rId264"/>
            </p:custDataLst>
          </p:nvPr>
        </p:nvSpPr>
        <p:spPr bwMode="auto">
          <a:xfrm>
            <a:off x="1716088" y="3687763"/>
            <a:ext cx="4762" cy="57150"/>
          </a:xfrm>
          <a:custGeom>
            <a:avLst/>
            <a:gdLst>
              <a:gd name="T0" fmla="*/ 2147483647 w 13"/>
              <a:gd name="T1" fmla="*/ 2147483647 h 30"/>
              <a:gd name="T2" fmla="*/ 2147483647 w 13"/>
              <a:gd name="T3" fmla="*/ 0 h 30"/>
              <a:gd name="T4" fmla="*/ 0 w 13"/>
              <a:gd name="T5" fmla="*/ 0 h 30"/>
              <a:gd name="T6" fmla="*/ 0 60000 65536"/>
              <a:gd name="T7" fmla="*/ 0 60000 65536"/>
              <a:gd name="T8" fmla="*/ 0 60000 65536"/>
            </a:gdLst>
            <a:ahLst/>
            <a:cxnLst>
              <a:cxn ang="T6">
                <a:pos x="T0" y="T1"/>
              </a:cxn>
              <a:cxn ang="T7">
                <a:pos x="T2" y="T3"/>
              </a:cxn>
              <a:cxn ang="T8">
                <a:pos x="T4" y="T5"/>
              </a:cxn>
            </a:cxnLst>
            <a:rect l="0" t="0" r="r" b="b"/>
            <a:pathLst>
              <a:path w="13" h="30">
                <a:moveTo>
                  <a:pt x="13" y="30"/>
                </a:moveTo>
                <a:lnTo>
                  <a:pt x="13" y="0"/>
                </a:lnTo>
                <a:lnTo>
                  <a:pt x="0" y="0"/>
                </a:lnTo>
              </a:path>
            </a:pathLst>
          </a:custGeom>
          <a:solidFill>
            <a:srgbClr val="C0C0C0"/>
          </a:solidFill>
          <a:ln w="9525" cmpd="sng">
            <a:solidFill>
              <a:srgbClr val="FFFFFF"/>
            </a:solidFill>
            <a:prstDash val="solid"/>
            <a:round/>
            <a:headEnd/>
            <a:tailEnd/>
          </a:ln>
        </p:spPr>
        <p:txBody>
          <a:bodyPr/>
          <a:lstStyle/>
          <a:p>
            <a:endParaRPr lang="en-AU"/>
          </a:p>
        </p:txBody>
      </p:sp>
      <p:grpSp>
        <p:nvGrpSpPr>
          <p:cNvPr id="2314" name="Group 362"/>
          <p:cNvGrpSpPr>
            <a:grpSpLocks/>
          </p:cNvGrpSpPr>
          <p:nvPr>
            <p:custDataLst>
              <p:tags r:id="rId265"/>
            </p:custDataLst>
          </p:nvPr>
        </p:nvGrpSpPr>
        <p:grpSpPr bwMode="auto">
          <a:xfrm>
            <a:off x="1708150" y="3622675"/>
            <a:ext cx="417513" cy="201613"/>
            <a:chOff x="912" y="2626"/>
            <a:chExt cx="311" cy="127"/>
          </a:xfrm>
          <a:solidFill>
            <a:schemeClr val="accent3">
              <a:lumMod val="75000"/>
            </a:schemeClr>
          </a:solidFill>
        </p:grpSpPr>
        <p:sp>
          <p:nvSpPr>
            <p:cNvPr id="2501" name="Freeform 363"/>
            <p:cNvSpPr>
              <a:spLocks/>
            </p:cNvSpPr>
            <p:nvPr/>
          </p:nvSpPr>
          <p:spPr bwMode="auto">
            <a:xfrm>
              <a:off x="1110" y="2626"/>
              <a:ext cx="113" cy="127"/>
            </a:xfrm>
            <a:custGeom>
              <a:avLst/>
              <a:gdLst>
                <a:gd name="T0" fmla="*/ 100 w 352"/>
                <a:gd name="T1" fmla="*/ 26 h 387"/>
                <a:gd name="T2" fmla="*/ 92 w 352"/>
                <a:gd name="T3" fmla="*/ 26 h 387"/>
                <a:gd name="T4" fmla="*/ 85 w 352"/>
                <a:gd name="T5" fmla="*/ 26 h 387"/>
                <a:gd name="T6" fmla="*/ 80 w 352"/>
                <a:gd name="T7" fmla="*/ 24 h 387"/>
                <a:gd name="T8" fmla="*/ 71 w 352"/>
                <a:gd name="T9" fmla="*/ 19 h 387"/>
                <a:gd name="T10" fmla="*/ 54 w 352"/>
                <a:gd name="T11" fmla="*/ 7 h 387"/>
                <a:gd name="T12" fmla="*/ 44 w 352"/>
                <a:gd name="T13" fmla="*/ 2 h 387"/>
                <a:gd name="T14" fmla="*/ 41 w 352"/>
                <a:gd name="T15" fmla="*/ 6 h 387"/>
                <a:gd name="T16" fmla="*/ 38 w 352"/>
                <a:gd name="T17" fmla="*/ 10 h 387"/>
                <a:gd name="T18" fmla="*/ 34 w 352"/>
                <a:gd name="T19" fmla="*/ 11 h 387"/>
                <a:gd name="T20" fmla="*/ 28 w 352"/>
                <a:gd name="T21" fmla="*/ 18 h 387"/>
                <a:gd name="T22" fmla="*/ 17 w 352"/>
                <a:gd name="T23" fmla="*/ 32 h 387"/>
                <a:gd name="T24" fmla="*/ 10 w 352"/>
                <a:gd name="T25" fmla="*/ 43 h 387"/>
                <a:gd name="T26" fmla="*/ 5 w 352"/>
                <a:gd name="T27" fmla="*/ 51 h 387"/>
                <a:gd name="T28" fmla="*/ 2 w 352"/>
                <a:gd name="T29" fmla="*/ 58 h 387"/>
                <a:gd name="T30" fmla="*/ 0 w 352"/>
                <a:gd name="T31" fmla="*/ 65 h 387"/>
                <a:gd name="T32" fmla="*/ 0 w 352"/>
                <a:gd name="T33" fmla="*/ 70 h 387"/>
                <a:gd name="T34" fmla="*/ 1 w 352"/>
                <a:gd name="T35" fmla="*/ 73 h 387"/>
                <a:gd name="T36" fmla="*/ 3 w 352"/>
                <a:gd name="T37" fmla="*/ 76 h 387"/>
                <a:gd name="T38" fmla="*/ 8 w 352"/>
                <a:gd name="T39" fmla="*/ 79 h 387"/>
                <a:gd name="T40" fmla="*/ 13 w 352"/>
                <a:gd name="T41" fmla="*/ 80 h 387"/>
                <a:gd name="T42" fmla="*/ 17 w 352"/>
                <a:gd name="T43" fmla="*/ 80 h 387"/>
                <a:gd name="T44" fmla="*/ 20 w 352"/>
                <a:gd name="T45" fmla="*/ 79 h 387"/>
                <a:gd name="T46" fmla="*/ 23 w 352"/>
                <a:gd name="T47" fmla="*/ 77 h 387"/>
                <a:gd name="T48" fmla="*/ 25 w 352"/>
                <a:gd name="T49" fmla="*/ 77 h 387"/>
                <a:gd name="T50" fmla="*/ 26 w 352"/>
                <a:gd name="T51" fmla="*/ 78 h 387"/>
                <a:gd name="T52" fmla="*/ 26 w 352"/>
                <a:gd name="T53" fmla="*/ 84 h 387"/>
                <a:gd name="T54" fmla="*/ 24 w 352"/>
                <a:gd name="T55" fmla="*/ 92 h 387"/>
                <a:gd name="T56" fmla="*/ 23 w 352"/>
                <a:gd name="T57" fmla="*/ 95 h 387"/>
                <a:gd name="T58" fmla="*/ 23 w 352"/>
                <a:gd name="T59" fmla="*/ 101 h 387"/>
                <a:gd name="T60" fmla="*/ 26 w 352"/>
                <a:gd name="T61" fmla="*/ 109 h 387"/>
                <a:gd name="T62" fmla="*/ 29 w 352"/>
                <a:gd name="T63" fmla="*/ 115 h 387"/>
                <a:gd name="T64" fmla="*/ 39 w 352"/>
                <a:gd name="T65" fmla="*/ 122 h 387"/>
                <a:gd name="T66" fmla="*/ 46 w 352"/>
                <a:gd name="T67" fmla="*/ 126 h 387"/>
                <a:gd name="T68" fmla="*/ 49 w 352"/>
                <a:gd name="T69" fmla="*/ 127 h 387"/>
                <a:gd name="T70" fmla="*/ 52 w 352"/>
                <a:gd name="T71" fmla="*/ 124 h 387"/>
                <a:gd name="T72" fmla="*/ 56 w 352"/>
                <a:gd name="T73" fmla="*/ 119 h 387"/>
                <a:gd name="T74" fmla="*/ 57 w 352"/>
                <a:gd name="T75" fmla="*/ 115 h 387"/>
                <a:gd name="T76" fmla="*/ 58 w 352"/>
                <a:gd name="T77" fmla="*/ 111 h 387"/>
                <a:gd name="T78" fmla="*/ 59 w 352"/>
                <a:gd name="T79" fmla="*/ 106 h 387"/>
                <a:gd name="T80" fmla="*/ 63 w 352"/>
                <a:gd name="T81" fmla="*/ 100 h 387"/>
                <a:gd name="T82" fmla="*/ 69 w 352"/>
                <a:gd name="T83" fmla="*/ 92 h 387"/>
                <a:gd name="T84" fmla="*/ 76 w 352"/>
                <a:gd name="T85" fmla="*/ 86 h 387"/>
                <a:gd name="T86" fmla="*/ 85 w 352"/>
                <a:gd name="T87" fmla="*/ 82 h 387"/>
                <a:gd name="T88" fmla="*/ 96 w 352"/>
                <a:gd name="T89" fmla="*/ 75 h 387"/>
                <a:gd name="T90" fmla="*/ 104 w 352"/>
                <a:gd name="T91" fmla="*/ 70 h 387"/>
                <a:gd name="T92" fmla="*/ 109 w 352"/>
                <a:gd name="T93" fmla="*/ 65 h 387"/>
                <a:gd name="T94" fmla="*/ 111 w 352"/>
                <a:gd name="T95" fmla="*/ 61 h 387"/>
                <a:gd name="T96" fmla="*/ 113 w 352"/>
                <a:gd name="T97" fmla="*/ 55 h 387"/>
                <a:gd name="T98" fmla="*/ 113 w 352"/>
                <a:gd name="T99" fmla="*/ 49 h 387"/>
                <a:gd name="T100" fmla="*/ 110 w 352"/>
                <a:gd name="T101" fmla="*/ 41 h 387"/>
                <a:gd name="T102" fmla="*/ 106 w 352"/>
                <a:gd name="T103" fmla="*/ 3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AU"/>
            </a:p>
          </p:txBody>
        </p:sp>
        <p:sp>
          <p:nvSpPr>
            <p:cNvPr id="2502" name="Freeform 364"/>
            <p:cNvSpPr>
              <a:spLocks/>
            </p:cNvSpPr>
            <p:nvPr/>
          </p:nvSpPr>
          <p:spPr bwMode="auto">
            <a:xfrm>
              <a:off x="923" y="2662"/>
              <a:ext cx="17" cy="26"/>
            </a:xfrm>
            <a:custGeom>
              <a:avLst/>
              <a:gdLst>
                <a:gd name="T0" fmla="*/ 5 w 52"/>
                <a:gd name="T1" fmla="*/ 0 h 78"/>
                <a:gd name="T2" fmla="*/ 7 w 52"/>
                <a:gd name="T3" fmla="*/ 0 h 78"/>
                <a:gd name="T4" fmla="*/ 8 w 52"/>
                <a:gd name="T5" fmla="*/ 1 h 78"/>
                <a:gd name="T6" fmla="*/ 10 w 52"/>
                <a:gd name="T7" fmla="*/ 2 h 78"/>
                <a:gd name="T8" fmla="*/ 12 w 52"/>
                <a:gd name="T9" fmla="*/ 3 h 78"/>
                <a:gd name="T10" fmla="*/ 13 w 52"/>
                <a:gd name="T11" fmla="*/ 4 h 78"/>
                <a:gd name="T12" fmla="*/ 15 w 52"/>
                <a:gd name="T13" fmla="*/ 6 h 78"/>
                <a:gd name="T14" fmla="*/ 15 w 52"/>
                <a:gd name="T15" fmla="*/ 7 h 78"/>
                <a:gd name="T16" fmla="*/ 16 w 52"/>
                <a:gd name="T17" fmla="*/ 8 h 78"/>
                <a:gd name="T18" fmla="*/ 17 w 52"/>
                <a:gd name="T19" fmla="*/ 11 h 78"/>
                <a:gd name="T20" fmla="*/ 17 w 52"/>
                <a:gd name="T21" fmla="*/ 14 h 78"/>
                <a:gd name="T22" fmla="*/ 17 w 52"/>
                <a:gd name="T23" fmla="*/ 15 h 78"/>
                <a:gd name="T24" fmla="*/ 16 w 52"/>
                <a:gd name="T25" fmla="*/ 17 h 78"/>
                <a:gd name="T26" fmla="*/ 15 w 52"/>
                <a:gd name="T27" fmla="*/ 18 h 78"/>
                <a:gd name="T28" fmla="*/ 14 w 52"/>
                <a:gd name="T29" fmla="*/ 20 h 78"/>
                <a:gd name="T30" fmla="*/ 13 w 52"/>
                <a:gd name="T31" fmla="*/ 22 h 78"/>
                <a:gd name="T32" fmla="*/ 13 w 52"/>
                <a:gd name="T33" fmla="*/ 24 h 78"/>
                <a:gd name="T34" fmla="*/ 9 w 52"/>
                <a:gd name="T35" fmla="*/ 25 h 78"/>
                <a:gd name="T36" fmla="*/ 5 w 52"/>
                <a:gd name="T37" fmla="*/ 26 h 78"/>
                <a:gd name="T38" fmla="*/ 4 w 52"/>
                <a:gd name="T39" fmla="*/ 26 h 78"/>
                <a:gd name="T40" fmla="*/ 2 w 52"/>
                <a:gd name="T41" fmla="*/ 26 h 78"/>
                <a:gd name="T42" fmla="*/ 1 w 52"/>
                <a:gd name="T43" fmla="*/ 26 h 78"/>
                <a:gd name="T44" fmla="*/ 1 w 52"/>
                <a:gd name="T45" fmla="*/ 26 h 78"/>
                <a:gd name="T46" fmla="*/ 1 w 52"/>
                <a:gd name="T47" fmla="*/ 25 h 78"/>
                <a:gd name="T48" fmla="*/ 0 w 52"/>
                <a:gd name="T49" fmla="*/ 24 h 78"/>
                <a:gd name="T50" fmla="*/ 0 w 52"/>
                <a:gd name="T51" fmla="*/ 23 h 78"/>
                <a:gd name="T52" fmla="*/ 0 w 52"/>
                <a:gd name="T53" fmla="*/ 21 h 78"/>
                <a:gd name="T54" fmla="*/ 1 w 52"/>
                <a:gd name="T55" fmla="*/ 20 h 78"/>
                <a:gd name="T56" fmla="*/ 2 w 52"/>
                <a:gd name="T57" fmla="*/ 19 h 78"/>
                <a:gd name="T58" fmla="*/ 6 w 52"/>
                <a:gd name="T59" fmla="*/ 16 h 78"/>
                <a:gd name="T60" fmla="*/ 9 w 52"/>
                <a:gd name="T61" fmla="*/ 14 h 78"/>
                <a:gd name="T62" fmla="*/ 8 w 52"/>
                <a:gd name="T63" fmla="*/ 11 h 78"/>
                <a:gd name="T64" fmla="*/ 7 w 52"/>
                <a:gd name="T65" fmla="*/ 7 h 78"/>
                <a:gd name="T66" fmla="*/ 6 w 52"/>
                <a:gd name="T67" fmla="*/ 3 h 78"/>
                <a:gd name="T68" fmla="*/ 5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AU"/>
            </a:p>
          </p:txBody>
        </p:sp>
        <p:sp>
          <p:nvSpPr>
            <p:cNvPr id="2503" name="Freeform 365"/>
            <p:cNvSpPr>
              <a:spLocks/>
            </p:cNvSpPr>
            <p:nvPr/>
          </p:nvSpPr>
          <p:spPr bwMode="auto">
            <a:xfrm>
              <a:off x="912" y="2666"/>
              <a:ext cx="9" cy="10"/>
            </a:xfrm>
            <a:custGeom>
              <a:avLst/>
              <a:gdLst>
                <a:gd name="T0" fmla="*/ 4 w 33"/>
                <a:gd name="T1" fmla="*/ 2 h 30"/>
                <a:gd name="T2" fmla="*/ 0 w 33"/>
                <a:gd name="T3" fmla="*/ 8 h 30"/>
                <a:gd name="T4" fmla="*/ 2 w 33"/>
                <a:gd name="T5" fmla="*/ 8 h 30"/>
                <a:gd name="T6" fmla="*/ 4 w 33"/>
                <a:gd name="T7" fmla="*/ 9 h 30"/>
                <a:gd name="T8" fmla="*/ 6 w 33"/>
                <a:gd name="T9" fmla="*/ 10 h 30"/>
                <a:gd name="T10" fmla="*/ 9 w 33"/>
                <a:gd name="T11" fmla="*/ 10 h 30"/>
                <a:gd name="T12" fmla="*/ 9 w 33"/>
                <a:gd name="T13" fmla="*/ 0 h 30"/>
                <a:gd name="T14" fmla="*/ 5 w 33"/>
                <a:gd name="T15" fmla="*/ 0 h 30"/>
                <a:gd name="T16" fmla="*/ 4 w 33"/>
                <a:gd name="T17" fmla="*/ 2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AU"/>
            </a:p>
          </p:txBody>
        </p:sp>
      </p:grpSp>
      <p:sp>
        <p:nvSpPr>
          <p:cNvPr id="2315" name="Freeform 366"/>
          <p:cNvSpPr>
            <a:spLocks/>
          </p:cNvSpPr>
          <p:nvPr>
            <p:custDataLst>
              <p:tags r:id="rId266"/>
            </p:custDataLst>
          </p:nvPr>
        </p:nvSpPr>
        <p:spPr bwMode="auto">
          <a:xfrm>
            <a:off x="5356225" y="4340225"/>
            <a:ext cx="19050" cy="58738"/>
          </a:xfrm>
          <a:custGeom>
            <a:avLst/>
            <a:gdLst>
              <a:gd name="T0" fmla="*/ 2147483647 w 47"/>
              <a:gd name="T1" fmla="*/ 0 h 28"/>
              <a:gd name="T2" fmla="*/ 2147483647 w 47"/>
              <a:gd name="T3" fmla="*/ 0 h 28"/>
              <a:gd name="T4" fmla="*/ 2147483647 w 47"/>
              <a:gd name="T5" fmla="*/ 2147483647 h 28"/>
              <a:gd name="T6" fmla="*/ 2147483647 w 47"/>
              <a:gd name="T7" fmla="*/ 2147483647 h 28"/>
              <a:gd name="T8" fmla="*/ 2147483647 w 47"/>
              <a:gd name="T9" fmla="*/ 2147483647 h 28"/>
              <a:gd name="T10" fmla="*/ 2147483647 w 47"/>
              <a:gd name="T11" fmla="*/ 2147483647 h 28"/>
              <a:gd name="T12" fmla="*/ 2147483647 w 47"/>
              <a:gd name="T13" fmla="*/ 2147483647 h 28"/>
              <a:gd name="T14" fmla="*/ 2147483647 w 47"/>
              <a:gd name="T15" fmla="*/ 2147483647 h 28"/>
              <a:gd name="T16" fmla="*/ 2147483647 w 47"/>
              <a:gd name="T17" fmla="*/ 2147483647 h 28"/>
              <a:gd name="T18" fmla="*/ 2147483647 w 47"/>
              <a:gd name="T19" fmla="*/ 2147483647 h 28"/>
              <a:gd name="T20" fmla="*/ 2147483647 w 47"/>
              <a:gd name="T21" fmla="*/ 2147483647 h 28"/>
              <a:gd name="T22" fmla="*/ 2147483647 w 47"/>
              <a:gd name="T23" fmla="*/ 2147483647 h 28"/>
              <a:gd name="T24" fmla="*/ 2147483647 w 47"/>
              <a:gd name="T25" fmla="*/ 2147483647 h 28"/>
              <a:gd name="T26" fmla="*/ 2147483647 w 47"/>
              <a:gd name="T27" fmla="*/ 2147483647 h 28"/>
              <a:gd name="T28" fmla="*/ 0 w 47"/>
              <a:gd name="T29" fmla="*/ 2147483647 h 28"/>
              <a:gd name="T30" fmla="*/ 2147483647 w 47"/>
              <a:gd name="T31" fmla="*/ 2147483647 h 28"/>
              <a:gd name="T32" fmla="*/ 2147483647 w 47"/>
              <a:gd name="T33" fmla="*/ 2147483647 h 28"/>
              <a:gd name="T34" fmla="*/ 2147483647 w 47"/>
              <a:gd name="T35" fmla="*/ 2147483647 h 28"/>
              <a:gd name="T36" fmla="*/ 2147483647 w 47"/>
              <a:gd name="T37" fmla="*/ 2147483647 h 28"/>
              <a:gd name="T38" fmla="*/ 2147483647 w 47"/>
              <a:gd name="T39" fmla="*/ 2147483647 h 28"/>
              <a:gd name="T40" fmla="*/ 2147483647 w 47"/>
              <a:gd name="T41" fmla="*/ 2147483647 h 28"/>
              <a:gd name="T42" fmla="*/ 2147483647 w 47"/>
              <a:gd name="T43" fmla="*/ 2147483647 h 28"/>
              <a:gd name="T44" fmla="*/ 2147483647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cmpd="sng">
            <a:solidFill>
              <a:srgbClr val="FFFFFF"/>
            </a:solidFill>
            <a:prstDash val="solid"/>
            <a:round/>
            <a:headEnd/>
            <a:tailEnd/>
          </a:ln>
        </p:spPr>
        <p:txBody>
          <a:bodyPr/>
          <a:lstStyle/>
          <a:p>
            <a:endParaRPr lang="en-AU"/>
          </a:p>
        </p:txBody>
      </p:sp>
      <p:sp>
        <p:nvSpPr>
          <p:cNvPr id="2316" name="Freeform 367"/>
          <p:cNvSpPr>
            <a:spLocks/>
          </p:cNvSpPr>
          <p:nvPr>
            <p:custDataLst>
              <p:tags r:id="rId267"/>
            </p:custDataLst>
          </p:nvPr>
        </p:nvSpPr>
        <p:spPr bwMode="auto">
          <a:xfrm>
            <a:off x="5327650" y="4367213"/>
            <a:ext cx="23813" cy="57150"/>
          </a:xfrm>
          <a:custGeom>
            <a:avLst/>
            <a:gdLst>
              <a:gd name="T0" fmla="*/ 2147483647 w 53"/>
              <a:gd name="T1" fmla="*/ 0 h 33"/>
              <a:gd name="T2" fmla="*/ 2147483647 w 53"/>
              <a:gd name="T3" fmla="*/ 2147483647 h 33"/>
              <a:gd name="T4" fmla="*/ 2147483647 w 53"/>
              <a:gd name="T5" fmla="*/ 2147483647 h 33"/>
              <a:gd name="T6" fmla="*/ 2147483647 w 53"/>
              <a:gd name="T7" fmla="*/ 2147483647 h 33"/>
              <a:gd name="T8" fmla="*/ 2147483647 w 53"/>
              <a:gd name="T9" fmla="*/ 2147483647 h 33"/>
              <a:gd name="T10" fmla="*/ 2147483647 w 53"/>
              <a:gd name="T11" fmla="*/ 2147483647 h 33"/>
              <a:gd name="T12" fmla="*/ 2147483647 w 53"/>
              <a:gd name="T13" fmla="*/ 2147483647 h 33"/>
              <a:gd name="T14" fmla="*/ 2147483647 w 53"/>
              <a:gd name="T15" fmla="*/ 2147483647 h 33"/>
              <a:gd name="T16" fmla="*/ 2147483647 w 53"/>
              <a:gd name="T17" fmla="*/ 2147483647 h 33"/>
              <a:gd name="T18" fmla="*/ 2147483647 w 53"/>
              <a:gd name="T19" fmla="*/ 2147483647 h 33"/>
              <a:gd name="T20" fmla="*/ 2147483647 w 53"/>
              <a:gd name="T21" fmla="*/ 2147483647 h 33"/>
              <a:gd name="T22" fmla="*/ 2147483647 w 53"/>
              <a:gd name="T23" fmla="*/ 2147483647 h 33"/>
              <a:gd name="T24" fmla="*/ 2147483647 w 53"/>
              <a:gd name="T25" fmla="*/ 2147483647 h 33"/>
              <a:gd name="T26" fmla="*/ 2147483647 w 53"/>
              <a:gd name="T27" fmla="*/ 2147483647 h 33"/>
              <a:gd name="T28" fmla="*/ 2147483647 w 53"/>
              <a:gd name="T29" fmla="*/ 2147483647 h 33"/>
              <a:gd name="T30" fmla="*/ 2147483647 w 53"/>
              <a:gd name="T31" fmla="*/ 2147483647 h 33"/>
              <a:gd name="T32" fmla="*/ 0 w 53"/>
              <a:gd name="T33" fmla="*/ 2147483647 h 33"/>
              <a:gd name="T34" fmla="*/ 0 w 53"/>
              <a:gd name="T35" fmla="*/ 2147483647 h 33"/>
              <a:gd name="T36" fmla="*/ 2147483647 w 53"/>
              <a:gd name="T37" fmla="*/ 2147483647 h 33"/>
              <a:gd name="T38" fmla="*/ 2147483647 w 53"/>
              <a:gd name="T39" fmla="*/ 2147483647 h 33"/>
              <a:gd name="T40" fmla="*/ 2147483647 w 53"/>
              <a:gd name="T41" fmla="*/ 2147483647 h 33"/>
              <a:gd name="T42" fmla="*/ 2147483647 w 53"/>
              <a:gd name="T43" fmla="*/ 2147483647 h 33"/>
              <a:gd name="T44" fmla="*/ 2147483647 w 53"/>
              <a:gd name="T45" fmla="*/ 2147483647 h 33"/>
              <a:gd name="T46" fmla="*/ 2147483647 w 53"/>
              <a:gd name="T47" fmla="*/ 2147483647 h 33"/>
              <a:gd name="T48" fmla="*/ 2147483647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0C0C0"/>
          </a:solidFill>
          <a:ln w="9525" cmpd="sng">
            <a:solidFill>
              <a:srgbClr val="FFFFFF"/>
            </a:solidFill>
            <a:prstDash val="solid"/>
            <a:round/>
            <a:headEnd/>
            <a:tailEnd/>
          </a:ln>
        </p:spPr>
        <p:txBody>
          <a:bodyPr/>
          <a:lstStyle/>
          <a:p>
            <a:endParaRPr lang="en-AU"/>
          </a:p>
        </p:txBody>
      </p:sp>
      <p:grpSp>
        <p:nvGrpSpPr>
          <p:cNvPr id="2317" name="Group 368"/>
          <p:cNvGrpSpPr>
            <a:grpSpLocks/>
          </p:cNvGrpSpPr>
          <p:nvPr>
            <p:custDataLst>
              <p:tags r:id="rId268"/>
            </p:custDataLst>
          </p:nvPr>
        </p:nvGrpSpPr>
        <p:grpSpPr bwMode="auto">
          <a:xfrm>
            <a:off x="5168900" y="3859213"/>
            <a:ext cx="168275" cy="103187"/>
            <a:chOff x="3481" y="2773"/>
            <a:chExt cx="125" cy="65"/>
          </a:xfrm>
        </p:grpSpPr>
        <p:sp>
          <p:nvSpPr>
            <p:cNvPr id="2576" name="Freeform 369"/>
            <p:cNvSpPr>
              <a:spLocks/>
            </p:cNvSpPr>
            <p:nvPr/>
          </p:nvSpPr>
          <p:spPr bwMode="auto">
            <a:xfrm>
              <a:off x="3583" y="2798"/>
              <a:ext cx="5"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8">
                  <a:moveTo>
                    <a:pt x="13" y="0"/>
                  </a:moveTo>
                  <a:lnTo>
                    <a:pt x="10" y="9"/>
                  </a:lnTo>
                  <a:lnTo>
                    <a:pt x="6" y="18"/>
                  </a:lnTo>
                  <a:lnTo>
                    <a:pt x="5" y="17"/>
                  </a:lnTo>
                  <a:lnTo>
                    <a:pt x="3" y="14"/>
                  </a:lnTo>
                  <a:lnTo>
                    <a:pt x="1" y="10"/>
                  </a:lnTo>
                  <a:lnTo>
                    <a:pt x="0" y="6"/>
                  </a:lnTo>
                </a:path>
              </a:pathLst>
            </a:custGeom>
            <a:solidFill>
              <a:srgbClr val="C0C0C0"/>
            </a:solidFill>
            <a:ln w="9525" cmpd="sng">
              <a:solidFill>
                <a:srgbClr val="FFFFFF"/>
              </a:solidFill>
              <a:prstDash val="solid"/>
              <a:round/>
              <a:headEnd/>
              <a:tailEnd/>
            </a:ln>
          </p:spPr>
          <p:txBody>
            <a:bodyPr/>
            <a:lstStyle/>
            <a:p>
              <a:endParaRPr lang="en-AU"/>
            </a:p>
          </p:txBody>
        </p:sp>
        <p:sp>
          <p:nvSpPr>
            <p:cNvPr id="2577" name="Line 370"/>
            <p:cNvSpPr>
              <a:spLocks noChangeShapeType="1"/>
            </p:cNvSpPr>
            <p:nvPr/>
          </p:nvSpPr>
          <p:spPr bwMode="auto">
            <a:xfrm>
              <a:off x="3583" y="2800"/>
              <a:ext cx="2" cy="1"/>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AU"/>
            </a:p>
          </p:txBody>
        </p:sp>
        <p:sp>
          <p:nvSpPr>
            <p:cNvPr id="2578" name="Freeform 371"/>
            <p:cNvSpPr>
              <a:spLocks/>
            </p:cNvSpPr>
            <p:nvPr/>
          </p:nvSpPr>
          <p:spPr bwMode="auto">
            <a:xfrm>
              <a:off x="3554" y="2819"/>
              <a:ext cx="5" cy="6"/>
            </a:xfrm>
            <a:custGeom>
              <a:avLst/>
              <a:gdLst>
                <a:gd name="T0" fmla="*/ 0 w 14"/>
                <a:gd name="T1" fmla="*/ 0 h 19"/>
                <a:gd name="T2" fmla="*/ 0 w 14"/>
                <a:gd name="T3" fmla="*/ 0 h 19"/>
                <a:gd name="T4" fmla="*/ 0 w 14"/>
                <a:gd name="T5" fmla="*/ 0 h 19"/>
                <a:gd name="T6" fmla="*/ 0 60000 65536"/>
                <a:gd name="T7" fmla="*/ 0 60000 65536"/>
                <a:gd name="T8" fmla="*/ 0 60000 65536"/>
              </a:gdLst>
              <a:ahLst/>
              <a:cxnLst>
                <a:cxn ang="T6">
                  <a:pos x="T0" y="T1"/>
                </a:cxn>
                <a:cxn ang="T7">
                  <a:pos x="T2" y="T3"/>
                </a:cxn>
                <a:cxn ang="T8">
                  <a:pos x="T4" y="T5"/>
                </a:cxn>
              </a:cxnLst>
              <a:rect l="0" t="0" r="r" b="b"/>
              <a:pathLst>
                <a:path w="14" h="19">
                  <a:moveTo>
                    <a:pt x="14" y="19"/>
                  </a:moveTo>
                  <a:lnTo>
                    <a:pt x="0" y="0"/>
                  </a:lnTo>
                  <a:lnTo>
                    <a:pt x="14" y="19"/>
                  </a:lnTo>
                </a:path>
              </a:pathLst>
            </a:custGeom>
            <a:solidFill>
              <a:srgbClr val="C0C0C0"/>
            </a:solidFill>
            <a:ln w="9525" cmpd="sng">
              <a:solidFill>
                <a:srgbClr val="FFFFFF"/>
              </a:solidFill>
              <a:prstDash val="solid"/>
              <a:round/>
              <a:headEnd/>
              <a:tailEnd/>
            </a:ln>
          </p:spPr>
          <p:txBody>
            <a:bodyPr/>
            <a:lstStyle/>
            <a:p>
              <a:endParaRPr lang="en-AU"/>
            </a:p>
          </p:txBody>
        </p:sp>
        <p:sp>
          <p:nvSpPr>
            <p:cNvPr id="2579" name="Freeform 372"/>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8">
                  <a:moveTo>
                    <a:pt x="0" y="6"/>
                  </a:moveTo>
                  <a:lnTo>
                    <a:pt x="7" y="18"/>
                  </a:lnTo>
                  <a:lnTo>
                    <a:pt x="0" y="18"/>
                  </a:lnTo>
                  <a:lnTo>
                    <a:pt x="0" y="0"/>
                  </a:lnTo>
                  <a:lnTo>
                    <a:pt x="7" y="0"/>
                  </a:lnTo>
                </a:path>
              </a:pathLst>
            </a:custGeom>
            <a:solidFill>
              <a:srgbClr val="C0C0C0"/>
            </a:solidFill>
            <a:ln w="9525" cmpd="sng">
              <a:solidFill>
                <a:srgbClr val="FFFFFF"/>
              </a:solidFill>
              <a:prstDash val="solid"/>
              <a:round/>
              <a:headEnd/>
              <a:tailEnd/>
            </a:ln>
          </p:spPr>
          <p:txBody>
            <a:bodyPr/>
            <a:lstStyle/>
            <a:p>
              <a:endParaRPr lang="en-AU"/>
            </a:p>
          </p:txBody>
        </p:sp>
        <p:sp>
          <p:nvSpPr>
            <p:cNvPr id="2580" name="Freeform 373"/>
            <p:cNvSpPr>
              <a:spLocks/>
            </p:cNvSpPr>
            <p:nvPr/>
          </p:nvSpPr>
          <p:spPr bwMode="auto">
            <a:xfrm>
              <a:off x="3599" y="2773"/>
              <a:ext cx="7" cy="4"/>
            </a:xfrm>
            <a:custGeom>
              <a:avLst/>
              <a:gdLst>
                <a:gd name="T0" fmla="*/ 0 w 20"/>
                <a:gd name="T1" fmla="*/ 0 h 12"/>
                <a:gd name="T2" fmla="*/ 0 w 20"/>
                <a:gd name="T3" fmla="*/ 0 h 12"/>
                <a:gd name="T4" fmla="*/ 0 w 20"/>
                <a:gd name="T5" fmla="*/ 0 h 12"/>
                <a:gd name="T6" fmla="*/ 0 w 20"/>
                <a:gd name="T7" fmla="*/ 0 h 12"/>
                <a:gd name="T8" fmla="*/ 0 w 20"/>
                <a:gd name="T9" fmla="*/ 0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10" y="9"/>
                  </a:lnTo>
                  <a:lnTo>
                    <a:pt x="0" y="6"/>
                  </a:lnTo>
                  <a:lnTo>
                    <a:pt x="1" y="5"/>
                  </a:lnTo>
                  <a:lnTo>
                    <a:pt x="3" y="3"/>
                  </a:lnTo>
                  <a:lnTo>
                    <a:pt x="8" y="1"/>
                  </a:lnTo>
                  <a:lnTo>
                    <a:pt x="13" y="0"/>
                  </a:lnTo>
                </a:path>
              </a:pathLst>
            </a:custGeom>
            <a:solidFill>
              <a:srgbClr val="C0C0C0"/>
            </a:solidFill>
            <a:ln w="9525" cmpd="sng">
              <a:solidFill>
                <a:srgbClr val="FFFFFF"/>
              </a:solidFill>
              <a:prstDash val="solid"/>
              <a:round/>
              <a:headEnd/>
              <a:tailEnd/>
            </a:ln>
          </p:spPr>
          <p:txBody>
            <a:bodyPr/>
            <a:lstStyle/>
            <a:p>
              <a:endParaRPr lang="en-AU"/>
            </a:p>
          </p:txBody>
        </p:sp>
        <p:sp>
          <p:nvSpPr>
            <p:cNvPr id="2584" name="Line 374"/>
            <p:cNvSpPr>
              <a:spLocks noChangeShapeType="1"/>
            </p:cNvSpPr>
            <p:nvPr/>
          </p:nvSpPr>
          <p:spPr bwMode="auto">
            <a:xfrm>
              <a:off x="3603" y="2773"/>
              <a:ext cx="1" cy="2"/>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AU"/>
            </a:p>
          </p:txBody>
        </p:sp>
        <p:sp>
          <p:nvSpPr>
            <p:cNvPr id="2585" name="Freeform 375"/>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60000 65536"/>
                <a:gd name="T7" fmla="*/ 0 60000 65536"/>
                <a:gd name="T8" fmla="*/ 0 60000 65536"/>
              </a:gdLst>
              <a:ahLst/>
              <a:cxnLst>
                <a:cxn ang="T6">
                  <a:pos x="T0" y="T1"/>
                </a:cxn>
                <a:cxn ang="T7">
                  <a:pos x="T2" y="T3"/>
                </a:cxn>
                <a:cxn ang="T8">
                  <a:pos x="T4" y="T5"/>
                </a:cxn>
              </a:cxnLst>
              <a:rect l="0" t="0" r="r" b="b"/>
              <a:pathLst>
                <a:path w="20" h="18">
                  <a:moveTo>
                    <a:pt x="0" y="0"/>
                  </a:moveTo>
                  <a:lnTo>
                    <a:pt x="0" y="18"/>
                  </a:lnTo>
                  <a:lnTo>
                    <a:pt x="20" y="18"/>
                  </a:lnTo>
                </a:path>
              </a:pathLst>
            </a:custGeom>
            <a:solidFill>
              <a:srgbClr val="C0C0C0"/>
            </a:solidFill>
            <a:ln w="9525" cmpd="sng">
              <a:solidFill>
                <a:srgbClr val="FFFFFF"/>
              </a:solidFill>
              <a:prstDash val="solid"/>
              <a:round/>
              <a:headEnd/>
              <a:tailEnd/>
            </a:ln>
          </p:spPr>
          <p:txBody>
            <a:bodyPr/>
            <a:lstStyle/>
            <a:p>
              <a:endParaRPr lang="en-AU"/>
            </a:p>
          </p:txBody>
        </p:sp>
        <p:sp>
          <p:nvSpPr>
            <p:cNvPr id="2586" name="Freeform 376"/>
            <p:cNvSpPr>
              <a:spLocks/>
            </p:cNvSpPr>
            <p:nvPr/>
          </p:nvSpPr>
          <p:spPr bwMode="auto">
            <a:xfrm>
              <a:off x="3485" y="2830"/>
              <a:ext cx="3" cy="4"/>
            </a:xfrm>
            <a:custGeom>
              <a:avLst/>
              <a:gdLst>
                <a:gd name="T0" fmla="*/ 0 w 7"/>
                <a:gd name="T1" fmla="*/ 0 h 12"/>
                <a:gd name="T2" fmla="*/ 0 w 7"/>
                <a:gd name="T3" fmla="*/ 0 h 12"/>
                <a:gd name="T4" fmla="*/ 0 w 7"/>
                <a:gd name="T5" fmla="*/ 0 h 12"/>
                <a:gd name="T6" fmla="*/ 0 60000 65536"/>
                <a:gd name="T7" fmla="*/ 0 60000 65536"/>
                <a:gd name="T8" fmla="*/ 0 60000 65536"/>
              </a:gdLst>
              <a:ahLst/>
              <a:cxnLst>
                <a:cxn ang="T6">
                  <a:pos x="T0" y="T1"/>
                </a:cxn>
                <a:cxn ang="T7">
                  <a:pos x="T2" y="T3"/>
                </a:cxn>
                <a:cxn ang="T8">
                  <a:pos x="T4" y="T5"/>
                </a:cxn>
              </a:cxnLst>
              <a:rect l="0" t="0" r="r" b="b"/>
              <a:pathLst>
                <a:path w="7" h="12">
                  <a:moveTo>
                    <a:pt x="7" y="12"/>
                  </a:moveTo>
                  <a:lnTo>
                    <a:pt x="4" y="6"/>
                  </a:lnTo>
                  <a:lnTo>
                    <a:pt x="0" y="0"/>
                  </a:lnTo>
                </a:path>
              </a:pathLst>
            </a:custGeom>
            <a:solidFill>
              <a:srgbClr val="C0C0C0"/>
            </a:solidFill>
            <a:ln w="9525" cmpd="sng">
              <a:solidFill>
                <a:srgbClr val="FFFFFF"/>
              </a:solidFill>
              <a:prstDash val="solid"/>
              <a:round/>
              <a:headEnd/>
              <a:tailEnd/>
            </a:ln>
          </p:spPr>
          <p:txBody>
            <a:bodyPr/>
            <a:lstStyle/>
            <a:p>
              <a:endParaRPr lang="en-AU"/>
            </a:p>
          </p:txBody>
        </p:sp>
        <p:sp>
          <p:nvSpPr>
            <p:cNvPr id="2587" name="Freeform 377"/>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w 20"/>
                <a:gd name="T7" fmla="*/ 0 h 18"/>
                <a:gd name="T8" fmla="*/ 0 w 20"/>
                <a:gd name="T9" fmla="*/ 0 h 18"/>
                <a:gd name="T10" fmla="*/ 0 w 2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8">
                  <a:moveTo>
                    <a:pt x="0" y="0"/>
                  </a:moveTo>
                  <a:lnTo>
                    <a:pt x="0" y="18"/>
                  </a:lnTo>
                  <a:lnTo>
                    <a:pt x="20" y="18"/>
                  </a:lnTo>
                  <a:lnTo>
                    <a:pt x="17" y="12"/>
                  </a:lnTo>
                  <a:lnTo>
                    <a:pt x="13" y="6"/>
                  </a:lnTo>
                  <a:lnTo>
                    <a:pt x="0" y="0"/>
                  </a:lnTo>
                </a:path>
              </a:pathLst>
            </a:custGeom>
            <a:solidFill>
              <a:srgbClr val="C0C0C0"/>
            </a:solidFill>
            <a:ln w="9525" cmpd="sng">
              <a:solidFill>
                <a:srgbClr val="FFFFFF"/>
              </a:solidFill>
              <a:prstDash val="solid"/>
              <a:round/>
              <a:headEnd/>
              <a:tailEnd/>
            </a:ln>
          </p:spPr>
          <p:txBody>
            <a:bodyPr/>
            <a:lstStyle/>
            <a:p>
              <a:endParaRPr lang="en-AU"/>
            </a:p>
          </p:txBody>
        </p:sp>
        <p:sp>
          <p:nvSpPr>
            <p:cNvPr id="2588" name="Freeform 378"/>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w 7"/>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6"/>
                  </a:moveTo>
                  <a:lnTo>
                    <a:pt x="7" y="18"/>
                  </a:lnTo>
                  <a:lnTo>
                    <a:pt x="0" y="18"/>
                  </a:lnTo>
                  <a:lnTo>
                    <a:pt x="0" y="0"/>
                  </a:lnTo>
                  <a:lnTo>
                    <a:pt x="7" y="0"/>
                  </a:lnTo>
                  <a:lnTo>
                    <a:pt x="0" y="6"/>
                  </a:lnTo>
                </a:path>
              </a:pathLst>
            </a:custGeom>
            <a:solidFill>
              <a:srgbClr val="C0C0C0"/>
            </a:solidFill>
            <a:ln w="9525" cmpd="sng">
              <a:solidFill>
                <a:srgbClr val="FFFFFF"/>
              </a:solidFill>
              <a:prstDash val="solid"/>
              <a:round/>
              <a:headEnd/>
              <a:tailEnd/>
            </a:ln>
          </p:spPr>
          <p:txBody>
            <a:bodyPr/>
            <a:lstStyle/>
            <a:p>
              <a:endParaRPr lang="en-AU"/>
            </a:p>
          </p:txBody>
        </p:sp>
        <p:sp>
          <p:nvSpPr>
            <p:cNvPr id="2589" name="Freeform 379"/>
            <p:cNvSpPr>
              <a:spLocks/>
            </p:cNvSpPr>
            <p:nvPr/>
          </p:nvSpPr>
          <p:spPr bwMode="auto">
            <a:xfrm>
              <a:off x="3583" y="2798"/>
              <a:ext cx="5"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w 13"/>
                <a:gd name="T15" fmla="*/ 0 h 18"/>
                <a:gd name="T16" fmla="*/ 0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cmpd="sng">
              <a:solidFill>
                <a:srgbClr val="FFFFFF"/>
              </a:solidFill>
              <a:prstDash val="solid"/>
              <a:round/>
              <a:headEnd/>
              <a:tailEnd/>
            </a:ln>
          </p:spPr>
          <p:txBody>
            <a:bodyPr/>
            <a:lstStyle/>
            <a:p>
              <a:endParaRPr lang="en-AU"/>
            </a:p>
          </p:txBody>
        </p:sp>
      </p:grpSp>
      <p:sp>
        <p:nvSpPr>
          <p:cNvPr id="2318" name="Freeform 380"/>
          <p:cNvSpPr>
            <a:spLocks/>
          </p:cNvSpPr>
          <p:nvPr>
            <p:custDataLst>
              <p:tags r:id="rId269"/>
            </p:custDataLst>
          </p:nvPr>
        </p:nvSpPr>
        <p:spPr bwMode="auto">
          <a:xfrm>
            <a:off x="4297363" y="3851275"/>
            <a:ext cx="319087" cy="379413"/>
          </a:xfrm>
          <a:custGeom>
            <a:avLst/>
            <a:gdLst>
              <a:gd name="T0" fmla="*/ 2147483647 w 736"/>
              <a:gd name="T1" fmla="*/ 2147483647 h 721"/>
              <a:gd name="T2" fmla="*/ 2147483647 w 736"/>
              <a:gd name="T3" fmla="*/ 2147483647 h 721"/>
              <a:gd name="T4" fmla="*/ 2147483647 w 736"/>
              <a:gd name="T5" fmla="*/ 2147483647 h 721"/>
              <a:gd name="T6" fmla="*/ 2147483647 w 736"/>
              <a:gd name="T7" fmla="*/ 2147483647 h 721"/>
              <a:gd name="T8" fmla="*/ 2147483647 w 736"/>
              <a:gd name="T9" fmla="*/ 2147483647 h 721"/>
              <a:gd name="T10" fmla="*/ 2147483647 w 736"/>
              <a:gd name="T11" fmla="*/ 2147483647 h 721"/>
              <a:gd name="T12" fmla="*/ 2147483647 w 736"/>
              <a:gd name="T13" fmla="*/ 2147483647 h 721"/>
              <a:gd name="T14" fmla="*/ 2147483647 w 736"/>
              <a:gd name="T15" fmla="*/ 2147483647 h 721"/>
              <a:gd name="T16" fmla="*/ 2147483647 w 736"/>
              <a:gd name="T17" fmla="*/ 2147483647 h 721"/>
              <a:gd name="T18" fmla="*/ 2147483647 w 736"/>
              <a:gd name="T19" fmla="*/ 2147483647 h 721"/>
              <a:gd name="T20" fmla="*/ 2147483647 w 736"/>
              <a:gd name="T21" fmla="*/ 2147483647 h 721"/>
              <a:gd name="T22" fmla="*/ 2147483647 w 736"/>
              <a:gd name="T23" fmla="*/ 2147483647 h 721"/>
              <a:gd name="T24" fmla="*/ 2147483647 w 736"/>
              <a:gd name="T25" fmla="*/ 2147483647 h 721"/>
              <a:gd name="T26" fmla="*/ 2147483647 w 736"/>
              <a:gd name="T27" fmla="*/ 2147483647 h 721"/>
              <a:gd name="T28" fmla="*/ 2147483647 w 736"/>
              <a:gd name="T29" fmla="*/ 2147483647 h 721"/>
              <a:gd name="T30" fmla="*/ 2147483647 w 736"/>
              <a:gd name="T31" fmla="*/ 2147483647 h 721"/>
              <a:gd name="T32" fmla="*/ 2147483647 w 736"/>
              <a:gd name="T33" fmla="*/ 2147483647 h 721"/>
              <a:gd name="T34" fmla="*/ 2147483647 w 736"/>
              <a:gd name="T35" fmla="*/ 2147483647 h 721"/>
              <a:gd name="T36" fmla="*/ 2147483647 w 736"/>
              <a:gd name="T37" fmla="*/ 2147483647 h 721"/>
              <a:gd name="T38" fmla="*/ 2147483647 w 736"/>
              <a:gd name="T39" fmla="*/ 2147483647 h 721"/>
              <a:gd name="T40" fmla="*/ 2147483647 w 736"/>
              <a:gd name="T41" fmla="*/ 2147483647 h 721"/>
              <a:gd name="T42" fmla="*/ 2147483647 w 736"/>
              <a:gd name="T43" fmla="*/ 2147483647 h 721"/>
              <a:gd name="T44" fmla="*/ 2147483647 w 736"/>
              <a:gd name="T45" fmla="*/ 2147483647 h 721"/>
              <a:gd name="T46" fmla="*/ 2147483647 w 736"/>
              <a:gd name="T47" fmla="*/ 2147483647 h 721"/>
              <a:gd name="T48" fmla="*/ 2147483647 w 736"/>
              <a:gd name="T49" fmla="*/ 2147483647 h 721"/>
              <a:gd name="T50" fmla="*/ 2147483647 w 736"/>
              <a:gd name="T51" fmla="*/ 2147483647 h 721"/>
              <a:gd name="T52" fmla="*/ 2147483647 w 736"/>
              <a:gd name="T53" fmla="*/ 2147483647 h 721"/>
              <a:gd name="T54" fmla="*/ 2147483647 w 736"/>
              <a:gd name="T55" fmla="*/ 2147483647 h 721"/>
              <a:gd name="T56" fmla="*/ 2147483647 w 736"/>
              <a:gd name="T57" fmla="*/ 2147483647 h 721"/>
              <a:gd name="T58" fmla="*/ 2147483647 w 736"/>
              <a:gd name="T59" fmla="*/ 2147483647 h 721"/>
              <a:gd name="T60" fmla="*/ 2147483647 w 736"/>
              <a:gd name="T61" fmla="*/ 2147483647 h 721"/>
              <a:gd name="T62" fmla="*/ 2147483647 w 736"/>
              <a:gd name="T63" fmla="*/ 2147483647 h 721"/>
              <a:gd name="T64" fmla="*/ 2147483647 w 736"/>
              <a:gd name="T65" fmla="*/ 2147483647 h 721"/>
              <a:gd name="T66" fmla="*/ 2147483647 w 736"/>
              <a:gd name="T67" fmla="*/ 0 h 721"/>
              <a:gd name="T68" fmla="*/ 2147483647 w 736"/>
              <a:gd name="T69" fmla="*/ 2147483647 h 721"/>
              <a:gd name="T70" fmla="*/ 2147483647 w 736"/>
              <a:gd name="T71" fmla="*/ 2147483647 h 721"/>
              <a:gd name="T72" fmla="*/ 2147483647 w 736"/>
              <a:gd name="T73" fmla="*/ 2147483647 h 721"/>
              <a:gd name="T74" fmla="*/ 2147483647 w 736"/>
              <a:gd name="T75" fmla="*/ 2147483647 h 721"/>
              <a:gd name="T76" fmla="*/ 2147483647 w 736"/>
              <a:gd name="T77" fmla="*/ 2147483647 h 721"/>
              <a:gd name="T78" fmla="*/ 2147483647 w 736"/>
              <a:gd name="T79" fmla="*/ 2147483647 h 721"/>
              <a:gd name="T80" fmla="*/ 2147483647 w 736"/>
              <a:gd name="T81" fmla="*/ 2147483647 h 721"/>
              <a:gd name="T82" fmla="*/ 2147483647 w 736"/>
              <a:gd name="T83" fmla="*/ 2147483647 h 721"/>
              <a:gd name="T84" fmla="*/ 2147483647 w 736"/>
              <a:gd name="T85" fmla="*/ 2147483647 h 721"/>
              <a:gd name="T86" fmla="*/ 2147483647 w 736"/>
              <a:gd name="T87" fmla="*/ 2147483647 h 721"/>
              <a:gd name="T88" fmla="*/ 2147483647 w 736"/>
              <a:gd name="T89" fmla="*/ 2147483647 h 721"/>
              <a:gd name="T90" fmla="*/ 2147483647 w 736"/>
              <a:gd name="T91" fmla="*/ 2147483647 h 721"/>
              <a:gd name="T92" fmla="*/ 2147483647 w 736"/>
              <a:gd name="T93" fmla="*/ 2147483647 h 721"/>
              <a:gd name="T94" fmla="*/ 2147483647 w 736"/>
              <a:gd name="T95" fmla="*/ 2147483647 h 721"/>
              <a:gd name="T96" fmla="*/ 2147483647 w 736"/>
              <a:gd name="T97" fmla="*/ 21474836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0C0C0"/>
          </a:solidFill>
          <a:ln w="9525" cmpd="sng">
            <a:solidFill>
              <a:srgbClr val="FFFFFF"/>
            </a:solidFill>
            <a:prstDash val="solid"/>
            <a:round/>
            <a:headEnd/>
            <a:tailEnd/>
          </a:ln>
        </p:spPr>
        <p:txBody>
          <a:bodyPr/>
          <a:lstStyle/>
          <a:p>
            <a:endParaRPr lang="en-AU"/>
          </a:p>
        </p:txBody>
      </p:sp>
      <p:sp>
        <p:nvSpPr>
          <p:cNvPr id="2319" name="Freeform 381"/>
          <p:cNvSpPr>
            <a:spLocks/>
          </p:cNvSpPr>
          <p:nvPr>
            <p:custDataLst>
              <p:tags r:id="rId270"/>
            </p:custDataLst>
          </p:nvPr>
        </p:nvSpPr>
        <p:spPr bwMode="auto">
          <a:xfrm>
            <a:off x="4308475" y="3824288"/>
            <a:ext cx="15875" cy="60325"/>
          </a:xfrm>
          <a:custGeom>
            <a:avLst/>
            <a:gdLst>
              <a:gd name="T0" fmla="*/ 0 w 39"/>
              <a:gd name="T1" fmla="*/ 2147483647 h 31"/>
              <a:gd name="T2" fmla="*/ 2147483647 w 39"/>
              <a:gd name="T3" fmla="*/ 2147483647 h 31"/>
              <a:gd name="T4" fmla="*/ 2147483647 w 39"/>
              <a:gd name="T5" fmla="*/ 2147483647 h 31"/>
              <a:gd name="T6" fmla="*/ 2147483647 w 39"/>
              <a:gd name="T7" fmla="*/ 2147483647 h 31"/>
              <a:gd name="T8" fmla="*/ 2147483647 w 39"/>
              <a:gd name="T9" fmla="*/ 2147483647 h 31"/>
              <a:gd name="T10" fmla="*/ 2147483647 w 39"/>
              <a:gd name="T11" fmla="*/ 2147483647 h 31"/>
              <a:gd name="T12" fmla="*/ 2147483647 w 39"/>
              <a:gd name="T13" fmla="*/ 2147483647 h 31"/>
              <a:gd name="T14" fmla="*/ 2147483647 w 39"/>
              <a:gd name="T15" fmla="*/ 0 h 31"/>
              <a:gd name="T16" fmla="*/ 2147483647 w 39"/>
              <a:gd name="T17" fmla="*/ 0 h 31"/>
              <a:gd name="T18" fmla="*/ 2147483647 w 39"/>
              <a:gd name="T19" fmla="*/ 0 h 31"/>
              <a:gd name="T20" fmla="*/ 2147483647 w 39"/>
              <a:gd name="T21" fmla="*/ 0 h 31"/>
              <a:gd name="T22" fmla="*/ 0 w 39"/>
              <a:gd name="T23" fmla="*/ 0 h 31"/>
              <a:gd name="T24" fmla="*/ 0 w 39"/>
              <a:gd name="T25" fmla="*/ 2147483647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mpd="sng">
            <a:solidFill>
              <a:srgbClr val="FFFFFF"/>
            </a:solidFill>
            <a:prstDash val="solid"/>
            <a:round/>
            <a:headEnd/>
            <a:tailEnd/>
          </a:ln>
        </p:spPr>
        <p:txBody>
          <a:bodyPr/>
          <a:lstStyle/>
          <a:p>
            <a:endParaRPr lang="en-AU"/>
          </a:p>
        </p:txBody>
      </p:sp>
      <p:sp>
        <p:nvSpPr>
          <p:cNvPr id="2320" name="Freeform 382"/>
          <p:cNvSpPr>
            <a:spLocks/>
          </p:cNvSpPr>
          <p:nvPr>
            <p:custDataLst>
              <p:tags r:id="rId271"/>
            </p:custDataLst>
          </p:nvPr>
        </p:nvSpPr>
        <p:spPr bwMode="auto">
          <a:xfrm>
            <a:off x="4410075" y="4367213"/>
            <a:ext cx="396875" cy="398462"/>
          </a:xfrm>
          <a:custGeom>
            <a:avLst/>
            <a:gdLst>
              <a:gd name="T0" fmla="*/ 2147483647 w 903"/>
              <a:gd name="T1" fmla="*/ 2147483647 h 759"/>
              <a:gd name="T2" fmla="*/ 2147483647 w 903"/>
              <a:gd name="T3" fmla="*/ 2147483647 h 759"/>
              <a:gd name="T4" fmla="*/ 2147483647 w 903"/>
              <a:gd name="T5" fmla="*/ 2147483647 h 759"/>
              <a:gd name="T6" fmla="*/ 2147483647 w 903"/>
              <a:gd name="T7" fmla="*/ 2147483647 h 759"/>
              <a:gd name="T8" fmla="*/ 2147483647 w 903"/>
              <a:gd name="T9" fmla="*/ 2147483647 h 759"/>
              <a:gd name="T10" fmla="*/ 2147483647 w 903"/>
              <a:gd name="T11" fmla="*/ 2147483647 h 759"/>
              <a:gd name="T12" fmla="*/ 2147483647 w 903"/>
              <a:gd name="T13" fmla="*/ 2147483647 h 759"/>
              <a:gd name="T14" fmla="*/ 2147483647 w 903"/>
              <a:gd name="T15" fmla="*/ 2147483647 h 759"/>
              <a:gd name="T16" fmla="*/ 2147483647 w 903"/>
              <a:gd name="T17" fmla="*/ 2147483647 h 759"/>
              <a:gd name="T18" fmla="*/ 2147483647 w 903"/>
              <a:gd name="T19" fmla="*/ 2147483647 h 759"/>
              <a:gd name="T20" fmla="*/ 2147483647 w 903"/>
              <a:gd name="T21" fmla="*/ 2147483647 h 759"/>
              <a:gd name="T22" fmla="*/ 2147483647 w 903"/>
              <a:gd name="T23" fmla="*/ 2147483647 h 759"/>
              <a:gd name="T24" fmla="*/ 2147483647 w 903"/>
              <a:gd name="T25" fmla="*/ 2147483647 h 759"/>
              <a:gd name="T26" fmla="*/ 2147483647 w 903"/>
              <a:gd name="T27" fmla="*/ 2147483647 h 759"/>
              <a:gd name="T28" fmla="*/ 2147483647 w 903"/>
              <a:gd name="T29" fmla="*/ 2147483647 h 759"/>
              <a:gd name="T30" fmla="*/ 2147483647 w 903"/>
              <a:gd name="T31" fmla="*/ 2147483647 h 759"/>
              <a:gd name="T32" fmla="*/ 2147483647 w 903"/>
              <a:gd name="T33" fmla="*/ 2147483647 h 759"/>
              <a:gd name="T34" fmla="*/ 2147483647 w 903"/>
              <a:gd name="T35" fmla="*/ 2147483647 h 759"/>
              <a:gd name="T36" fmla="*/ 2147483647 w 903"/>
              <a:gd name="T37" fmla="*/ 2147483647 h 759"/>
              <a:gd name="T38" fmla="*/ 2147483647 w 903"/>
              <a:gd name="T39" fmla="*/ 2147483647 h 759"/>
              <a:gd name="T40" fmla="*/ 2147483647 w 903"/>
              <a:gd name="T41" fmla="*/ 2147483647 h 759"/>
              <a:gd name="T42" fmla="*/ 2147483647 w 903"/>
              <a:gd name="T43" fmla="*/ 2147483647 h 759"/>
              <a:gd name="T44" fmla="*/ 2147483647 w 903"/>
              <a:gd name="T45" fmla="*/ 2147483647 h 759"/>
              <a:gd name="T46" fmla="*/ 2147483647 w 903"/>
              <a:gd name="T47" fmla="*/ 2147483647 h 759"/>
              <a:gd name="T48" fmla="*/ 2147483647 w 903"/>
              <a:gd name="T49" fmla="*/ 2147483647 h 759"/>
              <a:gd name="T50" fmla="*/ 2147483647 w 903"/>
              <a:gd name="T51" fmla="*/ 2147483647 h 759"/>
              <a:gd name="T52" fmla="*/ 2147483647 w 903"/>
              <a:gd name="T53" fmla="*/ 2147483647 h 759"/>
              <a:gd name="T54" fmla="*/ 0 w 903"/>
              <a:gd name="T55" fmla="*/ 2147483647 h 759"/>
              <a:gd name="T56" fmla="*/ 2147483647 w 903"/>
              <a:gd name="T57" fmla="*/ 2147483647 h 759"/>
              <a:gd name="T58" fmla="*/ 2147483647 w 903"/>
              <a:gd name="T59" fmla="*/ 2147483647 h 759"/>
              <a:gd name="T60" fmla="*/ 2147483647 w 903"/>
              <a:gd name="T61" fmla="*/ 2147483647 h 759"/>
              <a:gd name="T62" fmla="*/ 2147483647 w 903"/>
              <a:gd name="T63" fmla="*/ 2147483647 h 759"/>
              <a:gd name="T64" fmla="*/ 2147483647 w 903"/>
              <a:gd name="T65" fmla="*/ 2147483647 h 759"/>
              <a:gd name="T66" fmla="*/ 2147483647 w 903"/>
              <a:gd name="T67" fmla="*/ 2147483647 h 759"/>
              <a:gd name="T68" fmla="*/ 2147483647 w 903"/>
              <a:gd name="T69" fmla="*/ 2147483647 h 759"/>
              <a:gd name="T70" fmla="*/ 2147483647 w 903"/>
              <a:gd name="T71" fmla="*/ 2147483647 h 759"/>
              <a:gd name="T72" fmla="*/ 2147483647 w 903"/>
              <a:gd name="T73" fmla="*/ 2147483647 h 759"/>
              <a:gd name="T74" fmla="*/ 2147483647 w 903"/>
              <a:gd name="T75" fmla="*/ 2147483647 h 759"/>
              <a:gd name="T76" fmla="*/ 2147483647 w 903"/>
              <a:gd name="T77" fmla="*/ 2147483647 h 759"/>
              <a:gd name="T78" fmla="*/ 2147483647 w 903"/>
              <a:gd name="T79" fmla="*/ 2147483647 h 759"/>
              <a:gd name="T80" fmla="*/ 2147483647 w 903"/>
              <a:gd name="T81" fmla="*/ 2147483647 h 759"/>
              <a:gd name="T82" fmla="*/ 2147483647 w 903"/>
              <a:gd name="T83" fmla="*/ 2147483647 h 759"/>
              <a:gd name="T84" fmla="*/ 2147483647 w 903"/>
              <a:gd name="T85" fmla="*/ 2147483647 h 759"/>
              <a:gd name="T86" fmla="*/ 2147483647 w 903"/>
              <a:gd name="T87" fmla="*/ 2147483647 h 759"/>
              <a:gd name="T88" fmla="*/ 2147483647 w 903"/>
              <a:gd name="T89" fmla="*/ 2147483647 h 759"/>
              <a:gd name="T90" fmla="*/ 2147483647 w 903"/>
              <a:gd name="T91" fmla="*/ 2147483647 h 759"/>
              <a:gd name="T92" fmla="*/ 2147483647 w 903"/>
              <a:gd name="T93" fmla="*/ 2147483647 h 759"/>
              <a:gd name="T94" fmla="*/ 2147483647 w 903"/>
              <a:gd name="T95" fmla="*/ 2147483647 h 759"/>
              <a:gd name="T96" fmla="*/ 2147483647 w 903"/>
              <a:gd name="T97" fmla="*/ 2147483647 h 759"/>
              <a:gd name="T98" fmla="*/ 2147483647 w 903"/>
              <a:gd name="T99" fmla="*/ 2147483647 h 759"/>
              <a:gd name="T100" fmla="*/ 2147483647 w 903"/>
              <a:gd name="T101" fmla="*/ 2147483647 h 759"/>
              <a:gd name="T102" fmla="*/ 2147483647 w 903"/>
              <a:gd name="T103" fmla="*/ 2147483647 h 759"/>
              <a:gd name="T104" fmla="*/ 2147483647 w 903"/>
              <a:gd name="T105" fmla="*/ 2147483647 h 759"/>
              <a:gd name="T106" fmla="*/ 2147483647 w 903"/>
              <a:gd name="T107" fmla="*/ 2147483647 h 759"/>
              <a:gd name="T108" fmla="*/ 2147483647 w 903"/>
              <a:gd name="T109" fmla="*/ 2147483647 h 759"/>
              <a:gd name="T110" fmla="*/ 2147483647 w 903"/>
              <a:gd name="T111" fmla="*/ 2147483647 h 759"/>
              <a:gd name="T112" fmla="*/ 2147483647 w 903"/>
              <a:gd name="T113" fmla="*/ 2147483647 h 759"/>
              <a:gd name="T114" fmla="*/ 2147483647 w 903"/>
              <a:gd name="T115" fmla="*/ 2147483647 h 759"/>
              <a:gd name="T116" fmla="*/ 2147483647 w 903"/>
              <a:gd name="T117" fmla="*/ 2147483647 h 759"/>
              <a:gd name="T118" fmla="*/ 2147483647 w 903"/>
              <a:gd name="T119" fmla="*/ 2147483647 h 759"/>
              <a:gd name="T120" fmla="*/ 2147483647 w 903"/>
              <a:gd name="T121" fmla="*/ 2147483647 h 759"/>
              <a:gd name="T122" fmla="*/ 2147483647 w 903"/>
              <a:gd name="T123" fmla="*/ 2147483647 h 759"/>
              <a:gd name="T124" fmla="*/ 2147483647 w 903"/>
              <a:gd name="T125" fmla="*/ 2147483647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321" name="Freeform 383"/>
          <p:cNvSpPr>
            <a:spLocks/>
          </p:cNvSpPr>
          <p:nvPr>
            <p:custDataLst>
              <p:tags r:id="rId272"/>
            </p:custDataLst>
          </p:nvPr>
        </p:nvSpPr>
        <p:spPr bwMode="auto">
          <a:xfrm>
            <a:off x="4557713" y="2935288"/>
            <a:ext cx="411162" cy="611187"/>
          </a:xfrm>
          <a:custGeom>
            <a:avLst/>
            <a:gdLst>
              <a:gd name="T0" fmla="*/ 2147483647 w 943"/>
              <a:gd name="T1" fmla="*/ 2147483647 h 1172"/>
              <a:gd name="T2" fmla="*/ 2147483647 w 943"/>
              <a:gd name="T3" fmla="*/ 2147483647 h 1172"/>
              <a:gd name="T4" fmla="*/ 2147483647 w 943"/>
              <a:gd name="T5" fmla="*/ 2147483647 h 1172"/>
              <a:gd name="T6" fmla="*/ 2147483647 w 943"/>
              <a:gd name="T7" fmla="*/ 2147483647 h 1172"/>
              <a:gd name="T8" fmla="*/ 2147483647 w 943"/>
              <a:gd name="T9" fmla="*/ 2147483647 h 1172"/>
              <a:gd name="T10" fmla="*/ 2147483647 w 943"/>
              <a:gd name="T11" fmla="*/ 2147483647 h 1172"/>
              <a:gd name="T12" fmla="*/ 2147483647 w 943"/>
              <a:gd name="T13" fmla="*/ 2147483647 h 1172"/>
              <a:gd name="T14" fmla="*/ 2147483647 w 943"/>
              <a:gd name="T15" fmla="*/ 2147483647 h 1172"/>
              <a:gd name="T16" fmla="*/ 2147483647 w 943"/>
              <a:gd name="T17" fmla="*/ 2147483647 h 1172"/>
              <a:gd name="T18" fmla="*/ 2147483647 w 943"/>
              <a:gd name="T19" fmla="*/ 2147483647 h 1172"/>
              <a:gd name="T20" fmla="*/ 2147483647 w 943"/>
              <a:gd name="T21" fmla="*/ 2147483647 h 1172"/>
              <a:gd name="T22" fmla="*/ 2147483647 w 943"/>
              <a:gd name="T23" fmla="*/ 2147483647 h 1172"/>
              <a:gd name="T24" fmla="*/ 2147483647 w 943"/>
              <a:gd name="T25" fmla="*/ 2147483647 h 1172"/>
              <a:gd name="T26" fmla="*/ 2147483647 w 943"/>
              <a:gd name="T27" fmla="*/ 2147483647 h 1172"/>
              <a:gd name="T28" fmla="*/ 2147483647 w 943"/>
              <a:gd name="T29" fmla="*/ 2147483647 h 1172"/>
              <a:gd name="T30" fmla="*/ 2147483647 w 943"/>
              <a:gd name="T31" fmla="*/ 2147483647 h 1172"/>
              <a:gd name="T32" fmla="*/ 2147483647 w 943"/>
              <a:gd name="T33" fmla="*/ 2147483647 h 1172"/>
              <a:gd name="T34" fmla="*/ 2147483647 w 943"/>
              <a:gd name="T35" fmla="*/ 2147483647 h 1172"/>
              <a:gd name="T36" fmla="*/ 2147483647 w 943"/>
              <a:gd name="T37" fmla="*/ 2147483647 h 1172"/>
              <a:gd name="T38" fmla="*/ 2147483647 w 943"/>
              <a:gd name="T39" fmla="*/ 2147483647 h 1172"/>
              <a:gd name="T40" fmla="*/ 2147483647 w 943"/>
              <a:gd name="T41" fmla="*/ 2147483647 h 1172"/>
              <a:gd name="T42" fmla="*/ 2147483647 w 943"/>
              <a:gd name="T43" fmla="*/ 2147483647 h 1172"/>
              <a:gd name="T44" fmla="*/ 2147483647 w 943"/>
              <a:gd name="T45" fmla="*/ 2147483647 h 1172"/>
              <a:gd name="T46" fmla="*/ 2147483647 w 943"/>
              <a:gd name="T47" fmla="*/ 2147483647 h 1172"/>
              <a:gd name="T48" fmla="*/ 2147483647 w 943"/>
              <a:gd name="T49" fmla="*/ 2147483647 h 1172"/>
              <a:gd name="T50" fmla="*/ 2147483647 w 943"/>
              <a:gd name="T51" fmla="*/ 2147483647 h 1172"/>
              <a:gd name="T52" fmla="*/ 2147483647 w 943"/>
              <a:gd name="T53" fmla="*/ 2147483647 h 1172"/>
              <a:gd name="T54" fmla="*/ 2147483647 w 943"/>
              <a:gd name="T55" fmla="*/ 2147483647 h 1172"/>
              <a:gd name="T56" fmla="*/ 2147483647 w 943"/>
              <a:gd name="T57" fmla="*/ 2147483647 h 1172"/>
              <a:gd name="T58" fmla="*/ 2147483647 w 943"/>
              <a:gd name="T59" fmla="*/ 2147483647 h 1172"/>
              <a:gd name="T60" fmla="*/ 2147483647 w 943"/>
              <a:gd name="T61" fmla="*/ 2147483647 h 1172"/>
              <a:gd name="T62" fmla="*/ 2147483647 w 943"/>
              <a:gd name="T63" fmla="*/ 2147483647 h 1172"/>
              <a:gd name="T64" fmla="*/ 2147483647 w 943"/>
              <a:gd name="T65" fmla="*/ 2147483647 h 1172"/>
              <a:gd name="T66" fmla="*/ 2147483647 w 943"/>
              <a:gd name="T67" fmla="*/ 2147483647 h 1172"/>
              <a:gd name="T68" fmla="*/ 2147483647 w 943"/>
              <a:gd name="T69" fmla="*/ 2147483647 h 1172"/>
              <a:gd name="T70" fmla="*/ 2147483647 w 943"/>
              <a:gd name="T71" fmla="*/ 2147483647 h 1172"/>
              <a:gd name="T72" fmla="*/ 2147483647 w 943"/>
              <a:gd name="T73" fmla="*/ 2147483647 h 1172"/>
              <a:gd name="T74" fmla="*/ 2147483647 w 943"/>
              <a:gd name="T75" fmla="*/ 2147483647 h 1172"/>
              <a:gd name="T76" fmla="*/ 2147483647 w 943"/>
              <a:gd name="T77" fmla="*/ 2147483647 h 1172"/>
              <a:gd name="T78" fmla="*/ 2147483647 w 943"/>
              <a:gd name="T79" fmla="*/ 2147483647 h 1172"/>
              <a:gd name="T80" fmla="*/ 2147483647 w 943"/>
              <a:gd name="T81" fmla="*/ 2147483647 h 1172"/>
              <a:gd name="T82" fmla="*/ 2147483647 w 943"/>
              <a:gd name="T83" fmla="*/ 2147483647 h 1172"/>
              <a:gd name="T84" fmla="*/ 2147483647 w 943"/>
              <a:gd name="T85" fmla="*/ 2147483647 h 1172"/>
              <a:gd name="T86" fmla="*/ 2147483647 w 943"/>
              <a:gd name="T87" fmla="*/ 2147483647 h 1172"/>
              <a:gd name="T88" fmla="*/ 2147483647 w 943"/>
              <a:gd name="T89" fmla="*/ 2147483647 h 1172"/>
              <a:gd name="T90" fmla="*/ 2147483647 w 943"/>
              <a:gd name="T91" fmla="*/ 2147483647 h 1172"/>
              <a:gd name="T92" fmla="*/ 2147483647 w 943"/>
              <a:gd name="T93" fmla="*/ 2147483647 h 1172"/>
              <a:gd name="T94" fmla="*/ 2147483647 w 943"/>
              <a:gd name="T95" fmla="*/ 2147483647 h 1172"/>
              <a:gd name="T96" fmla="*/ 2147483647 w 943"/>
              <a:gd name="T97" fmla="*/ 2147483647 h 1172"/>
              <a:gd name="T98" fmla="*/ 2147483647 w 943"/>
              <a:gd name="T99" fmla="*/ 2147483647 h 1172"/>
              <a:gd name="T100" fmla="*/ 2147483647 w 943"/>
              <a:gd name="T101" fmla="*/ 2147483647 h 1172"/>
              <a:gd name="T102" fmla="*/ 2147483647 w 943"/>
              <a:gd name="T103" fmla="*/ 214748364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AU"/>
          </a:p>
        </p:txBody>
      </p:sp>
      <p:grpSp>
        <p:nvGrpSpPr>
          <p:cNvPr id="2322" name="Group 384"/>
          <p:cNvGrpSpPr>
            <a:grpSpLocks/>
          </p:cNvGrpSpPr>
          <p:nvPr>
            <p:custDataLst>
              <p:tags r:id="rId273"/>
            </p:custDataLst>
          </p:nvPr>
        </p:nvGrpSpPr>
        <p:grpSpPr bwMode="auto">
          <a:xfrm>
            <a:off x="3341688" y="3136900"/>
            <a:ext cx="80962" cy="82550"/>
            <a:chOff x="2352" y="2343"/>
            <a:chExt cx="65" cy="53"/>
          </a:xfrm>
        </p:grpSpPr>
        <p:sp>
          <p:nvSpPr>
            <p:cNvPr id="2590" name="Freeform 385"/>
            <p:cNvSpPr>
              <a:spLocks/>
            </p:cNvSpPr>
            <p:nvPr/>
          </p:nvSpPr>
          <p:spPr bwMode="auto">
            <a:xfrm>
              <a:off x="2352" y="2343"/>
              <a:ext cx="16" cy="11"/>
            </a:xfrm>
            <a:custGeom>
              <a:avLst/>
              <a:gdLst>
                <a:gd name="T0" fmla="*/ 0 w 51"/>
                <a:gd name="T1" fmla="*/ 0 h 33"/>
                <a:gd name="T2" fmla="*/ 0 w 51"/>
                <a:gd name="T3" fmla="*/ 0 h 33"/>
                <a:gd name="T4" fmla="*/ 0 w 51"/>
                <a:gd name="T5" fmla="*/ 0 h 33"/>
                <a:gd name="T6" fmla="*/ 0 w 51"/>
                <a:gd name="T7" fmla="*/ 0 h 33"/>
                <a:gd name="T8" fmla="*/ 0 w 51"/>
                <a:gd name="T9" fmla="*/ 0 h 33"/>
                <a:gd name="T10" fmla="*/ 1 w 51"/>
                <a:gd name="T11" fmla="*/ 0 h 33"/>
                <a:gd name="T12" fmla="*/ 1 w 51"/>
                <a:gd name="T13" fmla="*/ 0 h 33"/>
                <a:gd name="T14" fmla="*/ 0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cmpd="sng">
              <a:solidFill>
                <a:srgbClr val="FFFFFF"/>
              </a:solidFill>
              <a:prstDash val="solid"/>
              <a:round/>
              <a:headEnd/>
              <a:tailEnd/>
            </a:ln>
          </p:spPr>
          <p:txBody>
            <a:bodyPr/>
            <a:lstStyle/>
            <a:p>
              <a:endParaRPr lang="en-AU"/>
            </a:p>
          </p:txBody>
        </p:sp>
        <p:sp>
          <p:nvSpPr>
            <p:cNvPr id="2591" name="Freeform 386"/>
            <p:cNvSpPr>
              <a:spLocks/>
            </p:cNvSpPr>
            <p:nvPr/>
          </p:nvSpPr>
          <p:spPr bwMode="auto">
            <a:xfrm>
              <a:off x="2372" y="2354"/>
              <a:ext cx="20" cy="7"/>
            </a:xfrm>
            <a:custGeom>
              <a:avLst/>
              <a:gdLst>
                <a:gd name="T0" fmla="*/ 1 w 61"/>
                <a:gd name="T1" fmla="*/ 0 h 20"/>
                <a:gd name="T2" fmla="*/ 1 w 61"/>
                <a:gd name="T3" fmla="*/ 0 h 20"/>
                <a:gd name="T4" fmla="*/ 0 w 61"/>
                <a:gd name="T5" fmla="*/ 0 h 20"/>
                <a:gd name="T6" fmla="*/ 0 w 61"/>
                <a:gd name="T7" fmla="*/ 0 h 20"/>
                <a:gd name="T8" fmla="*/ 0 w 61"/>
                <a:gd name="T9" fmla="*/ 0 h 20"/>
                <a:gd name="T10" fmla="*/ 0 w 61"/>
                <a:gd name="T11" fmla="*/ 0 h 20"/>
                <a:gd name="T12" fmla="*/ 1 w 61"/>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1" h="20">
                  <a:moveTo>
                    <a:pt x="61" y="6"/>
                  </a:moveTo>
                  <a:lnTo>
                    <a:pt x="53" y="2"/>
                  </a:lnTo>
                  <a:lnTo>
                    <a:pt x="0" y="0"/>
                  </a:lnTo>
                  <a:lnTo>
                    <a:pt x="2" y="14"/>
                  </a:lnTo>
                  <a:lnTo>
                    <a:pt x="7" y="20"/>
                  </a:lnTo>
                  <a:lnTo>
                    <a:pt x="18" y="13"/>
                  </a:lnTo>
                  <a:lnTo>
                    <a:pt x="61" y="6"/>
                  </a:lnTo>
                </a:path>
              </a:pathLst>
            </a:custGeom>
            <a:solidFill>
              <a:srgbClr val="C0C0C0"/>
            </a:solidFill>
            <a:ln w="9525" cmpd="sng">
              <a:solidFill>
                <a:srgbClr val="FFFFFF"/>
              </a:solidFill>
              <a:prstDash val="solid"/>
              <a:round/>
              <a:headEnd/>
              <a:tailEnd/>
            </a:ln>
          </p:spPr>
          <p:txBody>
            <a:bodyPr/>
            <a:lstStyle/>
            <a:p>
              <a:endParaRPr lang="en-AU"/>
            </a:p>
          </p:txBody>
        </p:sp>
        <p:sp>
          <p:nvSpPr>
            <p:cNvPr id="2592" name="Freeform 387"/>
            <p:cNvSpPr>
              <a:spLocks/>
            </p:cNvSpPr>
            <p:nvPr/>
          </p:nvSpPr>
          <p:spPr bwMode="auto">
            <a:xfrm>
              <a:off x="2407" y="2346"/>
              <a:ext cx="5" cy="12"/>
            </a:xfrm>
            <a:custGeom>
              <a:avLst/>
              <a:gdLst>
                <a:gd name="T0" fmla="*/ 0 w 15"/>
                <a:gd name="T1" fmla="*/ 0 h 36"/>
                <a:gd name="T2" fmla="*/ 0 w 15"/>
                <a:gd name="T3" fmla="*/ 0 h 36"/>
                <a:gd name="T4" fmla="*/ 0 w 15"/>
                <a:gd name="T5" fmla="*/ 0 h 36"/>
                <a:gd name="T6" fmla="*/ 0 w 15"/>
                <a:gd name="T7" fmla="*/ 0 h 36"/>
                <a:gd name="T8" fmla="*/ 0 w 15"/>
                <a:gd name="T9" fmla="*/ 0 h 36"/>
                <a:gd name="T10" fmla="*/ 0 w 15"/>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36">
                  <a:moveTo>
                    <a:pt x="2" y="0"/>
                  </a:moveTo>
                  <a:lnTo>
                    <a:pt x="0" y="20"/>
                  </a:lnTo>
                  <a:lnTo>
                    <a:pt x="0" y="36"/>
                  </a:lnTo>
                  <a:lnTo>
                    <a:pt x="11" y="35"/>
                  </a:lnTo>
                  <a:lnTo>
                    <a:pt x="15" y="14"/>
                  </a:lnTo>
                  <a:lnTo>
                    <a:pt x="2" y="0"/>
                  </a:lnTo>
                </a:path>
              </a:pathLst>
            </a:custGeom>
            <a:solidFill>
              <a:srgbClr val="C0C0C0"/>
            </a:solidFill>
            <a:ln w="9525" cmpd="sng">
              <a:solidFill>
                <a:srgbClr val="FFFFFF"/>
              </a:solidFill>
              <a:prstDash val="solid"/>
              <a:round/>
              <a:headEnd/>
              <a:tailEnd/>
            </a:ln>
          </p:spPr>
          <p:txBody>
            <a:bodyPr/>
            <a:lstStyle/>
            <a:p>
              <a:endParaRPr lang="en-AU"/>
            </a:p>
          </p:txBody>
        </p:sp>
        <p:sp>
          <p:nvSpPr>
            <p:cNvPr id="2593" name="Freeform 388"/>
            <p:cNvSpPr>
              <a:spLocks/>
            </p:cNvSpPr>
            <p:nvPr/>
          </p:nvSpPr>
          <p:spPr bwMode="auto">
            <a:xfrm>
              <a:off x="2406" y="2361"/>
              <a:ext cx="11" cy="11"/>
            </a:xfrm>
            <a:custGeom>
              <a:avLst/>
              <a:gdLst>
                <a:gd name="T0" fmla="*/ 0 w 37"/>
                <a:gd name="T1" fmla="*/ 0 h 33"/>
                <a:gd name="T2" fmla="*/ 0 w 37"/>
                <a:gd name="T3" fmla="*/ 0 h 33"/>
                <a:gd name="T4" fmla="*/ 0 w 37"/>
                <a:gd name="T5" fmla="*/ 0 h 33"/>
                <a:gd name="T6" fmla="*/ 0 w 37"/>
                <a:gd name="T7" fmla="*/ 0 h 33"/>
                <a:gd name="T8" fmla="*/ 0 w 37"/>
                <a:gd name="T9" fmla="*/ 0 h 33"/>
                <a:gd name="T10" fmla="*/ 0 w 37"/>
                <a:gd name="T11" fmla="*/ 0 h 33"/>
                <a:gd name="T12" fmla="*/ 0 w 37"/>
                <a:gd name="T13" fmla="*/ 0 h 33"/>
                <a:gd name="T14" fmla="*/ 0 w 37"/>
                <a:gd name="T15" fmla="*/ 0 h 33"/>
                <a:gd name="T16" fmla="*/ 0 w 37"/>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mpd="sng">
              <a:solidFill>
                <a:srgbClr val="FFFFFF"/>
              </a:solidFill>
              <a:prstDash val="solid"/>
              <a:round/>
              <a:headEnd/>
              <a:tailEnd/>
            </a:ln>
          </p:spPr>
          <p:txBody>
            <a:bodyPr/>
            <a:lstStyle/>
            <a:p>
              <a:endParaRPr lang="en-AU"/>
            </a:p>
          </p:txBody>
        </p:sp>
        <p:sp>
          <p:nvSpPr>
            <p:cNvPr id="2594" name="Freeform 389"/>
            <p:cNvSpPr>
              <a:spLocks/>
            </p:cNvSpPr>
            <p:nvPr/>
          </p:nvSpPr>
          <p:spPr bwMode="auto">
            <a:xfrm>
              <a:off x="2388" y="2378"/>
              <a:ext cx="16" cy="18"/>
            </a:xfrm>
            <a:custGeom>
              <a:avLst/>
              <a:gdLst>
                <a:gd name="T0" fmla="*/ 0 w 49"/>
                <a:gd name="T1" fmla="*/ 0 h 54"/>
                <a:gd name="T2" fmla="*/ 0 w 49"/>
                <a:gd name="T3" fmla="*/ 0 h 54"/>
                <a:gd name="T4" fmla="*/ 0 w 49"/>
                <a:gd name="T5" fmla="*/ 1 h 54"/>
                <a:gd name="T6" fmla="*/ 0 w 49"/>
                <a:gd name="T7" fmla="*/ 1 h 54"/>
                <a:gd name="T8" fmla="*/ 1 w 49"/>
                <a:gd name="T9" fmla="*/ 1 h 54"/>
                <a:gd name="T10" fmla="*/ 1 w 49"/>
                <a:gd name="T11" fmla="*/ 0 h 54"/>
                <a:gd name="T12" fmla="*/ 0 w 49"/>
                <a:gd name="T13" fmla="*/ 0 h 54"/>
                <a:gd name="T14" fmla="*/ 0 w 49"/>
                <a:gd name="T15" fmla="*/ 0 h 54"/>
                <a:gd name="T16" fmla="*/ 0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mpd="sng">
              <a:solidFill>
                <a:srgbClr val="FFFFFF"/>
              </a:solidFill>
              <a:prstDash val="solid"/>
              <a:round/>
              <a:headEnd/>
              <a:tailEnd/>
            </a:ln>
          </p:spPr>
          <p:txBody>
            <a:bodyPr/>
            <a:lstStyle/>
            <a:p>
              <a:endParaRPr lang="en-AU"/>
            </a:p>
          </p:txBody>
        </p:sp>
        <p:sp>
          <p:nvSpPr>
            <p:cNvPr id="2595" name="Freeform 390"/>
            <p:cNvSpPr>
              <a:spLocks/>
            </p:cNvSpPr>
            <p:nvPr/>
          </p:nvSpPr>
          <p:spPr bwMode="auto">
            <a:xfrm>
              <a:off x="2374" y="2388"/>
              <a:ext cx="9" cy="7"/>
            </a:xfrm>
            <a:custGeom>
              <a:avLst/>
              <a:gdLst>
                <a:gd name="T0" fmla="*/ 0 w 26"/>
                <a:gd name="T1" fmla="*/ 0 h 22"/>
                <a:gd name="T2" fmla="*/ 0 w 26"/>
                <a:gd name="T3" fmla="*/ 0 h 22"/>
                <a:gd name="T4" fmla="*/ 0 w 26"/>
                <a:gd name="T5" fmla="*/ 0 h 22"/>
                <a:gd name="T6" fmla="*/ 0 w 26"/>
                <a:gd name="T7" fmla="*/ 0 h 22"/>
                <a:gd name="T8" fmla="*/ 0 w 26"/>
                <a:gd name="T9" fmla="*/ 0 h 22"/>
                <a:gd name="T10" fmla="*/ 0 w 26"/>
                <a:gd name="T11" fmla="*/ 0 h 22"/>
                <a:gd name="T12" fmla="*/ 0 w 26"/>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 h="22">
                  <a:moveTo>
                    <a:pt x="18" y="0"/>
                  </a:moveTo>
                  <a:lnTo>
                    <a:pt x="3" y="2"/>
                  </a:lnTo>
                  <a:lnTo>
                    <a:pt x="0" y="15"/>
                  </a:lnTo>
                  <a:lnTo>
                    <a:pt x="6" y="21"/>
                  </a:lnTo>
                  <a:lnTo>
                    <a:pt x="19" y="22"/>
                  </a:lnTo>
                  <a:lnTo>
                    <a:pt x="26" y="11"/>
                  </a:lnTo>
                  <a:lnTo>
                    <a:pt x="18" y="0"/>
                  </a:lnTo>
                </a:path>
              </a:pathLst>
            </a:custGeom>
            <a:solidFill>
              <a:srgbClr val="C0C0C0"/>
            </a:solidFill>
            <a:ln w="9525" cmpd="sng">
              <a:solidFill>
                <a:srgbClr val="FFFFFF"/>
              </a:solidFill>
              <a:prstDash val="solid"/>
              <a:round/>
              <a:headEnd/>
              <a:tailEnd/>
            </a:ln>
          </p:spPr>
          <p:txBody>
            <a:bodyPr/>
            <a:lstStyle/>
            <a:p>
              <a:endParaRPr lang="en-AU"/>
            </a:p>
          </p:txBody>
        </p:sp>
      </p:grpSp>
      <p:grpSp>
        <p:nvGrpSpPr>
          <p:cNvPr id="2323" name="Group 391"/>
          <p:cNvGrpSpPr>
            <a:grpSpLocks/>
          </p:cNvGrpSpPr>
          <p:nvPr>
            <p:custDataLst>
              <p:tags r:id="rId274"/>
            </p:custDataLst>
          </p:nvPr>
        </p:nvGrpSpPr>
        <p:grpSpPr bwMode="auto">
          <a:xfrm>
            <a:off x="1187450" y="1196975"/>
            <a:ext cx="1897063" cy="1133475"/>
            <a:chOff x="527" y="1110"/>
            <a:chExt cx="1410" cy="709"/>
          </a:xfrm>
          <a:solidFill>
            <a:schemeClr val="bg1">
              <a:lumMod val="75000"/>
            </a:schemeClr>
          </a:solidFill>
        </p:grpSpPr>
        <p:sp>
          <p:nvSpPr>
            <p:cNvPr id="2442" name="Freeform 392"/>
            <p:cNvSpPr>
              <a:spLocks/>
            </p:cNvSpPr>
            <p:nvPr/>
          </p:nvSpPr>
          <p:spPr bwMode="auto">
            <a:xfrm>
              <a:off x="1401" y="1427"/>
              <a:ext cx="31" cy="17"/>
            </a:xfrm>
            <a:custGeom>
              <a:avLst/>
              <a:gdLst>
                <a:gd name="T0" fmla="*/ 0 w 98"/>
                <a:gd name="T1" fmla="*/ 13 h 54"/>
                <a:gd name="T2" fmla="*/ 2 w 98"/>
                <a:gd name="T3" fmla="*/ 14 h 54"/>
                <a:gd name="T4" fmla="*/ 4 w 98"/>
                <a:gd name="T5" fmla="*/ 16 h 54"/>
                <a:gd name="T6" fmla="*/ 7 w 98"/>
                <a:gd name="T7" fmla="*/ 17 h 54"/>
                <a:gd name="T8" fmla="*/ 10 w 98"/>
                <a:gd name="T9" fmla="*/ 17 h 54"/>
                <a:gd name="T10" fmla="*/ 12 w 98"/>
                <a:gd name="T11" fmla="*/ 17 h 54"/>
                <a:gd name="T12" fmla="*/ 14 w 98"/>
                <a:gd name="T13" fmla="*/ 17 h 54"/>
                <a:gd name="T14" fmla="*/ 16 w 98"/>
                <a:gd name="T15" fmla="*/ 16 h 54"/>
                <a:gd name="T16" fmla="*/ 18 w 98"/>
                <a:gd name="T17" fmla="*/ 15 h 54"/>
                <a:gd name="T18" fmla="*/ 21 w 98"/>
                <a:gd name="T19" fmla="*/ 13 h 54"/>
                <a:gd name="T20" fmla="*/ 24 w 98"/>
                <a:gd name="T21" fmla="*/ 11 h 54"/>
                <a:gd name="T22" fmla="*/ 27 w 98"/>
                <a:gd name="T23" fmla="*/ 9 h 54"/>
                <a:gd name="T24" fmla="*/ 29 w 98"/>
                <a:gd name="T25" fmla="*/ 6 h 54"/>
                <a:gd name="T26" fmla="*/ 30 w 98"/>
                <a:gd name="T27" fmla="*/ 4 h 54"/>
                <a:gd name="T28" fmla="*/ 31 w 98"/>
                <a:gd name="T29" fmla="*/ 1 h 54"/>
                <a:gd name="T30" fmla="*/ 29 w 98"/>
                <a:gd name="T31" fmla="*/ 1 h 54"/>
                <a:gd name="T32" fmla="*/ 26 w 98"/>
                <a:gd name="T33" fmla="*/ 0 h 54"/>
                <a:gd name="T34" fmla="*/ 24 w 98"/>
                <a:gd name="T35" fmla="*/ 0 h 54"/>
                <a:gd name="T36" fmla="*/ 22 w 98"/>
                <a:gd name="T37" fmla="*/ 0 h 54"/>
                <a:gd name="T38" fmla="*/ 19 w 98"/>
                <a:gd name="T39" fmla="*/ 0 h 54"/>
                <a:gd name="T40" fmla="*/ 16 w 98"/>
                <a:gd name="T41" fmla="*/ 1 h 54"/>
                <a:gd name="T42" fmla="*/ 14 w 98"/>
                <a:gd name="T43" fmla="*/ 2 h 54"/>
                <a:gd name="T44" fmla="*/ 12 w 98"/>
                <a:gd name="T45" fmla="*/ 3 h 54"/>
                <a:gd name="T46" fmla="*/ 7 w 98"/>
                <a:gd name="T47" fmla="*/ 5 h 54"/>
                <a:gd name="T48" fmla="*/ 4 w 98"/>
                <a:gd name="T49" fmla="*/ 8 h 54"/>
                <a:gd name="T50" fmla="*/ 2 w 98"/>
                <a:gd name="T51" fmla="*/ 9 h 54"/>
                <a:gd name="T52" fmla="*/ 1 w 98"/>
                <a:gd name="T53" fmla="*/ 10 h 54"/>
                <a:gd name="T54" fmla="*/ 0 w 98"/>
                <a:gd name="T55" fmla="*/ 12 h 54"/>
                <a:gd name="T56" fmla="*/ 0 w 98"/>
                <a:gd name="T57" fmla="*/ 13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AU"/>
            </a:p>
          </p:txBody>
        </p:sp>
        <p:sp>
          <p:nvSpPr>
            <p:cNvPr id="2443" name="Freeform 393"/>
            <p:cNvSpPr>
              <a:spLocks/>
            </p:cNvSpPr>
            <p:nvPr/>
          </p:nvSpPr>
          <p:spPr bwMode="auto">
            <a:xfrm>
              <a:off x="1387" y="1551"/>
              <a:ext cx="21" cy="8"/>
            </a:xfrm>
            <a:custGeom>
              <a:avLst/>
              <a:gdLst>
                <a:gd name="T0" fmla="*/ 0 w 67"/>
                <a:gd name="T1" fmla="*/ 8 h 28"/>
                <a:gd name="T2" fmla="*/ 3 w 67"/>
                <a:gd name="T3" fmla="*/ 8 h 28"/>
                <a:gd name="T4" fmla="*/ 7 w 67"/>
                <a:gd name="T5" fmla="*/ 8 h 28"/>
                <a:gd name="T6" fmla="*/ 10 w 67"/>
                <a:gd name="T7" fmla="*/ 7 h 28"/>
                <a:gd name="T8" fmla="*/ 13 w 67"/>
                <a:gd name="T9" fmla="*/ 6 h 28"/>
                <a:gd name="T10" fmla="*/ 15 w 67"/>
                <a:gd name="T11" fmla="*/ 5 h 28"/>
                <a:gd name="T12" fmla="*/ 18 w 67"/>
                <a:gd name="T13" fmla="*/ 3 h 28"/>
                <a:gd name="T14" fmla="*/ 20 w 67"/>
                <a:gd name="T15" fmla="*/ 2 h 28"/>
                <a:gd name="T16" fmla="*/ 21 w 67"/>
                <a:gd name="T17" fmla="*/ 1 h 28"/>
                <a:gd name="T18" fmla="*/ 18 w 67"/>
                <a:gd name="T19" fmla="*/ 0 h 28"/>
                <a:gd name="T20" fmla="*/ 14 w 67"/>
                <a:gd name="T21" fmla="*/ 0 h 28"/>
                <a:gd name="T22" fmla="*/ 11 w 67"/>
                <a:gd name="T23" fmla="*/ 0 h 28"/>
                <a:gd name="T24" fmla="*/ 8 w 67"/>
                <a:gd name="T25" fmla="*/ 1 h 28"/>
                <a:gd name="T26" fmla="*/ 5 w 67"/>
                <a:gd name="T27" fmla="*/ 2 h 28"/>
                <a:gd name="T28" fmla="*/ 3 w 67"/>
                <a:gd name="T29" fmla="*/ 3 h 28"/>
                <a:gd name="T30" fmla="*/ 2 w 67"/>
                <a:gd name="T31" fmla="*/ 4 h 28"/>
                <a:gd name="T32" fmla="*/ 1 w 67"/>
                <a:gd name="T33" fmla="*/ 5 h 28"/>
                <a:gd name="T34" fmla="*/ 1 w 67"/>
                <a:gd name="T35" fmla="*/ 6 h 28"/>
                <a:gd name="T36" fmla="*/ 0 w 67"/>
                <a:gd name="T37" fmla="*/ 8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AU"/>
            </a:p>
          </p:txBody>
        </p:sp>
        <p:sp>
          <p:nvSpPr>
            <p:cNvPr id="2444" name="Freeform 394"/>
            <p:cNvSpPr>
              <a:spLocks/>
            </p:cNvSpPr>
            <p:nvPr/>
          </p:nvSpPr>
          <p:spPr bwMode="auto">
            <a:xfrm>
              <a:off x="1332" y="1608"/>
              <a:ext cx="11" cy="11"/>
            </a:xfrm>
            <a:custGeom>
              <a:avLst/>
              <a:gdLst>
                <a:gd name="T0" fmla="*/ 0 w 32"/>
                <a:gd name="T1" fmla="*/ 6 h 36"/>
                <a:gd name="T2" fmla="*/ 0 w 32"/>
                <a:gd name="T3" fmla="*/ 7 h 36"/>
                <a:gd name="T4" fmla="*/ 1 w 32"/>
                <a:gd name="T5" fmla="*/ 9 h 36"/>
                <a:gd name="T6" fmla="*/ 2 w 32"/>
                <a:gd name="T7" fmla="*/ 10 h 36"/>
                <a:gd name="T8" fmla="*/ 3 w 32"/>
                <a:gd name="T9" fmla="*/ 10 h 36"/>
                <a:gd name="T10" fmla="*/ 4 w 32"/>
                <a:gd name="T11" fmla="*/ 11 h 36"/>
                <a:gd name="T12" fmla="*/ 4 w 32"/>
                <a:gd name="T13" fmla="*/ 11 h 36"/>
                <a:gd name="T14" fmla="*/ 11 w 32"/>
                <a:gd name="T15" fmla="*/ 11 h 36"/>
                <a:gd name="T16" fmla="*/ 11 w 32"/>
                <a:gd name="T17" fmla="*/ 7 h 36"/>
                <a:gd name="T18" fmla="*/ 11 w 32"/>
                <a:gd name="T19" fmla="*/ 4 h 36"/>
                <a:gd name="T20" fmla="*/ 10 w 32"/>
                <a:gd name="T21" fmla="*/ 2 h 36"/>
                <a:gd name="T22" fmla="*/ 9 w 32"/>
                <a:gd name="T23" fmla="*/ 0 h 36"/>
                <a:gd name="T24" fmla="*/ 7 w 32"/>
                <a:gd name="T25" fmla="*/ 1 h 36"/>
                <a:gd name="T26" fmla="*/ 4 w 32"/>
                <a:gd name="T27" fmla="*/ 2 h 36"/>
                <a:gd name="T28" fmla="*/ 2 w 32"/>
                <a:gd name="T29" fmla="*/ 3 h 36"/>
                <a:gd name="T30" fmla="*/ 1 w 32"/>
                <a:gd name="T31" fmla="*/ 4 h 36"/>
                <a:gd name="T32" fmla="*/ 0 w 32"/>
                <a:gd name="T33" fmla="*/ 5 h 36"/>
                <a:gd name="T34" fmla="*/ 0 w 32"/>
                <a:gd name="T35" fmla="*/ 6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AU"/>
            </a:p>
          </p:txBody>
        </p:sp>
        <p:sp>
          <p:nvSpPr>
            <p:cNvPr id="2445" name="Freeform 395"/>
            <p:cNvSpPr>
              <a:spLocks/>
            </p:cNvSpPr>
            <p:nvPr/>
          </p:nvSpPr>
          <p:spPr bwMode="auto">
            <a:xfrm>
              <a:off x="1279" y="1314"/>
              <a:ext cx="46" cy="17"/>
            </a:xfrm>
            <a:custGeom>
              <a:avLst/>
              <a:gdLst>
                <a:gd name="T0" fmla="*/ 0 w 146"/>
                <a:gd name="T1" fmla="*/ 14 h 52"/>
                <a:gd name="T2" fmla="*/ 3 w 146"/>
                <a:gd name="T3" fmla="*/ 15 h 52"/>
                <a:gd name="T4" fmla="*/ 7 w 146"/>
                <a:gd name="T5" fmla="*/ 16 h 52"/>
                <a:gd name="T6" fmla="*/ 10 w 146"/>
                <a:gd name="T7" fmla="*/ 17 h 52"/>
                <a:gd name="T8" fmla="*/ 14 w 146"/>
                <a:gd name="T9" fmla="*/ 17 h 52"/>
                <a:gd name="T10" fmla="*/ 20 w 146"/>
                <a:gd name="T11" fmla="*/ 17 h 52"/>
                <a:gd name="T12" fmla="*/ 26 w 146"/>
                <a:gd name="T13" fmla="*/ 17 h 52"/>
                <a:gd name="T14" fmla="*/ 37 w 146"/>
                <a:gd name="T15" fmla="*/ 15 h 52"/>
                <a:gd name="T16" fmla="*/ 46 w 146"/>
                <a:gd name="T17" fmla="*/ 14 h 52"/>
                <a:gd name="T18" fmla="*/ 45 w 146"/>
                <a:gd name="T19" fmla="*/ 12 h 52"/>
                <a:gd name="T20" fmla="*/ 45 w 146"/>
                <a:gd name="T21" fmla="*/ 10 h 52"/>
                <a:gd name="T22" fmla="*/ 44 w 146"/>
                <a:gd name="T23" fmla="*/ 8 h 52"/>
                <a:gd name="T24" fmla="*/ 43 w 146"/>
                <a:gd name="T25" fmla="*/ 6 h 52"/>
                <a:gd name="T26" fmla="*/ 42 w 146"/>
                <a:gd name="T27" fmla="*/ 5 h 52"/>
                <a:gd name="T28" fmla="*/ 41 w 146"/>
                <a:gd name="T29" fmla="*/ 4 h 52"/>
                <a:gd name="T30" fmla="*/ 39 w 146"/>
                <a:gd name="T31" fmla="*/ 3 h 52"/>
                <a:gd name="T32" fmla="*/ 38 w 146"/>
                <a:gd name="T33" fmla="*/ 2 h 52"/>
                <a:gd name="T34" fmla="*/ 35 w 146"/>
                <a:gd name="T35" fmla="*/ 1 h 52"/>
                <a:gd name="T36" fmla="*/ 32 w 146"/>
                <a:gd name="T37" fmla="*/ 0 h 52"/>
                <a:gd name="T38" fmla="*/ 28 w 146"/>
                <a:gd name="T39" fmla="*/ 0 h 52"/>
                <a:gd name="T40" fmla="*/ 25 w 146"/>
                <a:gd name="T41" fmla="*/ 1 h 52"/>
                <a:gd name="T42" fmla="*/ 21 w 146"/>
                <a:gd name="T43" fmla="*/ 2 h 52"/>
                <a:gd name="T44" fmla="*/ 17 w 146"/>
                <a:gd name="T45" fmla="*/ 3 h 52"/>
                <a:gd name="T46" fmla="*/ 14 w 146"/>
                <a:gd name="T47" fmla="*/ 5 h 52"/>
                <a:gd name="T48" fmla="*/ 10 w 146"/>
                <a:gd name="T49" fmla="*/ 6 h 52"/>
                <a:gd name="T50" fmla="*/ 7 w 146"/>
                <a:gd name="T51" fmla="*/ 8 h 52"/>
                <a:gd name="T52" fmla="*/ 4 w 146"/>
                <a:gd name="T53" fmla="*/ 10 h 52"/>
                <a:gd name="T54" fmla="*/ 2 w 146"/>
                <a:gd name="T55" fmla="*/ 12 h 52"/>
                <a:gd name="T56" fmla="*/ 0 w 146"/>
                <a:gd name="T57" fmla="*/ 14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AU"/>
            </a:p>
          </p:txBody>
        </p:sp>
        <p:sp>
          <p:nvSpPr>
            <p:cNvPr id="2446" name="Freeform 396"/>
            <p:cNvSpPr>
              <a:spLocks/>
            </p:cNvSpPr>
            <p:nvPr/>
          </p:nvSpPr>
          <p:spPr bwMode="auto">
            <a:xfrm>
              <a:off x="1261" y="1252"/>
              <a:ext cx="20" cy="10"/>
            </a:xfrm>
            <a:custGeom>
              <a:avLst/>
              <a:gdLst>
                <a:gd name="T0" fmla="*/ 20 w 60"/>
                <a:gd name="T1" fmla="*/ 0 h 31"/>
                <a:gd name="T2" fmla="*/ 16 w 60"/>
                <a:gd name="T3" fmla="*/ 0 h 31"/>
                <a:gd name="T4" fmla="*/ 13 w 60"/>
                <a:gd name="T5" fmla="*/ 0 h 31"/>
                <a:gd name="T6" fmla="*/ 10 w 60"/>
                <a:gd name="T7" fmla="*/ 0 h 31"/>
                <a:gd name="T8" fmla="*/ 9 w 60"/>
                <a:gd name="T9" fmla="*/ 0 h 31"/>
                <a:gd name="T10" fmla="*/ 6 w 60"/>
                <a:gd name="T11" fmla="*/ 0 h 31"/>
                <a:gd name="T12" fmla="*/ 3 w 60"/>
                <a:gd name="T13" fmla="*/ 1 h 31"/>
                <a:gd name="T14" fmla="*/ 2 w 60"/>
                <a:gd name="T15" fmla="*/ 1 h 31"/>
                <a:gd name="T16" fmla="*/ 1 w 60"/>
                <a:gd name="T17" fmla="*/ 2 h 31"/>
                <a:gd name="T18" fmla="*/ 0 w 60"/>
                <a:gd name="T19" fmla="*/ 3 h 31"/>
                <a:gd name="T20" fmla="*/ 0 w 60"/>
                <a:gd name="T21" fmla="*/ 4 h 31"/>
                <a:gd name="T22" fmla="*/ 0 w 60"/>
                <a:gd name="T23" fmla="*/ 5 h 31"/>
                <a:gd name="T24" fmla="*/ 1 w 60"/>
                <a:gd name="T25" fmla="*/ 6 h 31"/>
                <a:gd name="T26" fmla="*/ 2 w 60"/>
                <a:gd name="T27" fmla="*/ 7 h 31"/>
                <a:gd name="T28" fmla="*/ 3 w 60"/>
                <a:gd name="T29" fmla="*/ 8 h 31"/>
                <a:gd name="T30" fmla="*/ 4 w 60"/>
                <a:gd name="T31" fmla="*/ 9 h 31"/>
                <a:gd name="T32" fmla="*/ 6 w 60"/>
                <a:gd name="T33" fmla="*/ 9 h 31"/>
                <a:gd name="T34" fmla="*/ 7 w 60"/>
                <a:gd name="T35" fmla="*/ 10 h 31"/>
                <a:gd name="T36" fmla="*/ 9 w 60"/>
                <a:gd name="T37" fmla="*/ 10 h 31"/>
                <a:gd name="T38" fmla="*/ 11 w 60"/>
                <a:gd name="T39" fmla="*/ 10 h 31"/>
                <a:gd name="T40" fmla="*/ 12 w 60"/>
                <a:gd name="T41" fmla="*/ 9 h 31"/>
                <a:gd name="T42" fmla="*/ 14 w 60"/>
                <a:gd name="T43" fmla="*/ 8 h 31"/>
                <a:gd name="T44" fmla="*/ 16 w 60"/>
                <a:gd name="T45" fmla="*/ 6 h 31"/>
                <a:gd name="T46" fmla="*/ 19 w 60"/>
                <a:gd name="T47" fmla="*/ 3 h 31"/>
                <a:gd name="T48" fmla="*/ 20 w 60"/>
                <a:gd name="T49" fmla="*/ 2 h 31"/>
                <a:gd name="T50" fmla="*/ 2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AU"/>
            </a:p>
          </p:txBody>
        </p:sp>
        <p:sp>
          <p:nvSpPr>
            <p:cNvPr id="2447" name="Freeform 397"/>
            <p:cNvSpPr>
              <a:spLocks/>
            </p:cNvSpPr>
            <p:nvPr/>
          </p:nvSpPr>
          <p:spPr bwMode="auto">
            <a:xfrm>
              <a:off x="1730" y="1713"/>
              <a:ext cx="26" cy="20"/>
            </a:xfrm>
            <a:custGeom>
              <a:avLst/>
              <a:gdLst>
                <a:gd name="T0" fmla="*/ 0 w 80"/>
                <a:gd name="T1" fmla="*/ 14 h 62"/>
                <a:gd name="T2" fmla="*/ 0 w 80"/>
                <a:gd name="T3" fmla="*/ 15 h 62"/>
                <a:gd name="T4" fmla="*/ 0 w 80"/>
                <a:gd name="T5" fmla="*/ 16 h 62"/>
                <a:gd name="T6" fmla="*/ 1 w 80"/>
                <a:gd name="T7" fmla="*/ 16 h 62"/>
                <a:gd name="T8" fmla="*/ 1 w 80"/>
                <a:gd name="T9" fmla="*/ 17 h 62"/>
                <a:gd name="T10" fmla="*/ 3 w 80"/>
                <a:gd name="T11" fmla="*/ 18 h 62"/>
                <a:gd name="T12" fmla="*/ 5 w 80"/>
                <a:gd name="T13" fmla="*/ 19 h 62"/>
                <a:gd name="T14" fmla="*/ 9 w 80"/>
                <a:gd name="T15" fmla="*/ 20 h 62"/>
                <a:gd name="T16" fmla="*/ 13 w 80"/>
                <a:gd name="T17" fmla="*/ 20 h 62"/>
                <a:gd name="T18" fmla="*/ 15 w 80"/>
                <a:gd name="T19" fmla="*/ 20 h 62"/>
                <a:gd name="T20" fmla="*/ 16 w 80"/>
                <a:gd name="T21" fmla="*/ 19 h 62"/>
                <a:gd name="T22" fmla="*/ 18 w 80"/>
                <a:gd name="T23" fmla="*/ 18 h 62"/>
                <a:gd name="T24" fmla="*/ 19 w 80"/>
                <a:gd name="T25" fmla="*/ 17 h 62"/>
                <a:gd name="T26" fmla="*/ 21 w 80"/>
                <a:gd name="T27" fmla="*/ 15 h 62"/>
                <a:gd name="T28" fmla="*/ 23 w 80"/>
                <a:gd name="T29" fmla="*/ 12 h 62"/>
                <a:gd name="T30" fmla="*/ 24 w 80"/>
                <a:gd name="T31" fmla="*/ 9 h 62"/>
                <a:gd name="T32" fmla="*/ 25 w 80"/>
                <a:gd name="T33" fmla="*/ 6 h 62"/>
                <a:gd name="T34" fmla="*/ 26 w 80"/>
                <a:gd name="T35" fmla="*/ 3 h 62"/>
                <a:gd name="T36" fmla="*/ 26 w 80"/>
                <a:gd name="T37" fmla="*/ 0 h 62"/>
                <a:gd name="T38" fmla="*/ 23 w 80"/>
                <a:gd name="T39" fmla="*/ 0 h 62"/>
                <a:gd name="T40" fmla="*/ 19 w 80"/>
                <a:gd name="T41" fmla="*/ 1 h 62"/>
                <a:gd name="T42" fmla="*/ 15 w 80"/>
                <a:gd name="T43" fmla="*/ 3 h 62"/>
                <a:gd name="T44" fmla="*/ 11 w 80"/>
                <a:gd name="T45" fmla="*/ 4 h 62"/>
                <a:gd name="T46" fmla="*/ 7 w 80"/>
                <a:gd name="T47" fmla="*/ 6 h 62"/>
                <a:gd name="T48" fmla="*/ 3 w 80"/>
                <a:gd name="T49" fmla="*/ 8 h 62"/>
                <a:gd name="T50" fmla="*/ 2 w 80"/>
                <a:gd name="T51" fmla="*/ 10 h 62"/>
                <a:gd name="T52" fmla="*/ 1 w 80"/>
                <a:gd name="T53" fmla="*/ 11 h 62"/>
                <a:gd name="T54" fmla="*/ 0 w 80"/>
                <a:gd name="T55" fmla="*/ 13 h 62"/>
                <a:gd name="T56" fmla="*/ 0 w 80"/>
                <a:gd name="T57" fmla="*/ 14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AU"/>
            </a:p>
          </p:txBody>
        </p:sp>
        <p:sp>
          <p:nvSpPr>
            <p:cNvPr id="2448" name="Freeform 398"/>
            <p:cNvSpPr>
              <a:spLocks/>
            </p:cNvSpPr>
            <p:nvPr/>
          </p:nvSpPr>
          <p:spPr bwMode="auto">
            <a:xfrm>
              <a:off x="1583" y="1674"/>
              <a:ext cx="33" cy="16"/>
            </a:xfrm>
            <a:custGeom>
              <a:avLst/>
              <a:gdLst>
                <a:gd name="T0" fmla="*/ 25 w 106"/>
                <a:gd name="T1" fmla="*/ 4 h 49"/>
                <a:gd name="T2" fmla="*/ 22 w 106"/>
                <a:gd name="T3" fmla="*/ 4 h 49"/>
                <a:gd name="T4" fmla="*/ 21 w 106"/>
                <a:gd name="T5" fmla="*/ 4 h 49"/>
                <a:gd name="T6" fmla="*/ 18 w 106"/>
                <a:gd name="T7" fmla="*/ 3 h 49"/>
                <a:gd name="T8" fmla="*/ 17 w 106"/>
                <a:gd name="T9" fmla="*/ 2 h 49"/>
                <a:gd name="T10" fmla="*/ 15 w 106"/>
                <a:gd name="T11" fmla="*/ 1 h 49"/>
                <a:gd name="T12" fmla="*/ 13 w 106"/>
                <a:gd name="T13" fmla="*/ 1 h 49"/>
                <a:gd name="T14" fmla="*/ 11 w 106"/>
                <a:gd name="T15" fmla="*/ 0 h 49"/>
                <a:gd name="T16" fmla="*/ 8 w 106"/>
                <a:gd name="T17" fmla="*/ 0 h 49"/>
                <a:gd name="T18" fmla="*/ 5 w 106"/>
                <a:gd name="T19" fmla="*/ 0 h 49"/>
                <a:gd name="T20" fmla="*/ 0 w 106"/>
                <a:gd name="T21" fmla="*/ 0 h 49"/>
                <a:gd name="T22" fmla="*/ 3 w 106"/>
                <a:gd name="T23" fmla="*/ 4 h 49"/>
                <a:gd name="T24" fmla="*/ 5 w 106"/>
                <a:gd name="T25" fmla="*/ 7 h 49"/>
                <a:gd name="T26" fmla="*/ 8 w 106"/>
                <a:gd name="T27" fmla="*/ 9 h 49"/>
                <a:gd name="T28" fmla="*/ 11 w 106"/>
                <a:gd name="T29" fmla="*/ 12 h 49"/>
                <a:gd name="T30" fmla="*/ 13 w 106"/>
                <a:gd name="T31" fmla="*/ 14 h 49"/>
                <a:gd name="T32" fmla="*/ 16 w 106"/>
                <a:gd name="T33" fmla="*/ 15 h 49"/>
                <a:gd name="T34" fmla="*/ 19 w 106"/>
                <a:gd name="T35" fmla="*/ 16 h 49"/>
                <a:gd name="T36" fmla="*/ 22 w 106"/>
                <a:gd name="T37" fmla="*/ 16 h 49"/>
                <a:gd name="T38" fmla="*/ 25 w 106"/>
                <a:gd name="T39" fmla="*/ 16 h 49"/>
                <a:gd name="T40" fmla="*/ 27 w 106"/>
                <a:gd name="T41" fmla="*/ 15 h 49"/>
                <a:gd name="T42" fmla="*/ 30 w 106"/>
                <a:gd name="T43" fmla="*/ 13 h 49"/>
                <a:gd name="T44" fmla="*/ 33 w 106"/>
                <a:gd name="T45" fmla="*/ 10 h 49"/>
                <a:gd name="T46" fmla="*/ 31 w 106"/>
                <a:gd name="T47" fmla="*/ 10 h 49"/>
                <a:gd name="T48" fmla="*/ 31 w 106"/>
                <a:gd name="T49" fmla="*/ 9 h 49"/>
                <a:gd name="T50" fmla="*/ 29 w 106"/>
                <a:gd name="T51" fmla="*/ 8 h 49"/>
                <a:gd name="T52" fmla="*/ 28 w 106"/>
                <a:gd name="T53" fmla="*/ 7 h 49"/>
                <a:gd name="T54" fmla="*/ 27 w 106"/>
                <a:gd name="T55" fmla="*/ 6 h 49"/>
                <a:gd name="T56" fmla="*/ 26 w 106"/>
                <a:gd name="T57" fmla="*/ 5 h 49"/>
                <a:gd name="T58" fmla="*/ 26 w 106"/>
                <a:gd name="T59" fmla="*/ 5 h 49"/>
                <a:gd name="T60" fmla="*/ 25 w 106"/>
                <a:gd name="T61" fmla="*/ 4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AU"/>
            </a:p>
          </p:txBody>
        </p:sp>
        <p:sp>
          <p:nvSpPr>
            <p:cNvPr id="2449" name="Freeform 399"/>
            <p:cNvSpPr>
              <a:spLocks/>
            </p:cNvSpPr>
            <p:nvPr/>
          </p:nvSpPr>
          <p:spPr bwMode="auto">
            <a:xfrm>
              <a:off x="1599" y="1713"/>
              <a:ext cx="15" cy="7"/>
            </a:xfrm>
            <a:custGeom>
              <a:avLst/>
              <a:gdLst>
                <a:gd name="T0" fmla="*/ 0 w 47"/>
                <a:gd name="T1" fmla="*/ 6 h 22"/>
                <a:gd name="T2" fmla="*/ 2 w 47"/>
                <a:gd name="T3" fmla="*/ 7 h 22"/>
                <a:gd name="T4" fmla="*/ 4 w 47"/>
                <a:gd name="T5" fmla="*/ 7 h 22"/>
                <a:gd name="T6" fmla="*/ 6 w 47"/>
                <a:gd name="T7" fmla="*/ 7 h 22"/>
                <a:gd name="T8" fmla="*/ 8 w 47"/>
                <a:gd name="T9" fmla="*/ 7 h 22"/>
                <a:gd name="T10" fmla="*/ 11 w 47"/>
                <a:gd name="T11" fmla="*/ 6 h 22"/>
                <a:gd name="T12" fmla="*/ 12 w 47"/>
                <a:gd name="T13" fmla="*/ 5 h 22"/>
                <a:gd name="T14" fmla="*/ 13 w 47"/>
                <a:gd name="T15" fmla="*/ 4 h 22"/>
                <a:gd name="T16" fmla="*/ 14 w 47"/>
                <a:gd name="T17" fmla="*/ 3 h 22"/>
                <a:gd name="T18" fmla="*/ 14 w 47"/>
                <a:gd name="T19" fmla="*/ 2 h 22"/>
                <a:gd name="T20" fmla="*/ 15 w 47"/>
                <a:gd name="T21" fmla="*/ 0 h 22"/>
                <a:gd name="T22" fmla="*/ 0 w 47"/>
                <a:gd name="T23" fmla="*/ 6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AU"/>
            </a:p>
          </p:txBody>
        </p:sp>
        <p:sp>
          <p:nvSpPr>
            <p:cNvPr id="2450" name="Freeform 400"/>
            <p:cNvSpPr>
              <a:spLocks/>
            </p:cNvSpPr>
            <p:nvPr/>
          </p:nvSpPr>
          <p:spPr bwMode="auto">
            <a:xfrm>
              <a:off x="1608" y="1742"/>
              <a:ext cx="17" cy="11"/>
            </a:xfrm>
            <a:custGeom>
              <a:avLst/>
              <a:gdLst>
                <a:gd name="T0" fmla="*/ 17 w 53"/>
                <a:gd name="T1" fmla="*/ 0 h 32"/>
                <a:gd name="T2" fmla="*/ 12 w 53"/>
                <a:gd name="T3" fmla="*/ 3 h 32"/>
                <a:gd name="T4" fmla="*/ 7 w 53"/>
                <a:gd name="T5" fmla="*/ 6 h 32"/>
                <a:gd name="T6" fmla="*/ 4 w 53"/>
                <a:gd name="T7" fmla="*/ 9 h 32"/>
                <a:gd name="T8" fmla="*/ 0 w 53"/>
                <a:gd name="T9" fmla="*/ 11 h 32"/>
                <a:gd name="T10" fmla="*/ 4 w 53"/>
                <a:gd name="T11" fmla="*/ 11 h 32"/>
                <a:gd name="T12" fmla="*/ 8 w 53"/>
                <a:gd name="T13" fmla="*/ 11 h 32"/>
                <a:gd name="T14" fmla="*/ 13 w 53"/>
                <a:gd name="T15" fmla="*/ 11 h 32"/>
                <a:gd name="T16" fmla="*/ 17 w 53"/>
                <a:gd name="T17" fmla="*/ 11 h 32"/>
                <a:gd name="T18" fmla="*/ 17 w 53"/>
                <a:gd name="T19" fmla="*/ 8 h 32"/>
                <a:gd name="T20" fmla="*/ 17 w 53"/>
                <a:gd name="T21" fmla="*/ 6 h 32"/>
                <a:gd name="T22" fmla="*/ 17 w 53"/>
                <a:gd name="T23" fmla="*/ 3 h 32"/>
                <a:gd name="T24" fmla="*/ 17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AU"/>
            </a:p>
          </p:txBody>
        </p:sp>
        <p:sp>
          <p:nvSpPr>
            <p:cNvPr id="2451" name="Freeform 401"/>
            <p:cNvSpPr>
              <a:spLocks/>
            </p:cNvSpPr>
            <p:nvPr/>
          </p:nvSpPr>
          <p:spPr bwMode="auto">
            <a:xfrm>
              <a:off x="1450" y="1438"/>
              <a:ext cx="14" cy="12"/>
            </a:xfrm>
            <a:custGeom>
              <a:avLst/>
              <a:gdLst>
                <a:gd name="T0" fmla="*/ 8 w 46"/>
                <a:gd name="T1" fmla="*/ 1 h 34"/>
                <a:gd name="T2" fmla="*/ 0 w 46"/>
                <a:gd name="T3" fmla="*/ 6 h 34"/>
                <a:gd name="T4" fmla="*/ 0 w 46"/>
                <a:gd name="T5" fmla="*/ 12 h 34"/>
                <a:gd name="T6" fmla="*/ 8 w 46"/>
                <a:gd name="T7" fmla="*/ 12 h 34"/>
                <a:gd name="T8" fmla="*/ 9 w 46"/>
                <a:gd name="T9" fmla="*/ 11 h 34"/>
                <a:gd name="T10" fmla="*/ 11 w 46"/>
                <a:gd name="T11" fmla="*/ 10 h 34"/>
                <a:gd name="T12" fmla="*/ 12 w 46"/>
                <a:gd name="T13" fmla="*/ 9 h 34"/>
                <a:gd name="T14" fmla="*/ 13 w 46"/>
                <a:gd name="T15" fmla="*/ 7 h 34"/>
                <a:gd name="T16" fmla="*/ 13 w 46"/>
                <a:gd name="T17" fmla="*/ 6 h 34"/>
                <a:gd name="T18" fmla="*/ 14 w 46"/>
                <a:gd name="T19" fmla="*/ 5 h 34"/>
                <a:gd name="T20" fmla="*/ 14 w 46"/>
                <a:gd name="T21" fmla="*/ 3 h 34"/>
                <a:gd name="T22" fmla="*/ 14 w 46"/>
                <a:gd name="T23" fmla="*/ 1 h 34"/>
                <a:gd name="T24" fmla="*/ 14 w 46"/>
                <a:gd name="T25" fmla="*/ 0 h 34"/>
                <a:gd name="T26" fmla="*/ 13 w 46"/>
                <a:gd name="T27" fmla="*/ 0 h 34"/>
                <a:gd name="T28" fmla="*/ 13 w 46"/>
                <a:gd name="T29" fmla="*/ 0 h 34"/>
                <a:gd name="T30" fmla="*/ 12 w 46"/>
                <a:gd name="T31" fmla="*/ 0 h 34"/>
                <a:gd name="T32" fmla="*/ 10 w 46"/>
                <a:gd name="T33" fmla="*/ 1 h 34"/>
                <a:gd name="T34" fmla="*/ 8 w 46"/>
                <a:gd name="T35" fmla="*/ 1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AU"/>
            </a:p>
          </p:txBody>
        </p:sp>
        <p:sp>
          <p:nvSpPr>
            <p:cNvPr id="2452" name="Freeform 402"/>
            <p:cNvSpPr>
              <a:spLocks/>
            </p:cNvSpPr>
            <p:nvPr/>
          </p:nvSpPr>
          <p:spPr bwMode="auto">
            <a:xfrm>
              <a:off x="1305" y="1224"/>
              <a:ext cx="16" cy="8"/>
            </a:xfrm>
            <a:custGeom>
              <a:avLst/>
              <a:gdLst>
                <a:gd name="T0" fmla="*/ 0 w 48"/>
                <a:gd name="T1" fmla="*/ 8 h 25"/>
                <a:gd name="T2" fmla="*/ 5 w 48"/>
                <a:gd name="T3" fmla="*/ 8 h 25"/>
                <a:gd name="T4" fmla="*/ 9 w 48"/>
                <a:gd name="T5" fmla="*/ 8 h 25"/>
                <a:gd name="T6" fmla="*/ 10 w 48"/>
                <a:gd name="T7" fmla="*/ 8 h 25"/>
                <a:gd name="T8" fmla="*/ 11 w 48"/>
                <a:gd name="T9" fmla="*/ 7 h 25"/>
                <a:gd name="T10" fmla="*/ 12 w 48"/>
                <a:gd name="T11" fmla="*/ 6 h 25"/>
                <a:gd name="T12" fmla="*/ 13 w 48"/>
                <a:gd name="T13" fmla="*/ 5 h 25"/>
                <a:gd name="T14" fmla="*/ 15 w 48"/>
                <a:gd name="T15" fmla="*/ 2 h 25"/>
                <a:gd name="T16" fmla="*/ 16 w 48"/>
                <a:gd name="T17" fmla="*/ 0 h 25"/>
                <a:gd name="T18" fmla="*/ 13 w 48"/>
                <a:gd name="T19" fmla="*/ 0 h 25"/>
                <a:gd name="T20" fmla="*/ 11 w 48"/>
                <a:gd name="T21" fmla="*/ 1 h 25"/>
                <a:gd name="T22" fmla="*/ 9 w 48"/>
                <a:gd name="T23" fmla="*/ 2 h 25"/>
                <a:gd name="T24" fmla="*/ 7 w 48"/>
                <a:gd name="T25" fmla="*/ 3 h 25"/>
                <a:gd name="T26" fmla="*/ 4 w 48"/>
                <a:gd name="T27" fmla="*/ 5 h 25"/>
                <a:gd name="T28" fmla="*/ 0 w 48"/>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AU"/>
            </a:p>
          </p:txBody>
        </p:sp>
        <p:sp>
          <p:nvSpPr>
            <p:cNvPr id="2453" name="Freeform 403"/>
            <p:cNvSpPr>
              <a:spLocks/>
            </p:cNvSpPr>
            <p:nvPr/>
          </p:nvSpPr>
          <p:spPr bwMode="auto">
            <a:xfrm>
              <a:off x="1343" y="1188"/>
              <a:ext cx="8" cy="11"/>
            </a:xfrm>
            <a:custGeom>
              <a:avLst/>
              <a:gdLst>
                <a:gd name="T0" fmla="*/ 0 w 30"/>
                <a:gd name="T1" fmla="*/ 0 h 37"/>
                <a:gd name="T2" fmla="*/ 0 w 30"/>
                <a:gd name="T3" fmla="*/ 11 h 37"/>
                <a:gd name="T4" fmla="*/ 3 w 30"/>
                <a:gd name="T5" fmla="*/ 11 h 37"/>
                <a:gd name="T6" fmla="*/ 5 w 30"/>
                <a:gd name="T7" fmla="*/ 10 h 37"/>
                <a:gd name="T8" fmla="*/ 6 w 30"/>
                <a:gd name="T9" fmla="*/ 10 h 37"/>
                <a:gd name="T10" fmla="*/ 7 w 30"/>
                <a:gd name="T11" fmla="*/ 10 h 37"/>
                <a:gd name="T12" fmla="*/ 7 w 30"/>
                <a:gd name="T13" fmla="*/ 9 h 37"/>
                <a:gd name="T14" fmla="*/ 8 w 30"/>
                <a:gd name="T15" fmla="*/ 8 h 37"/>
                <a:gd name="T16" fmla="*/ 8 w 30"/>
                <a:gd name="T17" fmla="*/ 7 h 37"/>
                <a:gd name="T18" fmla="*/ 8 w 30"/>
                <a:gd name="T19" fmla="*/ 5 h 37"/>
                <a:gd name="T20" fmla="*/ 8 w 30"/>
                <a:gd name="T21" fmla="*/ 3 h 37"/>
                <a:gd name="T22" fmla="*/ 7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AU"/>
            </a:p>
          </p:txBody>
        </p:sp>
        <p:sp>
          <p:nvSpPr>
            <p:cNvPr id="2454" name="Freeform 404"/>
            <p:cNvSpPr>
              <a:spLocks/>
            </p:cNvSpPr>
            <p:nvPr/>
          </p:nvSpPr>
          <p:spPr bwMode="auto">
            <a:xfrm>
              <a:off x="1334" y="1208"/>
              <a:ext cx="36" cy="16"/>
            </a:xfrm>
            <a:custGeom>
              <a:avLst/>
              <a:gdLst>
                <a:gd name="T0" fmla="*/ 11 w 113"/>
                <a:gd name="T1" fmla="*/ 1 h 46"/>
                <a:gd name="T2" fmla="*/ 7 w 113"/>
                <a:gd name="T3" fmla="*/ 1 h 46"/>
                <a:gd name="T4" fmla="*/ 4 w 113"/>
                <a:gd name="T5" fmla="*/ 2 h 46"/>
                <a:gd name="T6" fmla="*/ 2 w 113"/>
                <a:gd name="T7" fmla="*/ 2 h 46"/>
                <a:gd name="T8" fmla="*/ 1 w 113"/>
                <a:gd name="T9" fmla="*/ 4 h 46"/>
                <a:gd name="T10" fmla="*/ 0 w 113"/>
                <a:gd name="T11" fmla="*/ 5 h 46"/>
                <a:gd name="T12" fmla="*/ 0 w 113"/>
                <a:gd name="T13" fmla="*/ 7 h 46"/>
                <a:gd name="T14" fmla="*/ 2 w 113"/>
                <a:gd name="T15" fmla="*/ 9 h 46"/>
                <a:gd name="T16" fmla="*/ 3 w 113"/>
                <a:gd name="T17" fmla="*/ 11 h 46"/>
                <a:gd name="T18" fmla="*/ 5 w 113"/>
                <a:gd name="T19" fmla="*/ 13 h 46"/>
                <a:gd name="T20" fmla="*/ 6 w 113"/>
                <a:gd name="T21" fmla="*/ 14 h 46"/>
                <a:gd name="T22" fmla="*/ 8 w 113"/>
                <a:gd name="T23" fmla="*/ 15 h 46"/>
                <a:gd name="T24" fmla="*/ 10 w 113"/>
                <a:gd name="T25" fmla="*/ 16 h 46"/>
                <a:gd name="T26" fmla="*/ 11 w 113"/>
                <a:gd name="T27" fmla="*/ 16 h 46"/>
                <a:gd name="T28" fmla="*/ 13 w 113"/>
                <a:gd name="T29" fmla="*/ 16 h 46"/>
                <a:gd name="T30" fmla="*/ 18 w 113"/>
                <a:gd name="T31" fmla="*/ 16 h 46"/>
                <a:gd name="T32" fmla="*/ 22 w 113"/>
                <a:gd name="T33" fmla="*/ 15 h 46"/>
                <a:gd name="T34" fmla="*/ 24 w 113"/>
                <a:gd name="T35" fmla="*/ 14 h 46"/>
                <a:gd name="T36" fmla="*/ 26 w 113"/>
                <a:gd name="T37" fmla="*/ 13 h 46"/>
                <a:gd name="T38" fmla="*/ 28 w 113"/>
                <a:gd name="T39" fmla="*/ 13 h 46"/>
                <a:gd name="T40" fmla="*/ 29 w 113"/>
                <a:gd name="T41" fmla="*/ 11 h 46"/>
                <a:gd name="T42" fmla="*/ 32 w 113"/>
                <a:gd name="T43" fmla="*/ 9 h 46"/>
                <a:gd name="T44" fmla="*/ 34 w 113"/>
                <a:gd name="T45" fmla="*/ 7 h 46"/>
                <a:gd name="T46" fmla="*/ 35 w 113"/>
                <a:gd name="T47" fmla="*/ 4 h 46"/>
                <a:gd name="T48" fmla="*/ 36 w 113"/>
                <a:gd name="T49" fmla="*/ 1 h 46"/>
                <a:gd name="T50" fmla="*/ 32 w 113"/>
                <a:gd name="T51" fmla="*/ 0 h 46"/>
                <a:gd name="T52" fmla="*/ 28 w 113"/>
                <a:gd name="T53" fmla="*/ 0 h 46"/>
                <a:gd name="T54" fmla="*/ 24 w 113"/>
                <a:gd name="T55" fmla="*/ 0 h 46"/>
                <a:gd name="T56" fmla="*/ 21 w 113"/>
                <a:gd name="T57" fmla="*/ 0 h 46"/>
                <a:gd name="T58" fmla="*/ 15 w 113"/>
                <a:gd name="T59" fmla="*/ 1 h 46"/>
                <a:gd name="T60" fmla="*/ 11 w 113"/>
                <a:gd name="T61" fmla="*/ 1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AU"/>
            </a:p>
          </p:txBody>
        </p:sp>
        <p:sp>
          <p:nvSpPr>
            <p:cNvPr id="2455" name="Freeform 405"/>
            <p:cNvSpPr>
              <a:spLocks/>
            </p:cNvSpPr>
            <p:nvPr/>
          </p:nvSpPr>
          <p:spPr bwMode="auto">
            <a:xfrm>
              <a:off x="1365" y="1201"/>
              <a:ext cx="49" cy="28"/>
            </a:xfrm>
            <a:custGeom>
              <a:avLst/>
              <a:gdLst>
                <a:gd name="T0" fmla="*/ 0 w 153"/>
                <a:gd name="T1" fmla="*/ 27 h 82"/>
                <a:gd name="T2" fmla="*/ 1 w 153"/>
                <a:gd name="T3" fmla="*/ 28 h 82"/>
                <a:gd name="T4" fmla="*/ 2 w 153"/>
                <a:gd name="T5" fmla="*/ 28 h 82"/>
                <a:gd name="T6" fmla="*/ 3 w 153"/>
                <a:gd name="T7" fmla="*/ 28 h 82"/>
                <a:gd name="T8" fmla="*/ 4 w 153"/>
                <a:gd name="T9" fmla="*/ 28 h 82"/>
                <a:gd name="T10" fmla="*/ 7 w 153"/>
                <a:gd name="T11" fmla="*/ 27 h 82"/>
                <a:gd name="T12" fmla="*/ 11 w 153"/>
                <a:gd name="T13" fmla="*/ 27 h 82"/>
                <a:gd name="T14" fmla="*/ 13 w 153"/>
                <a:gd name="T15" fmla="*/ 27 h 82"/>
                <a:gd name="T16" fmla="*/ 15 w 153"/>
                <a:gd name="T17" fmla="*/ 27 h 82"/>
                <a:gd name="T18" fmla="*/ 18 w 153"/>
                <a:gd name="T19" fmla="*/ 26 h 82"/>
                <a:gd name="T20" fmla="*/ 21 w 153"/>
                <a:gd name="T21" fmla="*/ 25 h 82"/>
                <a:gd name="T22" fmla="*/ 27 w 153"/>
                <a:gd name="T23" fmla="*/ 23 h 82"/>
                <a:gd name="T24" fmla="*/ 33 w 153"/>
                <a:gd name="T25" fmla="*/ 20 h 82"/>
                <a:gd name="T26" fmla="*/ 36 w 153"/>
                <a:gd name="T27" fmla="*/ 18 h 82"/>
                <a:gd name="T28" fmla="*/ 39 w 153"/>
                <a:gd name="T29" fmla="*/ 17 h 82"/>
                <a:gd name="T30" fmla="*/ 41 w 153"/>
                <a:gd name="T31" fmla="*/ 15 h 82"/>
                <a:gd name="T32" fmla="*/ 44 w 153"/>
                <a:gd name="T33" fmla="*/ 13 h 82"/>
                <a:gd name="T34" fmla="*/ 45 w 153"/>
                <a:gd name="T35" fmla="*/ 11 h 82"/>
                <a:gd name="T36" fmla="*/ 47 w 153"/>
                <a:gd name="T37" fmla="*/ 9 h 82"/>
                <a:gd name="T38" fmla="*/ 48 w 153"/>
                <a:gd name="T39" fmla="*/ 6 h 82"/>
                <a:gd name="T40" fmla="*/ 49 w 153"/>
                <a:gd name="T41" fmla="*/ 4 h 82"/>
                <a:gd name="T42" fmla="*/ 43 w 153"/>
                <a:gd name="T43" fmla="*/ 3 h 82"/>
                <a:gd name="T44" fmla="*/ 37 w 153"/>
                <a:gd name="T45" fmla="*/ 1 h 82"/>
                <a:gd name="T46" fmla="*/ 31 w 153"/>
                <a:gd name="T47" fmla="*/ 0 h 82"/>
                <a:gd name="T48" fmla="*/ 25 w 153"/>
                <a:gd name="T49" fmla="*/ 0 h 82"/>
                <a:gd name="T50" fmla="*/ 22 w 153"/>
                <a:gd name="T51" fmla="*/ 0 h 82"/>
                <a:gd name="T52" fmla="*/ 19 w 153"/>
                <a:gd name="T53" fmla="*/ 0 h 82"/>
                <a:gd name="T54" fmla="*/ 17 w 153"/>
                <a:gd name="T55" fmla="*/ 1 h 82"/>
                <a:gd name="T56" fmla="*/ 14 w 153"/>
                <a:gd name="T57" fmla="*/ 1 h 82"/>
                <a:gd name="T58" fmla="*/ 12 w 153"/>
                <a:gd name="T59" fmla="*/ 2 h 82"/>
                <a:gd name="T60" fmla="*/ 11 w 153"/>
                <a:gd name="T61" fmla="*/ 3 h 82"/>
                <a:gd name="T62" fmla="*/ 10 w 153"/>
                <a:gd name="T63" fmla="*/ 5 h 82"/>
                <a:gd name="T64" fmla="*/ 8 w 153"/>
                <a:gd name="T65" fmla="*/ 6 h 82"/>
                <a:gd name="T66" fmla="*/ 10 w 153"/>
                <a:gd name="T67" fmla="*/ 8 h 82"/>
                <a:gd name="T68" fmla="*/ 12 w 153"/>
                <a:gd name="T69" fmla="*/ 10 h 82"/>
                <a:gd name="T70" fmla="*/ 12 w 153"/>
                <a:gd name="T71" fmla="*/ 11 h 82"/>
                <a:gd name="T72" fmla="*/ 13 w 153"/>
                <a:gd name="T73" fmla="*/ 12 h 82"/>
                <a:gd name="T74" fmla="*/ 14 w 153"/>
                <a:gd name="T75" fmla="*/ 12 h 82"/>
                <a:gd name="T76" fmla="*/ 15 w 153"/>
                <a:gd name="T77" fmla="*/ 12 h 82"/>
                <a:gd name="T78" fmla="*/ 13 w 153"/>
                <a:gd name="T79" fmla="*/ 14 h 82"/>
                <a:gd name="T80" fmla="*/ 11 w 153"/>
                <a:gd name="T81" fmla="*/ 16 h 82"/>
                <a:gd name="T82" fmla="*/ 9 w 153"/>
                <a:gd name="T83" fmla="*/ 18 h 82"/>
                <a:gd name="T84" fmla="*/ 7 w 153"/>
                <a:gd name="T85" fmla="*/ 19 h 82"/>
                <a:gd name="T86" fmla="*/ 6 w 153"/>
                <a:gd name="T87" fmla="*/ 22 h 82"/>
                <a:gd name="T88" fmla="*/ 4 w 153"/>
                <a:gd name="T89" fmla="*/ 24 h 82"/>
                <a:gd name="T90" fmla="*/ 2 w 153"/>
                <a:gd name="T91" fmla="*/ 26 h 82"/>
                <a:gd name="T92" fmla="*/ 0 w 153"/>
                <a:gd name="T93" fmla="*/ 27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AU"/>
            </a:p>
          </p:txBody>
        </p:sp>
        <p:sp>
          <p:nvSpPr>
            <p:cNvPr id="2456" name="Freeform 406"/>
            <p:cNvSpPr>
              <a:spLocks/>
            </p:cNvSpPr>
            <p:nvPr/>
          </p:nvSpPr>
          <p:spPr bwMode="auto">
            <a:xfrm>
              <a:off x="1414" y="1217"/>
              <a:ext cx="29" cy="17"/>
            </a:xfrm>
            <a:custGeom>
              <a:avLst/>
              <a:gdLst>
                <a:gd name="T0" fmla="*/ 0 w 86"/>
                <a:gd name="T1" fmla="*/ 13 h 50"/>
                <a:gd name="T2" fmla="*/ 2 w 86"/>
                <a:gd name="T3" fmla="*/ 14 h 50"/>
                <a:gd name="T4" fmla="*/ 4 w 86"/>
                <a:gd name="T5" fmla="*/ 15 h 50"/>
                <a:gd name="T6" fmla="*/ 5 w 86"/>
                <a:gd name="T7" fmla="*/ 16 h 50"/>
                <a:gd name="T8" fmla="*/ 8 w 86"/>
                <a:gd name="T9" fmla="*/ 16 h 50"/>
                <a:gd name="T10" fmla="*/ 12 w 86"/>
                <a:gd name="T11" fmla="*/ 17 h 50"/>
                <a:gd name="T12" fmla="*/ 16 w 86"/>
                <a:gd name="T13" fmla="*/ 17 h 50"/>
                <a:gd name="T14" fmla="*/ 20 w 86"/>
                <a:gd name="T15" fmla="*/ 17 h 50"/>
                <a:gd name="T16" fmla="*/ 23 w 86"/>
                <a:gd name="T17" fmla="*/ 16 h 50"/>
                <a:gd name="T18" fmla="*/ 25 w 86"/>
                <a:gd name="T19" fmla="*/ 16 h 50"/>
                <a:gd name="T20" fmla="*/ 27 w 86"/>
                <a:gd name="T21" fmla="*/ 15 h 50"/>
                <a:gd name="T22" fmla="*/ 28 w 86"/>
                <a:gd name="T23" fmla="*/ 14 h 50"/>
                <a:gd name="T24" fmla="*/ 28 w 86"/>
                <a:gd name="T25" fmla="*/ 13 h 50"/>
                <a:gd name="T26" fmla="*/ 29 w 86"/>
                <a:gd name="T27" fmla="*/ 11 h 50"/>
                <a:gd name="T28" fmla="*/ 29 w 86"/>
                <a:gd name="T29" fmla="*/ 9 h 50"/>
                <a:gd name="T30" fmla="*/ 29 w 86"/>
                <a:gd name="T31" fmla="*/ 6 h 50"/>
                <a:gd name="T32" fmla="*/ 28 w 86"/>
                <a:gd name="T33" fmla="*/ 3 h 50"/>
                <a:gd name="T34" fmla="*/ 28 w 86"/>
                <a:gd name="T35" fmla="*/ 2 h 50"/>
                <a:gd name="T36" fmla="*/ 27 w 86"/>
                <a:gd name="T37" fmla="*/ 2 h 50"/>
                <a:gd name="T38" fmla="*/ 26 w 86"/>
                <a:gd name="T39" fmla="*/ 1 h 50"/>
                <a:gd name="T40" fmla="*/ 25 w 86"/>
                <a:gd name="T41" fmla="*/ 0 h 50"/>
                <a:gd name="T42" fmla="*/ 0 w 86"/>
                <a:gd name="T43" fmla="*/ 13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AU"/>
            </a:p>
          </p:txBody>
        </p:sp>
        <p:sp>
          <p:nvSpPr>
            <p:cNvPr id="2457" name="Freeform 407"/>
            <p:cNvSpPr>
              <a:spLocks/>
            </p:cNvSpPr>
            <p:nvPr/>
          </p:nvSpPr>
          <p:spPr bwMode="auto">
            <a:xfrm>
              <a:off x="1379" y="1163"/>
              <a:ext cx="55" cy="25"/>
            </a:xfrm>
            <a:custGeom>
              <a:avLst/>
              <a:gdLst>
                <a:gd name="T0" fmla="*/ 38 w 172"/>
                <a:gd name="T1" fmla="*/ 21 h 74"/>
                <a:gd name="T2" fmla="*/ 35 w 172"/>
                <a:gd name="T3" fmla="*/ 21 h 74"/>
                <a:gd name="T4" fmla="*/ 32 w 172"/>
                <a:gd name="T5" fmla="*/ 21 h 74"/>
                <a:gd name="T6" fmla="*/ 29 w 172"/>
                <a:gd name="T7" fmla="*/ 21 h 74"/>
                <a:gd name="T8" fmla="*/ 26 w 172"/>
                <a:gd name="T9" fmla="*/ 21 h 74"/>
                <a:gd name="T10" fmla="*/ 19 w 172"/>
                <a:gd name="T11" fmla="*/ 25 h 74"/>
                <a:gd name="T12" fmla="*/ 11 w 172"/>
                <a:gd name="T13" fmla="*/ 25 h 74"/>
                <a:gd name="T14" fmla="*/ 12 w 172"/>
                <a:gd name="T15" fmla="*/ 21 h 74"/>
                <a:gd name="T16" fmla="*/ 12 w 172"/>
                <a:gd name="T17" fmla="*/ 17 h 74"/>
                <a:gd name="T18" fmla="*/ 10 w 172"/>
                <a:gd name="T19" fmla="*/ 17 h 74"/>
                <a:gd name="T20" fmla="*/ 7 w 172"/>
                <a:gd name="T21" fmla="*/ 16 h 74"/>
                <a:gd name="T22" fmla="*/ 5 w 172"/>
                <a:gd name="T23" fmla="*/ 16 h 74"/>
                <a:gd name="T24" fmla="*/ 3 w 172"/>
                <a:gd name="T25" fmla="*/ 15 h 74"/>
                <a:gd name="T26" fmla="*/ 2 w 172"/>
                <a:gd name="T27" fmla="*/ 14 h 74"/>
                <a:gd name="T28" fmla="*/ 1 w 172"/>
                <a:gd name="T29" fmla="*/ 13 h 74"/>
                <a:gd name="T30" fmla="*/ 0 w 172"/>
                <a:gd name="T31" fmla="*/ 12 h 74"/>
                <a:gd name="T32" fmla="*/ 0 w 172"/>
                <a:gd name="T33" fmla="*/ 10 h 74"/>
                <a:gd name="T34" fmla="*/ 0 w 172"/>
                <a:gd name="T35" fmla="*/ 9 h 74"/>
                <a:gd name="T36" fmla="*/ 1 w 172"/>
                <a:gd name="T37" fmla="*/ 7 h 74"/>
                <a:gd name="T38" fmla="*/ 2 w 172"/>
                <a:gd name="T39" fmla="*/ 6 h 74"/>
                <a:gd name="T40" fmla="*/ 3 w 172"/>
                <a:gd name="T41" fmla="*/ 5 h 74"/>
                <a:gd name="T42" fmla="*/ 4 w 172"/>
                <a:gd name="T43" fmla="*/ 3 h 74"/>
                <a:gd name="T44" fmla="*/ 6 w 172"/>
                <a:gd name="T45" fmla="*/ 2 h 74"/>
                <a:gd name="T46" fmla="*/ 8 w 172"/>
                <a:gd name="T47" fmla="*/ 2 h 74"/>
                <a:gd name="T48" fmla="*/ 9 w 172"/>
                <a:gd name="T49" fmla="*/ 1 h 74"/>
                <a:gd name="T50" fmla="*/ 13 w 172"/>
                <a:gd name="T51" fmla="*/ 0 h 74"/>
                <a:gd name="T52" fmla="*/ 18 w 172"/>
                <a:gd name="T53" fmla="*/ 0 h 74"/>
                <a:gd name="T54" fmla="*/ 22 w 172"/>
                <a:gd name="T55" fmla="*/ 0 h 74"/>
                <a:gd name="T56" fmla="*/ 26 w 172"/>
                <a:gd name="T57" fmla="*/ 0 h 74"/>
                <a:gd name="T58" fmla="*/ 30 w 172"/>
                <a:gd name="T59" fmla="*/ 0 h 74"/>
                <a:gd name="T60" fmla="*/ 34 w 172"/>
                <a:gd name="T61" fmla="*/ 1 h 74"/>
                <a:gd name="T62" fmla="*/ 37 w 172"/>
                <a:gd name="T63" fmla="*/ 2 h 74"/>
                <a:gd name="T64" fmla="*/ 41 w 172"/>
                <a:gd name="T65" fmla="*/ 4 h 74"/>
                <a:gd name="T66" fmla="*/ 44 w 172"/>
                <a:gd name="T67" fmla="*/ 6 h 74"/>
                <a:gd name="T68" fmla="*/ 48 w 172"/>
                <a:gd name="T69" fmla="*/ 7 h 74"/>
                <a:gd name="T70" fmla="*/ 51 w 172"/>
                <a:gd name="T71" fmla="*/ 8 h 74"/>
                <a:gd name="T72" fmla="*/ 55 w 172"/>
                <a:gd name="T73" fmla="*/ 8 h 74"/>
                <a:gd name="T74" fmla="*/ 55 w 172"/>
                <a:gd name="T75" fmla="*/ 15 h 74"/>
                <a:gd name="T76" fmla="*/ 54 w 172"/>
                <a:gd name="T77" fmla="*/ 16 h 74"/>
                <a:gd name="T78" fmla="*/ 53 w 172"/>
                <a:gd name="T79" fmla="*/ 18 h 74"/>
                <a:gd name="T80" fmla="*/ 51 w 172"/>
                <a:gd name="T81" fmla="*/ 19 h 74"/>
                <a:gd name="T82" fmla="*/ 51 w 172"/>
                <a:gd name="T83" fmla="*/ 20 h 74"/>
                <a:gd name="T84" fmla="*/ 49 w 172"/>
                <a:gd name="T85" fmla="*/ 21 h 74"/>
                <a:gd name="T86" fmla="*/ 48 w 172"/>
                <a:gd name="T87" fmla="*/ 21 h 74"/>
                <a:gd name="T88" fmla="*/ 47 w 172"/>
                <a:gd name="T89" fmla="*/ 22 h 74"/>
                <a:gd name="T90" fmla="*/ 45 w 172"/>
                <a:gd name="T91" fmla="*/ 22 h 74"/>
                <a:gd name="T92" fmla="*/ 42 w 172"/>
                <a:gd name="T93" fmla="*/ 22 h 74"/>
                <a:gd name="T94" fmla="*/ 39 w 172"/>
                <a:gd name="T95" fmla="*/ 21 h 74"/>
                <a:gd name="T96" fmla="*/ 36 w 172"/>
                <a:gd name="T97" fmla="*/ 20 h 74"/>
                <a:gd name="T98" fmla="*/ 32 w 172"/>
                <a:gd name="T99" fmla="*/ 19 h 74"/>
                <a:gd name="T100" fmla="*/ 34 w 172"/>
                <a:gd name="T101" fmla="*/ 19 h 74"/>
                <a:gd name="T102" fmla="*/ 38 w 172"/>
                <a:gd name="T103" fmla="*/ 21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AU"/>
            </a:p>
          </p:txBody>
        </p:sp>
        <p:sp>
          <p:nvSpPr>
            <p:cNvPr id="2458" name="Freeform 408"/>
            <p:cNvSpPr>
              <a:spLocks/>
            </p:cNvSpPr>
            <p:nvPr/>
          </p:nvSpPr>
          <p:spPr bwMode="auto">
            <a:xfrm>
              <a:off x="1450" y="1171"/>
              <a:ext cx="38" cy="17"/>
            </a:xfrm>
            <a:custGeom>
              <a:avLst/>
              <a:gdLst>
                <a:gd name="T0" fmla="*/ 9 w 120"/>
                <a:gd name="T1" fmla="*/ 17 h 49"/>
                <a:gd name="T2" fmla="*/ 15 w 120"/>
                <a:gd name="T3" fmla="*/ 17 h 49"/>
                <a:gd name="T4" fmla="*/ 20 w 120"/>
                <a:gd name="T5" fmla="*/ 17 h 49"/>
                <a:gd name="T6" fmla="*/ 25 w 120"/>
                <a:gd name="T7" fmla="*/ 16 h 49"/>
                <a:gd name="T8" fmla="*/ 29 w 120"/>
                <a:gd name="T9" fmla="*/ 15 h 49"/>
                <a:gd name="T10" fmla="*/ 30 w 120"/>
                <a:gd name="T11" fmla="*/ 14 h 49"/>
                <a:gd name="T12" fmla="*/ 32 w 120"/>
                <a:gd name="T13" fmla="*/ 13 h 49"/>
                <a:gd name="T14" fmla="*/ 33 w 120"/>
                <a:gd name="T15" fmla="*/ 12 h 49"/>
                <a:gd name="T16" fmla="*/ 34 w 120"/>
                <a:gd name="T17" fmla="*/ 11 h 49"/>
                <a:gd name="T18" fmla="*/ 36 w 120"/>
                <a:gd name="T19" fmla="*/ 8 h 49"/>
                <a:gd name="T20" fmla="*/ 38 w 120"/>
                <a:gd name="T21" fmla="*/ 4 h 49"/>
                <a:gd name="T22" fmla="*/ 32 w 120"/>
                <a:gd name="T23" fmla="*/ 2 h 49"/>
                <a:gd name="T24" fmla="*/ 27 w 120"/>
                <a:gd name="T25" fmla="*/ 1 h 49"/>
                <a:gd name="T26" fmla="*/ 21 w 120"/>
                <a:gd name="T27" fmla="*/ 0 h 49"/>
                <a:gd name="T28" fmla="*/ 16 w 120"/>
                <a:gd name="T29" fmla="*/ 0 h 49"/>
                <a:gd name="T30" fmla="*/ 11 w 120"/>
                <a:gd name="T31" fmla="*/ 0 h 49"/>
                <a:gd name="T32" fmla="*/ 6 w 120"/>
                <a:gd name="T33" fmla="*/ 1 h 49"/>
                <a:gd name="T34" fmla="*/ 3 w 120"/>
                <a:gd name="T35" fmla="*/ 1 h 49"/>
                <a:gd name="T36" fmla="*/ 0 w 120"/>
                <a:gd name="T37" fmla="*/ 2 h 49"/>
                <a:gd name="T38" fmla="*/ 0 w 120"/>
                <a:gd name="T39" fmla="*/ 10 h 49"/>
                <a:gd name="T40" fmla="*/ 1 w 120"/>
                <a:gd name="T41" fmla="*/ 12 h 49"/>
                <a:gd name="T42" fmla="*/ 2 w 120"/>
                <a:gd name="T43" fmla="*/ 13 h 49"/>
                <a:gd name="T44" fmla="*/ 3 w 120"/>
                <a:gd name="T45" fmla="*/ 14 h 49"/>
                <a:gd name="T46" fmla="*/ 4 w 120"/>
                <a:gd name="T47" fmla="*/ 16 h 49"/>
                <a:gd name="T48" fmla="*/ 6 w 120"/>
                <a:gd name="T49" fmla="*/ 17 h 49"/>
                <a:gd name="T50" fmla="*/ 9 w 120"/>
                <a:gd name="T51" fmla="*/ 17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AU"/>
            </a:p>
          </p:txBody>
        </p:sp>
        <p:sp>
          <p:nvSpPr>
            <p:cNvPr id="2459" name="Freeform 409"/>
            <p:cNvSpPr>
              <a:spLocks/>
            </p:cNvSpPr>
            <p:nvPr/>
          </p:nvSpPr>
          <p:spPr bwMode="auto">
            <a:xfrm>
              <a:off x="1441" y="1194"/>
              <a:ext cx="26" cy="19"/>
            </a:xfrm>
            <a:custGeom>
              <a:avLst/>
              <a:gdLst>
                <a:gd name="T0" fmla="*/ 10 w 85"/>
                <a:gd name="T1" fmla="*/ 0 h 61"/>
                <a:gd name="T2" fmla="*/ 7 w 85"/>
                <a:gd name="T3" fmla="*/ 2 h 61"/>
                <a:gd name="T4" fmla="*/ 3 w 85"/>
                <a:gd name="T5" fmla="*/ 4 h 61"/>
                <a:gd name="T6" fmla="*/ 2 w 85"/>
                <a:gd name="T7" fmla="*/ 5 h 61"/>
                <a:gd name="T8" fmla="*/ 1 w 85"/>
                <a:gd name="T9" fmla="*/ 7 h 61"/>
                <a:gd name="T10" fmla="*/ 0 w 85"/>
                <a:gd name="T11" fmla="*/ 8 h 61"/>
                <a:gd name="T12" fmla="*/ 0 w 85"/>
                <a:gd name="T13" fmla="*/ 10 h 61"/>
                <a:gd name="T14" fmla="*/ 0 w 85"/>
                <a:gd name="T15" fmla="*/ 11 h 61"/>
                <a:gd name="T16" fmla="*/ 0 w 85"/>
                <a:gd name="T17" fmla="*/ 12 h 61"/>
                <a:gd name="T18" fmla="*/ 1 w 85"/>
                <a:gd name="T19" fmla="*/ 12 h 61"/>
                <a:gd name="T20" fmla="*/ 2 w 85"/>
                <a:gd name="T21" fmla="*/ 13 h 61"/>
                <a:gd name="T22" fmla="*/ 3 w 85"/>
                <a:gd name="T23" fmla="*/ 15 h 61"/>
                <a:gd name="T24" fmla="*/ 6 w 85"/>
                <a:gd name="T25" fmla="*/ 17 h 61"/>
                <a:gd name="T26" fmla="*/ 8 w 85"/>
                <a:gd name="T27" fmla="*/ 17 h 61"/>
                <a:gd name="T28" fmla="*/ 11 w 85"/>
                <a:gd name="T29" fmla="*/ 18 h 61"/>
                <a:gd name="T30" fmla="*/ 14 w 85"/>
                <a:gd name="T31" fmla="*/ 19 h 61"/>
                <a:gd name="T32" fmla="*/ 16 w 85"/>
                <a:gd name="T33" fmla="*/ 19 h 61"/>
                <a:gd name="T34" fmla="*/ 17 w 85"/>
                <a:gd name="T35" fmla="*/ 19 h 61"/>
                <a:gd name="T36" fmla="*/ 18 w 85"/>
                <a:gd name="T37" fmla="*/ 19 h 61"/>
                <a:gd name="T38" fmla="*/ 19 w 85"/>
                <a:gd name="T39" fmla="*/ 18 h 61"/>
                <a:gd name="T40" fmla="*/ 20 w 85"/>
                <a:gd name="T41" fmla="*/ 18 h 61"/>
                <a:gd name="T42" fmla="*/ 22 w 85"/>
                <a:gd name="T43" fmla="*/ 16 h 61"/>
                <a:gd name="T44" fmla="*/ 24 w 85"/>
                <a:gd name="T45" fmla="*/ 15 h 61"/>
                <a:gd name="T46" fmla="*/ 24 w 85"/>
                <a:gd name="T47" fmla="*/ 12 h 61"/>
                <a:gd name="T48" fmla="*/ 25 w 85"/>
                <a:gd name="T49" fmla="*/ 10 h 61"/>
                <a:gd name="T50" fmla="*/ 26 w 85"/>
                <a:gd name="T51" fmla="*/ 8 h 61"/>
                <a:gd name="T52" fmla="*/ 26 w 85"/>
                <a:gd name="T53" fmla="*/ 6 h 61"/>
                <a:gd name="T54" fmla="*/ 1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AU"/>
            </a:p>
          </p:txBody>
        </p:sp>
        <p:sp>
          <p:nvSpPr>
            <p:cNvPr id="2460" name="Freeform 410"/>
            <p:cNvSpPr>
              <a:spLocks/>
            </p:cNvSpPr>
            <p:nvPr/>
          </p:nvSpPr>
          <p:spPr bwMode="auto">
            <a:xfrm>
              <a:off x="1254" y="1188"/>
              <a:ext cx="31" cy="6"/>
            </a:xfrm>
            <a:custGeom>
              <a:avLst/>
              <a:gdLst>
                <a:gd name="T0" fmla="*/ 0 w 100"/>
                <a:gd name="T1" fmla="*/ 2 h 19"/>
                <a:gd name="T2" fmla="*/ 2 w 100"/>
                <a:gd name="T3" fmla="*/ 3 h 19"/>
                <a:gd name="T4" fmla="*/ 4 w 100"/>
                <a:gd name="T5" fmla="*/ 5 h 19"/>
                <a:gd name="T6" fmla="*/ 7 w 100"/>
                <a:gd name="T7" fmla="*/ 6 h 19"/>
                <a:gd name="T8" fmla="*/ 8 w 100"/>
                <a:gd name="T9" fmla="*/ 6 h 19"/>
                <a:gd name="T10" fmla="*/ 31 w 100"/>
                <a:gd name="T11" fmla="*/ 2 h 19"/>
                <a:gd name="T12" fmla="*/ 23 w 100"/>
                <a:gd name="T13" fmla="*/ 1 h 19"/>
                <a:gd name="T14" fmla="*/ 15 w 100"/>
                <a:gd name="T15" fmla="*/ 0 h 19"/>
                <a:gd name="T16" fmla="*/ 11 w 100"/>
                <a:gd name="T17" fmla="*/ 0 h 19"/>
                <a:gd name="T18" fmla="*/ 7 w 100"/>
                <a:gd name="T19" fmla="*/ 0 h 19"/>
                <a:gd name="T20" fmla="*/ 4 w 100"/>
                <a:gd name="T21" fmla="*/ 1 h 19"/>
                <a:gd name="T22" fmla="*/ 0 w 100"/>
                <a:gd name="T23" fmla="*/ 2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AU"/>
            </a:p>
          </p:txBody>
        </p:sp>
        <p:sp>
          <p:nvSpPr>
            <p:cNvPr id="2461" name="Freeform 411"/>
            <p:cNvSpPr>
              <a:spLocks/>
            </p:cNvSpPr>
            <p:nvPr/>
          </p:nvSpPr>
          <p:spPr bwMode="auto">
            <a:xfrm>
              <a:off x="1272" y="1168"/>
              <a:ext cx="53" cy="15"/>
            </a:xfrm>
            <a:custGeom>
              <a:avLst/>
              <a:gdLst>
                <a:gd name="T0" fmla="*/ 0 w 166"/>
                <a:gd name="T1" fmla="*/ 9 h 45"/>
                <a:gd name="T2" fmla="*/ 0 w 166"/>
                <a:gd name="T3" fmla="*/ 10 h 45"/>
                <a:gd name="T4" fmla="*/ 1 w 166"/>
                <a:gd name="T5" fmla="*/ 10 h 45"/>
                <a:gd name="T6" fmla="*/ 3 w 166"/>
                <a:gd name="T7" fmla="*/ 11 h 45"/>
                <a:gd name="T8" fmla="*/ 4 w 166"/>
                <a:gd name="T9" fmla="*/ 12 h 45"/>
                <a:gd name="T10" fmla="*/ 9 w 166"/>
                <a:gd name="T11" fmla="*/ 13 h 45"/>
                <a:gd name="T12" fmla="*/ 14 w 166"/>
                <a:gd name="T13" fmla="*/ 14 h 45"/>
                <a:gd name="T14" fmla="*/ 24 w 166"/>
                <a:gd name="T15" fmla="*/ 15 h 45"/>
                <a:gd name="T16" fmla="*/ 29 w 166"/>
                <a:gd name="T17" fmla="*/ 15 h 45"/>
                <a:gd name="T18" fmla="*/ 53 w 166"/>
                <a:gd name="T19" fmla="*/ 9 h 45"/>
                <a:gd name="T20" fmla="*/ 50 w 166"/>
                <a:gd name="T21" fmla="*/ 8 h 45"/>
                <a:gd name="T22" fmla="*/ 44 w 166"/>
                <a:gd name="T23" fmla="*/ 6 h 45"/>
                <a:gd name="T24" fmla="*/ 35 w 166"/>
                <a:gd name="T25" fmla="*/ 4 h 45"/>
                <a:gd name="T26" fmla="*/ 26 w 166"/>
                <a:gd name="T27" fmla="*/ 1 h 45"/>
                <a:gd name="T28" fmla="*/ 21 w 166"/>
                <a:gd name="T29" fmla="*/ 1 h 45"/>
                <a:gd name="T30" fmla="*/ 16 w 166"/>
                <a:gd name="T31" fmla="*/ 0 h 45"/>
                <a:gd name="T32" fmla="*/ 11 w 166"/>
                <a:gd name="T33" fmla="*/ 0 h 45"/>
                <a:gd name="T34" fmla="*/ 8 w 166"/>
                <a:gd name="T35" fmla="*/ 1 h 45"/>
                <a:gd name="T36" fmla="*/ 6 w 166"/>
                <a:gd name="T37" fmla="*/ 1 h 45"/>
                <a:gd name="T38" fmla="*/ 4 w 166"/>
                <a:gd name="T39" fmla="*/ 2 h 45"/>
                <a:gd name="T40" fmla="*/ 3 w 166"/>
                <a:gd name="T41" fmla="*/ 2 h 45"/>
                <a:gd name="T42" fmla="*/ 2 w 166"/>
                <a:gd name="T43" fmla="*/ 3 h 45"/>
                <a:gd name="T44" fmla="*/ 1 w 166"/>
                <a:gd name="T45" fmla="*/ 4 h 45"/>
                <a:gd name="T46" fmla="*/ 0 w 166"/>
                <a:gd name="T47" fmla="*/ 6 h 45"/>
                <a:gd name="T48" fmla="*/ 0 w 166"/>
                <a:gd name="T49" fmla="*/ 7 h 45"/>
                <a:gd name="T50" fmla="*/ 0 w 166"/>
                <a:gd name="T51" fmla="*/ 9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AU"/>
            </a:p>
          </p:txBody>
        </p:sp>
        <p:sp>
          <p:nvSpPr>
            <p:cNvPr id="2462" name="Freeform 412"/>
            <p:cNvSpPr>
              <a:spLocks/>
            </p:cNvSpPr>
            <p:nvPr/>
          </p:nvSpPr>
          <p:spPr bwMode="auto">
            <a:xfrm>
              <a:off x="1488" y="1422"/>
              <a:ext cx="11" cy="8"/>
            </a:xfrm>
            <a:custGeom>
              <a:avLst/>
              <a:gdLst>
                <a:gd name="T0" fmla="*/ 0 w 33"/>
                <a:gd name="T1" fmla="*/ 0 h 25"/>
                <a:gd name="T2" fmla="*/ 0 w 33"/>
                <a:gd name="T3" fmla="*/ 3 h 25"/>
                <a:gd name="T4" fmla="*/ 1 w 33"/>
                <a:gd name="T5" fmla="*/ 5 h 25"/>
                <a:gd name="T6" fmla="*/ 2 w 33"/>
                <a:gd name="T7" fmla="*/ 6 h 25"/>
                <a:gd name="T8" fmla="*/ 4 w 33"/>
                <a:gd name="T9" fmla="*/ 7 h 25"/>
                <a:gd name="T10" fmla="*/ 5 w 33"/>
                <a:gd name="T11" fmla="*/ 8 h 25"/>
                <a:gd name="T12" fmla="*/ 7 w 33"/>
                <a:gd name="T13" fmla="*/ 8 h 25"/>
                <a:gd name="T14" fmla="*/ 9 w 33"/>
                <a:gd name="T15" fmla="*/ 8 h 25"/>
                <a:gd name="T16" fmla="*/ 11 w 33"/>
                <a:gd name="T17" fmla="*/ 8 h 25"/>
                <a:gd name="T18" fmla="*/ 11 w 33"/>
                <a:gd name="T19" fmla="*/ 0 h 25"/>
                <a:gd name="T20" fmla="*/ 8 w 33"/>
                <a:gd name="T21" fmla="*/ 0 h 25"/>
                <a:gd name="T22" fmla="*/ 5 w 33"/>
                <a:gd name="T23" fmla="*/ 0 h 25"/>
                <a:gd name="T24" fmla="*/ 3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AU"/>
            </a:p>
          </p:txBody>
        </p:sp>
        <p:sp>
          <p:nvSpPr>
            <p:cNvPr id="2463" name="Freeform 413"/>
            <p:cNvSpPr>
              <a:spLocks/>
            </p:cNvSpPr>
            <p:nvPr/>
          </p:nvSpPr>
          <p:spPr bwMode="auto">
            <a:xfrm>
              <a:off x="1605" y="1729"/>
              <a:ext cx="16" cy="20"/>
            </a:xfrm>
            <a:custGeom>
              <a:avLst/>
              <a:gdLst>
                <a:gd name="T0" fmla="*/ 0 w 48"/>
                <a:gd name="T1" fmla="*/ 20 h 62"/>
                <a:gd name="T2" fmla="*/ 4 w 48"/>
                <a:gd name="T3" fmla="*/ 18 h 62"/>
                <a:gd name="T4" fmla="*/ 7 w 48"/>
                <a:gd name="T5" fmla="*/ 16 h 62"/>
                <a:gd name="T6" fmla="*/ 10 w 48"/>
                <a:gd name="T7" fmla="*/ 14 h 62"/>
                <a:gd name="T8" fmla="*/ 12 w 48"/>
                <a:gd name="T9" fmla="*/ 12 h 62"/>
                <a:gd name="T10" fmla="*/ 14 w 48"/>
                <a:gd name="T11" fmla="*/ 9 h 62"/>
                <a:gd name="T12" fmla="*/ 15 w 48"/>
                <a:gd name="T13" fmla="*/ 6 h 62"/>
                <a:gd name="T14" fmla="*/ 16 w 48"/>
                <a:gd name="T15" fmla="*/ 3 h 62"/>
                <a:gd name="T16" fmla="*/ 16 w 48"/>
                <a:gd name="T17" fmla="*/ 0 h 62"/>
                <a:gd name="T18" fmla="*/ 13 w 48"/>
                <a:gd name="T19" fmla="*/ 1 h 62"/>
                <a:gd name="T20" fmla="*/ 11 w 48"/>
                <a:gd name="T21" fmla="*/ 2 h 62"/>
                <a:gd name="T22" fmla="*/ 8 w 48"/>
                <a:gd name="T23" fmla="*/ 3 h 62"/>
                <a:gd name="T24" fmla="*/ 6 w 48"/>
                <a:gd name="T25" fmla="*/ 5 h 62"/>
                <a:gd name="T26" fmla="*/ 3 w 48"/>
                <a:gd name="T27" fmla="*/ 7 h 62"/>
                <a:gd name="T28" fmla="*/ 2 w 48"/>
                <a:gd name="T29" fmla="*/ 9 h 62"/>
                <a:gd name="T30" fmla="*/ 1 w 48"/>
                <a:gd name="T31" fmla="*/ 10 h 62"/>
                <a:gd name="T32" fmla="*/ 1 w 48"/>
                <a:gd name="T33" fmla="*/ 11 h 62"/>
                <a:gd name="T34" fmla="*/ 0 w 48"/>
                <a:gd name="T35" fmla="*/ 13 h 62"/>
                <a:gd name="T36" fmla="*/ 0 w 48"/>
                <a:gd name="T37" fmla="*/ 14 h 62"/>
                <a:gd name="T38" fmla="*/ 0 w 48"/>
                <a:gd name="T39" fmla="*/ 17 h 62"/>
                <a:gd name="T40" fmla="*/ 0 w 48"/>
                <a:gd name="T41" fmla="*/ 2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AU"/>
            </a:p>
          </p:txBody>
        </p:sp>
        <p:sp>
          <p:nvSpPr>
            <p:cNvPr id="2464" name="Freeform 414"/>
            <p:cNvSpPr>
              <a:spLocks/>
            </p:cNvSpPr>
            <p:nvPr/>
          </p:nvSpPr>
          <p:spPr bwMode="auto">
            <a:xfrm>
              <a:off x="1554" y="1729"/>
              <a:ext cx="36" cy="20"/>
            </a:xfrm>
            <a:custGeom>
              <a:avLst/>
              <a:gdLst>
                <a:gd name="T0" fmla="*/ 15 w 113"/>
                <a:gd name="T1" fmla="*/ 0 h 62"/>
                <a:gd name="T2" fmla="*/ 11 w 113"/>
                <a:gd name="T3" fmla="*/ 2 h 62"/>
                <a:gd name="T4" fmla="*/ 7 w 113"/>
                <a:gd name="T5" fmla="*/ 5 h 62"/>
                <a:gd name="T6" fmla="*/ 4 w 113"/>
                <a:gd name="T7" fmla="*/ 9 h 62"/>
                <a:gd name="T8" fmla="*/ 0 w 113"/>
                <a:gd name="T9" fmla="*/ 12 h 62"/>
                <a:gd name="T10" fmla="*/ 7 w 113"/>
                <a:gd name="T11" fmla="*/ 15 h 62"/>
                <a:gd name="T12" fmla="*/ 13 w 113"/>
                <a:gd name="T13" fmla="*/ 17 h 62"/>
                <a:gd name="T14" fmla="*/ 16 w 113"/>
                <a:gd name="T15" fmla="*/ 18 h 62"/>
                <a:gd name="T16" fmla="*/ 20 w 113"/>
                <a:gd name="T17" fmla="*/ 19 h 62"/>
                <a:gd name="T18" fmla="*/ 23 w 113"/>
                <a:gd name="T19" fmla="*/ 20 h 62"/>
                <a:gd name="T20" fmla="*/ 28 w 113"/>
                <a:gd name="T21" fmla="*/ 20 h 62"/>
                <a:gd name="T22" fmla="*/ 31 w 113"/>
                <a:gd name="T23" fmla="*/ 20 h 62"/>
                <a:gd name="T24" fmla="*/ 34 w 113"/>
                <a:gd name="T25" fmla="*/ 19 h 62"/>
                <a:gd name="T26" fmla="*/ 35 w 113"/>
                <a:gd name="T27" fmla="*/ 18 h 62"/>
                <a:gd name="T28" fmla="*/ 35 w 113"/>
                <a:gd name="T29" fmla="*/ 17 h 62"/>
                <a:gd name="T30" fmla="*/ 36 w 113"/>
                <a:gd name="T31" fmla="*/ 17 h 62"/>
                <a:gd name="T32" fmla="*/ 36 w 113"/>
                <a:gd name="T33" fmla="*/ 16 h 62"/>
                <a:gd name="T34" fmla="*/ 29 w 113"/>
                <a:gd name="T35" fmla="*/ 13 h 62"/>
                <a:gd name="T36" fmla="*/ 22 w 113"/>
                <a:gd name="T37" fmla="*/ 10 h 62"/>
                <a:gd name="T38" fmla="*/ 21 w 113"/>
                <a:gd name="T39" fmla="*/ 9 h 62"/>
                <a:gd name="T40" fmla="*/ 19 w 113"/>
                <a:gd name="T41" fmla="*/ 8 h 62"/>
                <a:gd name="T42" fmla="*/ 18 w 113"/>
                <a:gd name="T43" fmla="*/ 7 h 62"/>
                <a:gd name="T44" fmla="*/ 17 w 113"/>
                <a:gd name="T45" fmla="*/ 6 h 62"/>
                <a:gd name="T46" fmla="*/ 16 w 113"/>
                <a:gd name="T47" fmla="*/ 5 h 62"/>
                <a:gd name="T48" fmla="*/ 15 w 113"/>
                <a:gd name="T49" fmla="*/ 3 h 62"/>
                <a:gd name="T50" fmla="*/ 15 w 113"/>
                <a:gd name="T51" fmla="*/ 2 h 62"/>
                <a:gd name="T52" fmla="*/ 15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AU"/>
            </a:p>
          </p:txBody>
        </p:sp>
        <p:sp>
          <p:nvSpPr>
            <p:cNvPr id="2465" name="Freeform 415"/>
            <p:cNvSpPr>
              <a:spLocks/>
            </p:cNvSpPr>
            <p:nvPr/>
          </p:nvSpPr>
          <p:spPr bwMode="auto">
            <a:xfrm>
              <a:off x="1748" y="1188"/>
              <a:ext cx="29" cy="15"/>
            </a:xfrm>
            <a:custGeom>
              <a:avLst/>
              <a:gdLst>
                <a:gd name="T0" fmla="*/ 0 w 93"/>
                <a:gd name="T1" fmla="*/ 0 h 50"/>
                <a:gd name="T2" fmla="*/ 5 w 93"/>
                <a:gd name="T3" fmla="*/ 0 h 50"/>
                <a:gd name="T4" fmla="*/ 9 w 93"/>
                <a:gd name="T5" fmla="*/ 0 h 50"/>
                <a:gd name="T6" fmla="*/ 14 w 93"/>
                <a:gd name="T7" fmla="*/ 1 h 50"/>
                <a:gd name="T8" fmla="*/ 18 w 93"/>
                <a:gd name="T9" fmla="*/ 2 h 50"/>
                <a:gd name="T10" fmla="*/ 20 w 93"/>
                <a:gd name="T11" fmla="*/ 2 h 50"/>
                <a:gd name="T12" fmla="*/ 22 w 93"/>
                <a:gd name="T13" fmla="*/ 3 h 50"/>
                <a:gd name="T14" fmla="*/ 23 w 93"/>
                <a:gd name="T15" fmla="*/ 4 h 50"/>
                <a:gd name="T16" fmla="*/ 25 w 93"/>
                <a:gd name="T17" fmla="*/ 5 h 50"/>
                <a:gd name="T18" fmla="*/ 27 w 93"/>
                <a:gd name="T19" fmla="*/ 6 h 50"/>
                <a:gd name="T20" fmla="*/ 28 w 93"/>
                <a:gd name="T21" fmla="*/ 8 h 50"/>
                <a:gd name="T22" fmla="*/ 28 w 93"/>
                <a:gd name="T23" fmla="*/ 9 h 50"/>
                <a:gd name="T24" fmla="*/ 29 w 93"/>
                <a:gd name="T25" fmla="*/ 11 h 50"/>
                <a:gd name="T26" fmla="*/ 25 w 93"/>
                <a:gd name="T27" fmla="*/ 11 h 50"/>
                <a:gd name="T28" fmla="*/ 21 w 93"/>
                <a:gd name="T29" fmla="*/ 12 h 50"/>
                <a:gd name="T30" fmla="*/ 19 w 93"/>
                <a:gd name="T31" fmla="*/ 12 h 50"/>
                <a:gd name="T32" fmla="*/ 16 w 93"/>
                <a:gd name="T33" fmla="*/ 13 h 50"/>
                <a:gd name="T34" fmla="*/ 13 w 93"/>
                <a:gd name="T35" fmla="*/ 14 h 50"/>
                <a:gd name="T36" fmla="*/ 10 w 93"/>
                <a:gd name="T37" fmla="*/ 15 h 50"/>
                <a:gd name="T38" fmla="*/ 9 w 93"/>
                <a:gd name="T39" fmla="*/ 15 h 50"/>
                <a:gd name="T40" fmla="*/ 9 w 93"/>
                <a:gd name="T41" fmla="*/ 14 h 50"/>
                <a:gd name="T42" fmla="*/ 8 w 93"/>
                <a:gd name="T43" fmla="*/ 14 h 50"/>
                <a:gd name="T44" fmla="*/ 8 w 93"/>
                <a:gd name="T45" fmla="*/ 14 h 50"/>
                <a:gd name="T46" fmla="*/ 7 w 93"/>
                <a:gd name="T47" fmla="*/ 12 h 50"/>
                <a:gd name="T48" fmla="*/ 7 w 93"/>
                <a:gd name="T49" fmla="*/ 11 h 50"/>
                <a:gd name="T50" fmla="*/ 7 w 93"/>
                <a:gd name="T51" fmla="*/ 9 h 50"/>
                <a:gd name="T52" fmla="*/ 7 w 93"/>
                <a:gd name="T53" fmla="*/ 8 h 50"/>
                <a:gd name="T54" fmla="*/ 7 w 93"/>
                <a:gd name="T55" fmla="*/ 7 h 50"/>
                <a:gd name="T56" fmla="*/ 8 w 93"/>
                <a:gd name="T57" fmla="*/ 6 h 50"/>
                <a:gd name="T58" fmla="*/ 0 w 93"/>
                <a:gd name="T59" fmla="*/ 6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AU"/>
            </a:p>
          </p:txBody>
        </p:sp>
        <p:sp>
          <p:nvSpPr>
            <p:cNvPr id="2466" name="Freeform 416"/>
            <p:cNvSpPr>
              <a:spLocks/>
            </p:cNvSpPr>
            <p:nvPr/>
          </p:nvSpPr>
          <p:spPr bwMode="auto">
            <a:xfrm>
              <a:off x="1436" y="1246"/>
              <a:ext cx="331" cy="198"/>
            </a:xfrm>
            <a:custGeom>
              <a:avLst/>
              <a:gdLst>
                <a:gd name="T0" fmla="*/ 6 w 1029"/>
                <a:gd name="T1" fmla="*/ 37 h 604"/>
                <a:gd name="T2" fmla="*/ 22 w 1029"/>
                <a:gd name="T3" fmla="*/ 20 h 604"/>
                <a:gd name="T4" fmla="*/ 86 w 1029"/>
                <a:gd name="T5" fmla="*/ 0 h 604"/>
                <a:gd name="T6" fmla="*/ 66 w 1029"/>
                <a:gd name="T7" fmla="*/ 15 h 604"/>
                <a:gd name="T8" fmla="*/ 58 w 1029"/>
                <a:gd name="T9" fmla="*/ 34 h 604"/>
                <a:gd name="T10" fmla="*/ 88 w 1029"/>
                <a:gd name="T11" fmla="*/ 20 h 604"/>
                <a:gd name="T12" fmla="*/ 128 w 1029"/>
                <a:gd name="T13" fmla="*/ 5 h 604"/>
                <a:gd name="T14" fmla="*/ 141 w 1029"/>
                <a:gd name="T15" fmla="*/ 8 h 604"/>
                <a:gd name="T16" fmla="*/ 139 w 1029"/>
                <a:gd name="T17" fmla="*/ 23 h 604"/>
                <a:gd name="T18" fmla="*/ 187 w 1029"/>
                <a:gd name="T19" fmla="*/ 26 h 604"/>
                <a:gd name="T20" fmla="*/ 217 w 1029"/>
                <a:gd name="T21" fmla="*/ 29 h 604"/>
                <a:gd name="T22" fmla="*/ 241 w 1029"/>
                <a:gd name="T23" fmla="*/ 36 h 604"/>
                <a:gd name="T24" fmla="*/ 241 w 1029"/>
                <a:gd name="T25" fmla="*/ 44 h 604"/>
                <a:gd name="T26" fmla="*/ 229 w 1029"/>
                <a:gd name="T27" fmla="*/ 60 h 604"/>
                <a:gd name="T28" fmla="*/ 257 w 1029"/>
                <a:gd name="T29" fmla="*/ 55 h 604"/>
                <a:gd name="T30" fmla="*/ 279 w 1029"/>
                <a:gd name="T31" fmla="*/ 63 h 604"/>
                <a:gd name="T32" fmla="*/ 275 w 1029"/>
                <a:gd name="T33" fmla="*/ 78 h 604"/>
                <a:gd name="T34" fmla="*/ 253 w 1029"/>
                <a:gd name="T35" fmla="*/ 81 h 604"/>
                <a:gd name="T36" fmla="*/ 276 w 1029"/>
                <a:gd name="T37" fmla="*/ 93 h 604"/>
                <a:gd name="T38" fmla="*/ 290 w 1029"/>
                <a:gd name="T39" fmla="*/ 107 h 604"/>
                <a:gd name="T40" fmla="*/ 314 w 1029"/>
                <a:gd name="T41" fmla="*/ 108 h 604"/>
                <a:gd name="T42" fmla="*/ 331 w 1029"/>
                <a:gd name="T43" fmla="*/ 115 h 604"/>
                <a:gd name="T44" fmla="*/ 302 w 1029"/>
                <a:gd name="T45" fmla="*/ 134 h 604"/>
                <a:gd name="T46" fmla="*/ 289 w 1029"/>
                <a:gd name="T47" fmla="*/ 137 h 604"/>
                <a:gd name="T48" fmla="*/ 281 w 1029"/>
                <a:gd name="T49" fmla="*/ 145 h 604"/>
                <a:gd name="T50" fmla="*/ 267 w 1029"/>
                <a:gd name="T51" fmla="*/ 136 h 604"/>
                <a:gd name="T52" fmla="*/ 274 w 1029"/>
                <a:gd name="T53" fmla="*/ 129 h 604"/>
                <a:gd name="T54" fmla="*/ 255 w 1029"/>
                <a:gd name="T55" fmla="*/ 124 h 604"/>
                <a:gd name="T56" fmla="*/ 244 w 1029"/>
                <a:gd name="T57" fmla="*/ 119 h 604"/>
                <a:gd name="T58" fmla="*/ 239 w 1029"/>
                <a:gd name="T59" fmla="*/ 129 h 604"/>
                <a:gd name="T60" fmla="*/ 240 w 1029"/>
                <a:gd name="T61" fmla="*/ 146 h 604"/>
                <a:gd name="T62" fmla="*/ 256 w 1029"/>
                <a:gd name="T63" fmla="*/ 171 h 604"/>
                <a:gd name="T64" fmla="*/ 248 w 1029"/>
                <a:gd name="T65" fmla="*/ 179 h 604"/>
                <a:gd name="T66" fmla="*/ 228 w 1029"/>
                <a:gd name="T67" fmla="*/ 182 h 604"/>
                <a:gd name="T68" fmla="*/ 199 w 1029"/>
                <a:gd name="T69" fmla="*/ 169 h 604"/>
                <a:gd name="T70" fmla="*/ 215 w 1029"/>
                <a:gd name="T71" fmla="*/ 186 h 604"/>
                <a:gd name="T72" fmla="*/ 214 w 1029"/>
                <a:gd name="T73" fmla="*/ 198 h 604"/>
                <a:gd name="T74" fmla="*/ 167 w 1029"/>
                <a:gd name="T75" fmla="*/ 187 h 604"/>
                <a:gd name="T76" fmla="*/ 152 w 1029"/>
                <a:gd name="T77" fmla="*/ 171 h 604"/>
                <a:gd name="T78" fmla="*/ 132 w 1029"/>
                <a:gd name="T79" fmla="*/ 155 h 604"/>
                <a:gd name="T80" fmla="*/ 118 w 1029"/>
                <a:gd name="T81" fmla="*/ 149 h 604"/>
                <a:gd name="T82" fmla="*/ 126 w 1029"/>
                <a:gd name="T83" fmla="*/ 142 h 604"/>
                <a:gd name="T84" fmla="*/ 148 w 1029"/>
                <a:gd name="T85" fmla="*/ 131 h 604"/>
                <a:gd name="T86" fmla="*/ 161 w 1029"/>
                <a:gd name="T87" fmla="*/ 124 h 604"/>
                <a:gd name="T88" fmla="*/ 186 w 1029"/>
                <a:gd name="T89" fmla="*/ 125 h 604"/>
                <a:gd name="T90" fmla="*/ 198 w 1029"/>
                <a:gd name="T91" fmla="*/ 129 h 604"/>
                <a:gd name="T92" fmla="*/ 221 w 1029"/>
                <a:gd name="T93" fmla="*/ 127 h 604"/>
                <a:gd name="T94" fmla="*/ 187 w 1029"/>
                <a:gd name="T95" fmla="*/ 116 h 604"/>
                <a:gd name="T96" fmla="*/ 174 w 1029"/>
                <a:gd name="T97" fmla="*/ 118 h 604"/>
                <a:gd name="T98" fmla="*/ 173 w 1029"/>
                <a:gd name="T99" fmla="*/ 115 h 604"/>
                <a:gd name="T100" fmla="*/ 185 w 1029"/>
                <a:gd name="T101" fmla="*/ 100 h 604"/>
                <a:gd name="T102" fmla="*/ 185 w 1029"/>
                <a:gd name="T103" fmla="*/ 90 h 604"/>
                <a:gd name="T104" fmla="*/ 169 w 1029"/>
                <a:gd name="T105" fmla="*/ 83 h 604"/>
                <a:gd name="T106" fmla="*/ 152 w 1029"/>
                <a:gd name="T107" fmla="*/ 65 h 604"/>
                <a:gd name="T108" fmla="*/ 140 w 1029"/>
                <a:gd name="T109" fmla="*/ 55 h 604"/>
                <a:gd name="T110" fmla="*/ 131 w 1029"/>
                <a:gd name="T111" fmla="*/ 53 h 604"/>
                <a:gd name="T112" fmla="*/ 122 w 1029"/>
                <a:gd name="T113" fmla="*/ 67 h 604"/>
                <a:gd name="T114" fmla="*/ 67 w 1029"/>
                <a:gd name="T115" fmla="*/ 57 h 604"/>
                <a:gd name="T116" fmla="*/ 37 w 1029"/>
                <a:gd name="T117" fmla="*/ 62 h 604"/>
                <a:gd name="T118" fmla="*/ 25 w 1029"/>
                <a:gd name="T119" fmla="*/ 61 h 604"/>
                <a:gd name="T120" fmla="*/ 5 w 1029"/>
                <a:gd name="T121" fmla="*/ 59 h 604"/>
                <a:gd name="T122" fmla="*/ 3 w 1029"/>
                <a:gd name="T123" fmla="*/ 52 h 604"/>
                <a:gd name="T124" fmla="*/ 24 w 1029"/>
                <a:gd name="T125" fmla="*/ 49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AU"/>
            </a:p>
          </p:txBody>
        </p:sp>
        <p:sp>
          <p:nvSpPr>
            <p:cNvPr id="2467" name="Freeform 417"/>
            <p:cNvSpPr>
              <a:spLocks/>
            </p:cNvSpPr>
            <p:nvPr/>
          </p:nvSpPr>
          <p:spPr bwMode="auto">
            <a:xfrm>
              <a:off x="1528" y="1110"/>
              <a:ext cx="409" cy="105"/>
            </a:xfrm>
            <a:custGeom>
              <a:avLst/>
              <a:gdLst>
                <a:gd name="T0" fmla="*/ 257 w 1268"/>
                <a:gd name="T1" fmla="*/ 12 h 321"/>
                <a:gd name="T2" fmla="*/ 262 w 1268"/>
                <a:gd name="T3" fmla="*/ 5 h 321"/>
                <a:gd name="T4" fmla="*/ 273 w 1268"/>
                <a:gd name="T5" fmla="*/ 3 h 321"/>
                <a:gd name="T6" fmla="*/ 279 w 1268"/>
                <a:gd name="T7" fmla="*/ 8 h 321"/>
                <a:gd name="T8" fmla="*/ 303 w 1268"/>
                <a:gd name="T9" fmla="*/ 5 h 321"/>
                <a:gd name="T10" fmla="*/ 329 w 1268"/>
                <a:gd name="T11" fmla="*/ 0 h 321"/>
                <a:gd name="T12" fmla="*/ 350 w 1268"/>
                <a:gd name="T13" fmla="*/ 6 h 321"/>
                <a:gd name="T14" fmla="*/ 365 w 1268"/>
                <a:gd name="T15" fmla="*/ 7 h 321"/>
                <a:gd name="T16" fmla="*/ 409 w 1268"/>
                <a:gd name="T17" fmla="*/ 10 h 321"/>
                <a:gd name="T18" fmla="*/ 401 w 1268"/>
                <a:gd name="T19" fmla="*/ 16 h 321"/>
                <a:gd name="T20" fmla="*/ 375 w 1268"/>
                <a:gd name="T21" fmla="*/ 21 h 321"/>
                <a:gd name="T22" fmla="*/ 340 w 1268"/>
                <a:gd name="T23" fmla="*/ 25 h 321"/>
                <a:gd name="T24" fmla="*/ 332 w 1268"/>
                <a:gd name="T25" fmla="*/ 31 h 321"/>
                <a:gd name="T26" fmla="*/ 322 w 1268"/>
                <a:gd name="T27" fmla="*/ 34 h 321"/>
                <a:gd name="T28" fmla="*/ 304 w 1268"/>
                <a:gd name="T29" fmla="*/ 33 h 321"/>
                <a:gd name="T30" fmla="*/ 300 w 1268"/>
                <a:gd name="T31" fmla="*/ 39 h 321"/>
                <a:gd name="T32" fmla="*/ 241 w 1268"/>
                <a:gd name="T33" fmla="*/ 44 h 321"/>
                <a:gd name="T34" fmla="*/ 215 w 1268"/>
                <a:gd name="T35" fmla="*/ 51 h 321"/>
                <a:gd name="T36" fmla="*/ 205 w 1268"/>
                <a:gd name="T37" fmla="*/ 59 h 321"/>
                <a:gd name="T38" fmla="*/ 191 w 1268"/>
                <a:gd name="T39" fmla="*/ 55 h 321"/>
                <a:gd name="T40" fmla="*/ 184 w 1268"/>
                <a:gd name="T41" fmla="*/ 59 h 321"/>
                <a:gd name="T42" fmla="*/ 190 w 1268"/>
                <a:gd name="T43" fmla="*/ 68 h 321"/>
                <a:gd name="T44" fmla="*/ 176 w 1268"/>
                <a:gd name="T45" fmla="*/ 78 h 321"/>
                <a:gd name="T46" fmla="*/ 156 w 1268"/>
                <a:gd name="T47" fmla="*/ 77 h 321"/>
                <a:gd name="T48" fmla="*/ 130 w 1268"/>
                <a:gd name="T49" fmla="*/ 79 h 321"/>
                <a:gd name="T50" fmla="*/ 131 w 1268"/>
                <a:gd name="T51" fmla="*/ 84 h 321"/>
                <a:gd name="T52" fmla="*/ 126 w 1268"/>
                <a:gd name="T53" fmla="*/ 96 h 321"/>
                <a:gd name="T54" fmla="*/ 107 w 1268"/>
                <a:gd name="T55" fmla="*/ 105 h 321"/>
                <a:gd name="T56" fmla="*/ 94 w 1268"/>
                <a:gd name="T57" fmla="*/ 97 h 321"/>
                <a:gd name="T58" fmla="*/ 82 w 1268"/>
                <a:gd name="T59" fmla="*/ 93 h 321"/>
                <a:gd name="T60" fmla="*/ 31 w 1268"/>
                <a:gd name="T61" fmla="*/ 90 h 321"/>
                <a:gd name="T62" fmla="*/ 0 w 1268"/>
                <a:gd name="T63" fmla="*/ 93 h 321"/>
                <a:gd name="T64" fmla="*/ 3 w 1268"/>
                <a:gd name="T65" fmla="*/ 87 h 321"/>
                <a:gd name="T66" fmla="*/ 18 w 1268"/>
                <a:gd name="T67" fmla="*/ 80 h 321"/>
                <a:gd name="T68" fmla="*/ 46 w 1268"/>
                <a:gd name="T69" fmla="*/ 77 h 321"/>
                <a:gd name="T70" fmla="*/ 55 w 1268"/>
                <a:gd name="T71" fmla="*/ 74 h 321"/>
                <a:gd name="T72" fmla="*/ 61 w 1268"/>
                <a:gd name="T73" fmla="*/ 71 h 321"/>
                <a:gd name="T74" fmla="*/ 71 w 1268"/>
                <a:gd name="T75" fmla="*/ 76 h 321"/>
                <a:gd name="T76" fmla="*/ 80 w 1268"/>
                <a:gd name="T77" fmla="*/ 81 h 321"/>
                <a:gd name="T78" fmla="*/ 67 w 1268"/>
                <a:gd name="T79" fmla="*/ 68 h 321"/>
                <a:gd name="T80" fmla="*/ 62 w 1268"/>
                <a:gd name="T81" fmla="*/ 65 h 321"/>
                <a:gd name="T82" fmla="*/ 64 w 1268"/>
                <a:gd name="T83" fmla="*/ 59 h 321"/>
                <a:gd name="T84" fmla="*/ 79 w 1268"/>
                <a:gd name="T85" fmla="*/ 57 h 321"/>
                <a:gd name="T86" fmla="*/ 118 w 1268"/>
                <a:gd name="T87" fmla="*/ 61 h 321"/>
                <a:gd name="T88" fmla="*/ 135 w 1268"/>
                <a:gd name="T89" fmla="*/ 57 h 321"/>
                <a:gd name="T90" fmla="*/ 104 w 1268"/>
                <a:gd name="T91" fmla="*/ 55 h 321"/>
                <a:gd name="T92" fmla="*/ 96 w 1268"/>
                <a:gd name="T93" fmla="*/ 49 h 321"/>
                <a:gd name="T94" fmla="*/ 122 w 1268"/>
                <a:gd name="T95" fmla="*/ 45 h 321"/>
                <a:gd name="T96" fmla="*/ 141 w 1268"/>
                <a:gd name="T97" fmla="*/ 51 h 321"/>
                <a:gd name="T98" fmla="*/ 154 w 1268"/>
                <a:gd name="T99" fmla="*/ 41 h 321"/>
                <a:gd name="T100" fmla="*/ 214 w 1268"/>
                <a:gd name="T101" fmla="*/ 28 h 321"/>
                <a:gd name="T102" fmla="*/ 190 w 1268"/>
                <a:gd name="T103" fmla="*/ 36 h 321"/>
                <a:gd name="T104" fmla="*/ 145 w 1268"/>
                <a:gd name="T105" fmla="*/ 36 h 321"/>
                <a:gd name="T106" fmla="*/ 101 w 1268"/>
                <a:gd name="T107" fmla="*/ 38 h 321"/>
                <a:gd name="T108" fmla="*/ 82 w 1268"/>
                <a:gd name="T109" fmla="*/ 33 h 321"/>
                <a:gd name="T110" fmla="*/ 71 w 1268"/>
                <a:gd name="T111" fmla="*/ 26 h 321"/>
                <a:gd name="T112" fmla="*/ 82 w 1268"/>
                <a:gd name="T113" fmla="*/ 23 h 321"/>
                <a:gd name="T114" fmla="*/ 144 w 1268"/>
                <a:gd name="T115" fmla="*/ 15 h 321"/>
                <a:gd name="T116" fmla="*/ 199 w 1268"/>
                <a:gd name="T117" fmla="*/ 10 h 321"/>
                <a:gd name="T118" fmla="*/ 217 w 1268"/>
                <a:gd name="T119" fmla="*/ 7 h 321"/>
                <a:gd name="T120" fmla="*/ 244 w 1268"/>
                <a:gd name="T121" fmla="*/ 9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AU"/>
            </a:p>
          </p:txBody>
        </p:sp>
        <p:sp>
          <p:nvSpPr>
            <p:cNvPr id="2468" name="Freeform 418"/>
            <p:cNvSpPr>
              <a:spLocks/>
            </p:cNvSpPr>
            <p:nvPr/>
          </p:nvSpPr>
          <p:spPr bwMode="auto">
            <a:xfrm>
              <a:off x="553" y="1660"/>
              <a:ext cx="51" cy="38"/>
            </a:xfrm>
            <a:custGeom>
              <a:avLst/>
              <a:gdLst>
                <a:gd name="T0" fmla="*/ 0 w 160"/>
                <a:gd name="T1" fmla="*/ 0 h 117"/>
                <a:gd name="T2" fmla="*/ 0 w 160"/>
                <a:gd name="T3" fmla="*/ 3 h 117"/>
                <a:gd name="T4" fmla="*/ 1 w 160"/>
                <a:gd name="T5" fmla="*/ 6 h 117"/>
                <a:gd name="T6" fmla="*/ 3 w 160"/>
                <a:gd name="T7" fmla="*/ 9 h 117"/>
                <a:gd name="T8" fmla="*/ 5 w 160"/>
                <a:gd name="T9" fmla="*/ 13 h 117"/>
                <a:gd name="T10" fmla="*/ 7 w 160"/>
                <a:gd name="T11" fmla="*/ 16 h 117"/>
                <a:gd name="T12" fmla="*/ 10 w 160"/>
                <a:gd name="T13" fmla="*/ 19 h 117"/>
                <a:gd name="T14" fmla="*/ 13 w 160"/>
                <a:gd name="T15" fmla="*/ 22 h 117"/>
                <a:gd name="T16" fmla="*/ 16 w 160"/>
                <a:gd name="T17" fmla="*/ 25 h 117"/>
                <a:gd name="T18" fmla="*/ 20 w 160"/>
                <a:gd name="T19" fmla="*/ 28 h 117"/>
                <a:gd name="T20" fmla="*/ 23 w 160"/>
                <a:gd name="T21" fmla="*/ 30 h 117"/>
                <a:gd name="T22" fmla="*/ 27 w 160"/>
                <a:gd name="T23" fmla="*/ 32 h 117"/>
                <a:gd name="T24" fmla="*/ 30 w 160"/>
                <a:gd name="T25" fmla="*/ 34 h 117"/>
                <a:gd name="T26" fmla="*/ 34 w 160"/>
                <a:gd name="T27" fmla="*/ 36 h 117"/>
                <a:gd name="T28" fmla="*/ 37 w 160"/>
                <a:gd name="T29" fmla="*/ 37 h 117"/>
                <a:gd name="T30" fmla="*/ 40 w 160"/>
                <a:gd name="T31" fmla="*/ 38 h 117"/>
                <a:gd name="T32" fmla="*/ 42 w 160"/>
                <a:gd name="T33" fmla="*/ 38 h 117"/>
                <a:gd name="T34" fmla="*/ 44 w 160"/>
                <a:gd name="T35" fmla="*/ 38 h 117"/>
                <a:gd name="T36" fmla="*/ 47 w 160"/>
                <a:gd name="T37" fmla="*/ 37 h 117"/>
                <a:gd name="T38" fmla="*/ 49 w 160"/>
                <a:gd name="T39" fmla="*/ 36 h 117"/>
                <a:gd name="T40" fmla="*/ 51 w 160"/>
                <a:gd name="T41" fmla="*/ 34 h 117"/>
                <a:gd name="T42" fmla="*/ 48 w 160"/>
                <a:gd name="T43" fmla="*/ 30 h 117"/>
                <a:gd name="T44" fmla="*/ 45 w 160"/>
                <a:gd name="T45" fmla="*/ 26 h 117"/>
                <a:gd name="T46" fmla="*/ 44 w 160"/>
                <a:gd name="T47" fmla="*/ 24 h 117"/>
                <a:gd name="T48" fmla="*/ 43 w 160"/>
                <a:gd name="T49" fmla="*/ 21 h 117"/>
                <a:gd name="T50" fmla="*/ 42 w 160"/>
                <a:gd name="T51" fmla="*/ 19 h 117"/>
                <a:gd name="T52" fmla="*/ 42 w 160"/>
                <a:gd name="T53" fmla="*/ 16 h 117"/>
                <a:gd name="T54" fmla="*/ 40 w 160"/>
                <a:gd name="T55" fmla="*/ 16 h 117"/>
                <a:gd name="T56" fmla="*/ 38 w 160"/>
                <a:gd name="T57" fmla="*/ 15 h 117"/>
                <a:gd name="T58" fmla="*/ 34 w 160"/>
                <a:gd name="T59" fmla="*/ 13 h 117"/>
                <a:gd name="T60" fmla="*/ 31 w 160"/>
                <a:gd name="T61" fmla="*/ 11 h 117"/>
                <a:gd name="T62" fmla="*/ 28 w 160"/>
                <a:gd name="T63" fmla="*/ 9 h 117"/>
                <a:gd name="T64" fmla="*/ 25 w 160"/>
                <a:gd name="T65" fmla="*/ 7 h 117"/>
                <a:gd name="T66" fmla="*/ 24 w 160"/>
                <a:gd name="T67" fmla="*/ 6 h 117"/>
                <a:gd name="T68" fmla="*/ 23 w 160"/>
                <a:gd name="T69" fmla="*/ 4 h 117"/>
                <a:gd name="T70" fmla="*/ 22 w 160"/>
                <a:gd name="T71" fmla="*/ 3 h 117"/>
                <a:gd name="T72" fmla="*/ 21 w 160"/>
                <a:gd name="T73" fmla="*/ 2 h 117"/>
                <a:gd name="T74" fmla="*/ 19 w 160"/>
                <a:gd name="T75" fmla="*/ 2 h 117"/>
                <a:gd name="T76" fmla="*/ 17 w 160"/>
                <a:gd name="T77" fmla="*/ 2 h 117"/>
                <a:gd name="T78" fmla="*/ 14 w 160"/>
                <a:gd name="T79" fmla="*/ 1 h 117"/>
                <a:gd name="T80" fmla="*/ 11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AU"/>
            </a:p>
          </p:txBody>
        </p:sp>
        <p:sp>
          <p:nvSpPr>
            <p:cNvPr id="2469" name="Freeform 419"/>
            <p:cNvSpPr>
              <a:spLocks/>
            </p:cNvSpPr>
            <p:nvPr/>
          </p:nvSpPr>
          <p:spPr bwMode="auto">
            <a:xfrm>
              <a:off x="527" y="1592"/>
              <a:ext cx="26" cy="46"/>
            </a:xfrm>
            <a:custGeom>
              <a:avLst/>
              <a:gdLst>
                <a:gd name="T0" fmla="*/ 13 w 80"/>
                <a:gd name="T1" fmla="*/ 40 h 141"/>
                <a:gd name="T2" fmla="*/ 26 w 80"/>
                <a:gd name="T3" fmla="*/ 12 h 141"/>
                <a:gd name="T4" fmla="*/ 26 w 80"/>
                <a:gd name="T5" fmla="*/ 6 h 141"/>
                <a:gd name="T6" fmla="*/ 22 w 80"/>
                <a:gd name="T7" fmla="*/ 6 h 141"/>
                <a:gd name="T8" fmla="*/ 19 w 80"/>
                <a:gd name="T9" fmla="*/ 5 h 141"/>
                <a:gd name="T10" fmla="*/ 17 w 80"/>
                <a:gd name="T11" fmla="*/ 5 h 141"/>
                <a:gd name="T12" fmla="*/ 15 w 80"/>
                <a:gd name="T13" fmla="*/ 4 h 141"/>
                <a:gd name="T14" fmla="*/ 14 w 80"/>
                <a:gd name="T15" fmla="*/ 3 h 141"/>
                <a:gd name="T16" fmla="*/ 14 w 80"/>
                <a:gd name="T17" fmla="*/ 2 h 141"/>
                <a:gd name="T18" fmla="*/ 13 w 80"/>
                <a:gd name="T19" fmla="*/ 1 h 141"/>
                <a:gd name="T20" fmla="*/ 13 w 80"/>
                <a:gd name="T21" fmla="*/ 0 h 141"/>
                <a:gd name="T22" fmla="*/ 0 w 80"/>
                <a:gd name="T23" fmla="*/ 0 h 141"/>
                <a:gd name="T24" fmla="*/ 0 w 80"/>
                <a:gd name="T25" fmla="*/ 8 h 141"/>
                <a:gd name="T26" fmla="*/ 0 w 80"/>
                <a:gd name="T27" fmla="*/ 13 h 141"/>
                <a:gd name="T28" fmla="*/ 0 w 80"/>
                <a:gd name="T29" fmla="*/ 17 h 141"/>
                <a:gd name="T30" fmla="*/ 0 w 80"/>
                <a:gd name="T31" fmla="*/ 20 h 141"/>
                <a:gd name="T32" fmla="*/ 0 w 80"/>
                <a:gd name="T33" fmla="*/ 23 h 141"/>
                <a:gd name="T34" fmla="*/ 1 w 80"/>
                <a:gd name="T35" fmla="*/ 25 h 141"/>
                <a:gd name="T36" fmla="*/ 2 w 80"/>
                <a:gd name="T37" fmla="*/ 29 h 141"/>
                <a:gd name="T38" fmla="*/ 4 w 80"/>
                <a:gd name="T39" fmla="*/ 32 h 141"/>
                <a:gd name="T40" fmla="*/ 7 w 80"/>
                <a:gd name="T41" fmla="*/ 39 h 141"/>
                <a:gd name="T42" fmla="*/ 9 w 80"/>
                <a:gd name="T43" fmla="*/ 46 h 141"/>
                <a:gd name="T44" fmla="*/ 10 w 80"/>
                <a:gd name="T45" fmla="*/ 44 h 141"/>
                <a:gd name="T46" fmla="*/ 11 w 80"/>
                <a:gd name="T47" fmla="*/ 42 h 141"/>
                <a:gd name="T48" fmla="*/ 11 w 80"/>
                <a:gd name="T49" fmla="*/ 41 h 141"/>
                <a:gd name="T50" fmla="*/ 12 w 80"/>
                <a:gd name="T51" fmla="*/ 41 h 141"/>
                <a:gd name="T52" fmla="*/ 12 w 80"/>
                <a:gd name="T53" fmla="*/ 40 h 141"/>
                <a:gd name="T54" fmla="*/ 13 w 80"/>
                <a:gd name="T55" fmla="*/ 4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AU"/>
            </a:p>
          </p:txBody>
        </p:sp>
        <p:sp>
          <p:nvSpPr>
            <p:cNvPr id="2470" name="Freeform 420"/>
            <p:cNvSpPr>
              <a:spLocks/>
            </p:cNvSpPr>
            <p:nvPr/>
          </p:nvSpPr>
          <p:spPr bwMode="auto">
            <a:xfrm>
              <a:off x="1379" y="1383"/>
              <a:ext cx="83" cy="41"/>
            </a:xfrm>
            <a:custGeom>
              <a:avLst/>
              <a:gdLst>
                <a:gd name="T0" fmla="*/ 0 w 259"/>
                <a:gd name="T1" fmla="*/ 31 h 124"/>
                <a:gd name="T2" fmla="*/ 0 w 259"/>
                <a:gd name="T3" fmla="*/ 32 h 124"/>
                <a:gd name="T4" fmla="*/ 1 w 259"/>
                <a:gd name="T5" fmla="*/ 33 h 124"/>
                <a:gd name="T6" fmla="*/ 1 w 259"/>
                <a:gd name="T7" fmla="*/ 34 h 124"/>
                <a:gd name="T8" fmla="*/ 2 w 259"/>
                <a:gd name="T9" fmla="*/ 35 h 124"/>
                <a:gd name="T10" fmla="*/ 4 w 259"/>
                <a:gd name="T11" fmla="*/ 37 h 124"/>
                <a:gd name="T12" fmla="*/ 7 w 259"/>
                <a:gd name="T13" fmla="*/ 38 h 124"/>
                <a:gd name="T14" fmla="*/ 10 w 259"/>
                <a:gd name="T15" fmla="*/ 40 h 124"/>
                <a:gd name="T16" fmla="*/ 13 w 259"/>
                <a:gd name="T17" fmla="*/ 40 h 124"/>
                <a:gd name="T18" fmla="*/ 16 w 259"/>
                <a:gd name="T19" fmla="*/ 41 h 124"/>
                <a:gd name="T20" fmla="*/ 19 w 259"/>
                <a:gd name="T21" fmla="*/ 41 h 124"/>
                <a:gd name="T22" fmla="*/ 22 w 259"/>
                <a:gd name="T23" fmla="*/ 41 h 124"/>
                <a:gd name="T24" fmla="*/ 24 w 259"/>
                <a:gd name="T25" fmla="*/ 41 h 124"/>
                <a:gd name="T26" fmla="*/ 26 w 259"/>
                <a:gd name="T27" fmla="*/ 40 h 124"/>
                <a:gd name="T28" fmla="*/ 28 w 259"/>
                <a:gd name="T29" fmla="*/ 40 h 124"/>
                <a:gd name="T30" fmla="*/ 31 w 259"/>
                <a:gd name="T31" fmla="*/ 38 h 124"/>
                <a:gd name="T32" fmla="*/ 34 w 259"/>
                <a:gd name="T33" fmla="*/ 36 h 124"/>
                <a:gd name="T34" fmla="*/ 37 w 259"/>
                <a:gd name="T35" fmla="*/ 34 h 124"/>
                <a:gd name="T36" fmla="*/ 40 w 259"/>
                <a:gd name="T37" fmla="*/ 32 h 124"/>
                <a:gd name="T38" fmla="*/ 42 w 259"/>
                <a:gd name="T39" fmla="*/ 32 h 124"/>
                <a:gd name="T40" fmla="*/ 44 w 259"/>
                <a:gd name="T41" fmla="*/ 31 h 124"/>
                <a:gd name="T42" fmla="*/ 46 w 259"/>
                <a:gd name="T43" fmla="*/ 31 h 124"/>
                <a:gd name="T44" fmla="*/ 49 w 259"/>
                <a:gd name="T45" fmla="*/ 31 h 124"/>
                <a:gd name="T46" fmla="*/ 52 w 259"/>
                <a:gd name="T47" fmla="*/ 31 h 124"/>
                <a:gd name="T48" fmla="*/ 55 w 259"/>
                <a:gd name="T49" fmla="*/ 32 h 124"/>
                <a:gd name="T50" fmla="*/ 58 w 259"/>
                <a:gd name="T51" fmla="*/ 33 h 124"/>
                <a:gd name="T52" fmla="*/ 60 w 259"/>
                <a:gd name="T53" fmla="*/ 34 h 124"/>
                <a:gd name="T54" fmla="*/ 65 w 259"/>
                <a:gd name="T55" fmla="*/ 37 h 124"/>
                <a:gd name="T56" fmla="*/ 70 w 259"/>
                <a:gd name="T57" fmla="*/ 39 h 124"/>
                <a:gd name="T58" fmla="*/ 83 w 259"/>
                <a:gd name="T59" fmla="*/ 39 h 124"/>
                <a:gd name="T60" fmla="*/ 83 w 259"/>
                <a:gd name="T61" fmla="*/ 33 h 124"/>
                <a:gd name="T62" fmla="*/ 81 w 259"/>
                <a:gd name="T63" fmla="*/ 32 h 124"/>
                <a:gd name="T64" fmla="*/ 78 w 259"/>
                <a:gd name="T65" fmla="*/ 32 h 124"/>
                <a:gd name="T66" fmla="*/ 76 w 259"/>
                <a:gd name="T67" fmla="*/ 31 h 124"/>
                <a:gd name="T68" fmla="*/ 72 w 259"/>
                <a:gd name="T69" fmla="*/ 31 h 124"/>
                <a:gd name="T70" fmla="*/ 74 w 259"/>
                <a:gd name="T71" fmla="*/ 28 h 124"/>
                <a:gd name="T72" fmla="*/ 76 w 259"/>
                <a:gd name="T73" fmla="*/ 26 h 124"/>
                <a:gd name="T74" fmla="*/ 77 w 259"/>
                <a:gd name="T75" fmla="*/ 24 h 124"/>
                <a:gd name="T76" fmla="*/ 79 w 259"/>
                <a:gd name="T77" fmla="*/ 23 h 124"/>
                <a:gd name="T78" fmla="*/ 76 w 259"/>
                <a:gd name="T79" fmla="*/ 20 h 124"/>
                <a:gd name="T80" fmla="*/ 74 w 259"/>
                <a:gd name="T81" fmla="*/ 19 h 124"/>
                <a:gd name="T82" fmla="*/ 71 w 259"/>
                <a:gd name="T83" fmla="*/ 17 h 124"/>
                <a:gd name="T84" fmla="*/ 69 w 259"/>
                <a:gd name="T85" fmla="*/ 15 h 124"/>
                <a:gd name="T86" fmla="*/ 63 w 259"/>
                <a:gd name="T87" fmla="*/ 12 h 124"/>
                <a:gd name="T88" fmla="*/ 58 w 259"/>
                <a:gd name="T89" fmla="*/ 10 h 124"/>
                <a:gd name="T90" fmla="*/ 53 w 259"/>
                <a:gd name="T91" fmla="*/ 8 h 124"/>
                <a:gd name="T92" fmla="*/ 49 w 259"/>
                <a:gd name="T93" fmla="*/ 6 h 124"/>
                <a:gd name="T94" fmla="*/ 47 w 259"/>
                <a:gd name="T95" fmla="*/ 4 h 124"/>
                <a:gd name="T96" fmla="*/ 45 w 259"/>
                <a:gd name="T97" fmla="*/ 3 h 124"/>
                <a:gd name="T98" fmla="*/ 44 w 259"/>
                <a:gd name="T99" fmla="*/ 2 h 124"/>
                <a:gd name="T100" fmla="*/ 42 w 259"/>
                <a:gd name="T101" fmla="*/ 0 h 124"/>
                <a:gd name="T102" fmla="*/ 40 w 259"/>
                <a:gd name="T103" fmla="*/ 1 h 124"/>
                <a:gd name="T104" fmla="*/ 37 w 259"/>
                <a:gd name="T105" fmla="*/ 2 h 124"/>
                <a:gd name="T106" fmla="*/ 34 w 259"/>
                <a:gd name="T107" fmla="*/ 4 h 124"/>
                <a:gd name="T108" fmla="*/ 30 w 259"/>
                <a:gd name="T109" fmla="*/ 6 h 124"/>
                <a:gd name="T110" fmla="*/ 24 w 259"/>
                <a:gd name="T111" fmla="*/ 10 h 124"/>
                <a:gd name="T112" fmla="*/ 18 w 259"/>
                <a:gd name="T113" fmla="*/ 14 h 124"/>
                <a:gd name="T114" fmla="*/ 12 w 259"/>
                <a:gd name="T115" fmla="*/ 19 h 124"/>
                <a:gd name="T116" fmla="*/ 7 w 259"/>
                <a:gd name="T117" fmla="*/ 23 h 124"/>
                <a:gd name="T118" fmla="*/ 3 w 259"/>
                <a:gd name="T119" fmla="*/ 27 h 124"/>
                <a:gd name="T120" fmla="*/ 0 w 259"/>
                <a:gd name="T121" fmla="*/ 31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AU"/>
            </a:p>
          </p:txBody>
        </p:sp>
        <p:sp>
          <p:nvSpPr>
            <p:cNvPr id="2471" name="Freeform 421"/>
            <p:cNvSpPr>
              <a:spLocks/>
            </p:cNvSpPr>
            <p:nvPr/>
          </p:nvSpPr>
          <p:spPr bwMode="auto">
            <a:xfrm>
              <a:off x="1509" y="1389"/>
              <a:ext cx="38" cy="19"/>
            </a:xfrm>
            <a:custGeom>
              <a:avLst/>
              <a:gdLst>
                <a:gd name="T0" fmla="*/ 0 w 119"/>
                <a:gd name="T1" fmla="*/ 11 h 57"/>
                <a:gd name="T2" fmla="*/ 2 w 119"/>
                <a:gd name="T3" fmla="*/ 12 h 57"/>
                <a:gd name="T4" fmla="*/ 4 w 119"/>
                <a:gd name="T5" fmla="*/ 13 h 57"/>
                <a:gd name="T6" fmla="*/ 6 w 119"/>
                <a:gd name="T7" fmla="*/ 14 h 57"/>
                <a:gd name="T8" fmla="*/ 8 w 119"/>
                <a:gd name="T9" fmla="*/ 16 h 57"/>
                <a:gd name="T10" fmla="*/ 10 w 119"/>
                <a:gd name="T11" fmla="*/ 17 h 57"/>
                <a:gd name="T12" fmla="*/ 11 w 119"/>
                <a:gd name="T13" fmla="*/ 18 h 57"/>
                <a:gd name="T14" fmla="*/ 13 w 119"/>
                <a:gd name="T15" fmla="*/ 19 h 57"/>
                <a:gd name="T16" fmla="*/ 15 w 119"/>
                <a:gd name="T17" fmla="*/ 19 h 57"/>
                <a:gd name="T18" fmla="*/ 18 w 119"/>
                <a:gd name="T19" fmla="*/ 19 h 57"/>
                <a:gd name="T20" fmla="*/ 20 w 119"/>
                <a:gd name="T21" fmla="*/ 19 h 57"/>
                <a:gd name="T22" fmla="*/ 22 w 119"/>
                <a:gd name="T23" fmla="*/ 18 h 57"/>
                <a:gd name="T24" fmla="*/ 25 w 119"/>
                <a:gd name="T25" fmla="*/ 18 h 57"/>
                <a:gd name="T26" fmla="*/ 27 w 119"/>
                <a:gd name="T27" fmla="*/ 17 h 57"/>
                <a:gd name="T28" fmla="*/ 28 w 119"/>
                <a:gd name="T29" fmla="*/ 16 h 57"/>
                <a:gd name="T30" fmla="*/ 30 w 119"/>
                <a:gd name="T31" fmla="*/ 15 h 57"/>
                <a:gd name="T32" fmla="*/ 31 w 119"/>
                <a:gd name="T33" fmla="*/ 13 h 57"/>
                <a:gd name="T34" fmla="*/ 34 w 119"/>
                <a:gd name="T35" fmla="*/ 11 h 57"/>
                <a:gd name="T36" fmla="*/ 36 w 119"/>
                <a:gd name="T37" fmla="*/ 8 h 57"/>
                <a:gd name="T38" fmla="*/ 37 w 119"/>
                <a:gd name="T39" fmla="*/ 4 h 57"/>
                <a:gd name="T40" fmla="*/ 38 w 119"/>
                <a:gd name="T41" fmla="*/ 0 h 57"/>
                <a:gd name="T42" fmla="*/ 32 w 119"/>
                <a:gd name="T43" fmla="*/ 0 h 57"/>
                <a:gd name="T44" fmla="*/ 26 w 119"/>
                <a:gd name="T45" fmla="*/ 0 h 57"/>
                <a:gd name="T46" fmla="*/ 20 w 119"/>
                <a:gd name="T47" fmla="*/ 1 h 57"/>
                <a:gd name="T48" fmla="*/ 14 w 119"/>
                <a:gd name="T49" fmla="*/ 2 h 57"/>
                <a:gd name="T50" fmla="*/ 11 w 119"/>
                <a:gd name="T51" fmla="*/ 2 h 57"/>
                <a:gd name="T52" fmla="*/ 9 w 119"/>
                <a:gd name="T53" fmla="*/ 3 h 57"/>
                <a:gd name="T54" fmla="*/ 7 w 119"/>
                <a:gd name="T55" fmla="*/ 4 h 57"/>
                <a:gd name="T56" fmla="*/ 5 w 119"/>
                <a:gd name="T57" fmla="*/ 5 h 57"/>
                <a:gd name="T58" fmla="*/ 3 w 119"/>
                <a:gd name="T59" fmla="*/ 6 h 57"/>
                <a:gd name="T60" fmla="*/ 2 w 119"/>
                <a:gd name="T61" fmla="*/ 8 h 57"/>
                <a:gd name="T62" fmla="*/ 1 w 119"/>
                <a:gd name="T63" fmla="*/ 9 h 57"/>
                <a:gd name="T64" fmla="*/ 0 w 119"/>
                <a:gd name="T65" fmla="*/ 11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AU"/>
            </a:p>
          </p:txBody>
        </p:sp>
        <p:sp>
          <p:nvSpPr>
            <p:cNvPr id="2472" name="Freeform 422"/>
            <p:cNvSpPr>
              <a:spLocks/>
            </p:cNvSpPr>
            <p:nvPr/>
          </p:nvSpPr>
          <p:spPr bwMode="auto">
            <a:xfrm>
              <a:off x="1554" y="1335"/>
              <a:ext cx="34" cy="17"/>
            </a:xfrm>
            <a:custGeom>
              <a:avLst/>
              <a:gdLst>
                <a:gd name="T0" fmla="*/ 0 w 107"/>
                <a:gd name="T1" fmla="*/ 16 h 52"/>
                <a:gd name="T2" fmla="*/ 2 w 107"/>
                <a:gd name="T3" fmla="*/ 17 h 52"/>
                <a:gd name="T4" fmla="*/ 3 w 107"/>
                <a:gd name="T5" fmla="*/ 17 h 52"/>
                <a:gd name="T6" fmla="*/ 4 w 107"/>
                <a:gd name="T7" fmla="*/ 17 h 52"/>
                <a:gd name="T8" fmla="*/ 5 w 107"/>
                <a:gd name="T9" fmla="*/ 17 h 52"/>
                <a:gd name="T10" fmla="*/ 8 w 107"/>
                <a:gd name="T11" fmla="*/ 16 h 52"/>
                <a:gd name="T12" fmla="*/ 11 w 107"/>
                <a:gd name="T13" fmla="*/ 16 h 52"/>
                <a:gd name="T14" fmla="*/ 14 w 107"/>
                <a:gd name="T15" fmla="*/ 16 h 52"/>
                <a:gd name="T16" fmla="*/ 17 w 107"/>
                <a:gd name="T17" fmla="*/ 16 h 52"/>
                <a:gd name="T18" fmla="*/ 20 w 107"/>
                <a:gd name="T19" fmla="*/ 15 h 52"/>
                <a:gd name="T20" fmla="*/ 22 w 107"/>
                <a:gd name="T21" fmla="*/ 14 h 52"/>
                <a:gd name="T22" fmla="*/ 25 w 107"/>
                <a:gd name="T23" fmla="*/ 13 h 52"/>
                <a:gd name="T24" fmla="*/ 28 w 107"/>
                <a:gd name="T25" fmla="*/ 12 h 52"/>
                <a:gd name="T26" fmla="*/ 31 w 107"/>
                <a:gd name="T27" fmla="*/ 10 h 52"/>
                <a:gd name="T28" fmla="*/ 34 w 107"/>
                <a:gd name="T29" fmla="*/ 8 h 52"/>
                <a:gd name="T30" fmla="*/ 34 w 107"/>
                <a:gd name="T31" fmla="*/ 0 h 52"/>
                <a:gd name="T32" fmla="*/ 31 w 107"/>
                <a:gd name="T33" fmla="*/ 0 h 52"/>
                <a:gd name="T34" fmla="*/ 27 w 107"/>
                <a:gd name="T35" fmla="*/ 1 h 52"/>
                <a:gd name="T36" fmla="*/ 23 w 107"/>
                <a:gd name="T37" fmla="*/ 2 h 52"/>
                <a:gd name="T38" fmla="*/ 18 w 107"/>
                <a:gd name="T39" fmla="*/ 4 h 52"/>
                <a:gd name="T40" fmla="*/ 13 w 107"/>
                <a:gd name="T41" fmla="*/ 7 h 52"/>
                <a:gd name="T42" fmla="*/ 8 w 107"/>
                <a:gd name="T43" fmla="*/ 9 h 52"/>
                <a:gd name="T44" fmla="*/ 6 w 107"/>
                <a:gd name="T45" fmla="*/ 11 h 52"/>
                <a:gd name="T46" fmla="*/ 4 w 107"/>
                <a:gd name="T47" fmla="*/ 12 h 52"/>
                <a:gd name="T48" fmla="*/ 2 w 107"/>
                <a:gd name="T49" fmla="*/ 14 h 52"/>
                <a:gd name="T50" fmla="*/ 0 w 107"/>
                <a:gd name="T51" fmla="*/ 16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AU"/>
            </a:p>
          </p:txBody>
        </p:sp>
        <p:sp>
          <p:nvSpPr>
            <p:cNvPr id="2473" name="Freeform 423"/>
            <p:cNvSpPr>
              <a:spLocks/>
            </p:cNvSpPr>
            <p:nvPr/>
          </p:nvSpPr>
          <p:spPr bwMode="auto">
            <a:xfrm>
              <a:off x="1381" y="1244"/>
              <a:ext cx="79" cy="32"/>
            </a:xfrm>
            <a:custGeom>
              <a:avLst/>
              <a:gdLst>
                <a:gd name="T0" fmla="*/ 9 w 246"/>
                <a:gd name="T1" fmla="*/ 32 h 99"/>
                <a:gd name="T2" fmla="*/ 7 w 246"/>
                <a:gd name="T3" fmla="*/ 31 h 99"/>
                <a:gd name="T4" fmla="*/ 5 w 246"/>
                <a:gd name="T5" fmla="*/ 31 h 99"/>
                <a:gd name="T6" fmla="*/ 4 w 246"/>
                <a:gd name="T7" fmla="*/ 30 h 99"/>
                <a:gd name="T8" fmla="*/ 3 w 246"/>
                <a:gd name="T9" fmla="*/ 29 h 99"/>
                <a:gd name="T10" fmla="*/ 2 w 246"/>
                <a:gd name="T11" fmla="*/ 28 h 99"/>
                <a:gd name="T12" fmla="*/ 1 w 246"/>
                <a:gd name="T13" fmla="*/ 27 h 99"/>
                <a:gd name="T14" fmla="*/ 0 w 246"/>
                <a:gd name="T15" fmla="*/ 25 h 99"/>
                <a:gd name="T16" fmla="*/ 0 w 246"/>
                <a:gd name="T17" fmla="*/ 24 h 99"/>
                <a:gd name="T18" fmla="*/ 0 w 246"/>
                <a:gd name="T19" fmla="*/ 22 h 99"/>
                <a:gd name="T20" fmla="*/ 0 w 246"/>
                <a:gd name="T21" fmla="*/ 21 h 99"/>
                <a:gd name="T22" fmla="*/ 1 w 246"/>
                <a:gd name="T23" fmla="*/ 19 h 99"/>
                <a:gd name="T24" fmla="*/ 2 w 246"/>
                <a:gd name="T25" fmla="*/ 18 h 99"/>
                <a:gd name="T26" fmla="*/ 3 w 246"/>
                <a:gd name="T27" fmla="*/ 16 h 99"/>
                <a:gd name="T28" fmla="*/ 6 w 246"/>
                <a:gd name="T29" fmla="*/ 13 h 99"/>
                <a:gd name="T30" fmla="*/ 8 w 246"/>
                <a:gd name="T31" fmla="*/ 11 h 99"/>
                <a:gd name="T32" fmla="*/ 11 w 246"/>
                <a:gd name="T33" fmla="*/ 9 h 99"/>
                <a:gd name="T34" fmla="*/ 15 w 246"/>
                <a:gd name="T35" fmla="*/ 7 h 99"/>
                <a:gd name="T36" fmla="*/ 18 w 246"/>
                <a:gd name="T37" fmla="*/ 6 h 99"/>
                <a:gd name="T38" fmla="*/ 22 w 246"/>
                <a:gd name="T39" fmla="*/ 5 h 99"/>
                <a:gd name="T40" fmla="*/ 26 w 246"/>
                <a:gd name="T41" fmla="*/ 3 h 99"/>
                <a:gd name="T42" fmla="*/ 30 w 246"/>
                <a:gd name="T43" fmla="*/ 2 h 99"/>
                <a:gd name="T44" fmla="*/ 33 w 246"/>
                <a:gd name="T45" fmla="*/ 1 h 99"/>
                <a:gd name="T46" fmla="*/ 40 w 246"/>
                <a:gd name="T47" fmla="*/ 0 h 99"/>
                <a:gd name="T48" fmla="*/ 45 w 246"/>
                <a:gd name="T49" fmla="*/ 0 h 99"/>
                <a:gd name="T50" fmla="*/ 54 w 246"/>
                <a:gd name="T51" fmla="*/ 0 h 99"/>
                <a:gd name="T52" fmla="*/ 62 w 246"/>
                <a:gd name="T53" fmla="*/ 0 h 99"/>
                <a:gd name="T54" fmla="*/ 70 w 246"/>
                <a:gd name="T55" fmla="*/ 1 h 99"/>
                <a:gd name="T56" fmla="*/ 79 w 246"/>
                <a:gd name="T57" fmla="*/ 2 h 99"/>
                <a:gd name="T58" fmla="*/ 78 w 246"/>
                <a:gd name="T59" fmla="*/ 4 h 99"/>
                <a:gd name="T60" fmla="*/ 77 w 246"/>
                <a:gd name="T61" fmla="*/ 5 h 99"/>
                <a:gd name="T62" fmla="*/ 76 w 246"/>
                <a:gd name="T63" fmla="*/ 6 h 99"/>
                <a:gd name="T64" fmla="*/ 74 w 246"/>
                <a:gd name="T65" fmla="*/ 8 h 99"/>
                <a:gd name="T66" fmla="*/ 69 w 246"/>
                <a:gd name="T67" fmla="*/ 12 h 99"/>
                <a:gd name="T68" fmla="*/ 64 w 246"/>
                <a:gd name="T69" fmla="*/ 15 h 99"/>
                <a:gd name="T70" fmla="*/ 58 w 246"/>
                <a:gd name="T71" fmla="*/ 18 h 99"/>
                <a:gd name="T72" fmla="*/ 52 w 246"/>
                <a:gd name="T73" fmla="*/ 20 h 99"/>
                <a:gd name="T74" fmla="*/ 49 w 246"/>
                <a:gd name="T75" fmla="*/ 21 h 99"/>
                <a:gd name="T76" fmla="*/ 46 w 246"/>
                <a:gd name="T77" fmla="*/ 21 h 99"/>
                <a:gd name="T78" fmla="*/ 43 w 246"/>
                <a:gd name="T79" fmla="*/ 22 h 99"/>
                <a:gd name="T80" fmla="*/ 40 w 246"/>
                <a:gd name="T81" fmla="*/ 22 h 99"/>
                <a:gd name="T82" fmla="*/ 39 w 246"/>
                <a:gd name="T83" fmla="*/ 22 h 99"/>
                <a:gd name="T84" fmla="*/ 35 w 246"/>
                <a:gd name="T85" fmla="*/ 22 h 99"/>
                <a:gd name="T86" fmla="*/ 32 w 246"/>
                <a:gd name="T87" fmla="*/ 22 h 99"/>
                <a:gd name="T88" fmla="*/ 30 w 246"/>
                <a:gd name="T89" fmla="*/ 22 h 99"/>
                <a:gd name="T90" fmla="*/ 28 w 246"/>
                <a:gd name="T91" fmla="*/ 22 h 99"/>
                <a:gd name="T92" fmla="*/ 26 w 246"/>
                <a:gd name="T93" fmla="*/ 23 h 99"/>
                <a:gd name="T94" fmla="*/ 23 w 246"/>
                <a:gd name="T95" fmla="*/ 25 h 99"/>
                <a:gd name="T96" fmla="*/ 20 w 246"/>
                <a:gd name="T97" fmla="*/ 27 h 99"/>
                <a:gd name="T98" fmla="*/ 17 w 246"/>
                <a:gd name="T99" fmla="*/ 28 h 99"/>
                <a:gd name="T100" fmla="*/ 14 w 246"/>
                <a:gd name="T101" fmla="*/ 30 h 99"/>
                <a:gd name="T102" fmla="*/ 11 w 246"/>
                <a:gd name="T103" fmla="*/ 31 h 99"/>
                <a:gd name="T104" fmla="*/ 9 w 246"/>
                <a:gd name="T105" fmla="*/ 32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AU"/>
            </a:p>
          </p:txBody>
        </p:sp>
        <p:sp>
          <p:nvSpPr>
            <p:cNvPr id="2474" name="Freeform 424"/>
            <p:cNvSpPr>
              <a:spLocks/>
            </p:cNvSpPr>
            <p:nvPr/>
          </p:nvSpPr>
          <p:spPr bwMode="auto">
            <a:xfrm>
              <a:off x="1294" y="1248"/>
              <a:ext cx="76" cy="40"/>
            </a:xfrm>
            <a:custGeom>
              <a:avLst/>
              <a:gdLst>
                <a:gd name="T0" fmla="*/ 11 w 233"/>
                <a:gd name="T1" fmla="*/ 29 h 123"/>
                <a:gd name="T2" fmla="*/ 3 w 233"/>
                <a:gd name="T3" fmla="*/ 25 h 123"/>
                <a:gd name="T4" fmla="*/ 0 w 233"/>
                <a:gd name="T5" fmla="*/ 18 h 123"/>
                <a:gd name="T6" fmla="*/ 7 w 233"/>
                <a:gd name="T7" fmla="*/ 12 h 123"/>
                <a:gd name="T8" fmla="*/ 13 w 233"/>
                <a:gd name="T9" fmla="*/ 12 h 123"/>
                <a:gd name="T10" fmla="*/ 20 w 233"/>
                <a:gd name="T11" fmla="*/ 12 h 123"/>
                <a:gd name="T12" fmla="*/ 23 w 233"/>
                <a:gd name="T13" fmla="*/ 12 h 123"/>
                <a:gd name="T14" fmla="*/ 27 w 233"/>
                <a:gd name="T15" fmla="*/ 11 h 123"/>
                <a:gd name="T16" fmla="*/ 34 w 233"/>
                <a:gd name="T17" fmla="*/ 7 h 123"/>
                <a:gd name="T18" fmla="*/ 40 w 233"/>
                <a:gd name="T19" fmla="*/ 4 h 123"/>
                <a:gd name="T20" fmla="*/ 48 w 233"/>
                <a:gd name="T21" fmla="*/ 0 h 123"/>
                <a:gd name="T22" fmla="*/ 53 w 233"/>
                <a:gd name="T23" fmla="*/ 3 h 123"/>
                <a:gd name="T24" fmla="*/ 59 w 233"/>
                <a:gd name="T25" fmla="*/ 4 h 123"/>
                <a:gd name="T26" fmla="*/ 62 w 233"/>
                <a:gd name="T27" fmla="*/ 3 h 123"/>
                <a:gd name="T28" fmla="*/ 66 w 233"/>
                <a:gd name="T29" fmla="*/ 2 h 123"/>
                <a:gd name="T30" fmla="*/ 69 w 233"/>
                <a:gd name="T31" fmla="*/ 0 h 123"/>
                <a:gd name="T32" fmla="*/ 76 w 233"/>
                <a:gd name="T33" fmla="*/ 2 h 123"/>
                <a:gd name="T34" fmla="*/ 74 w 233"/>
                <a:gd name="T35" fmla="*/ 6 h 123"/>
                <a:gd name="T36" fmla="*/ 71 w 233"/>
                <a:gd name="T37" fmla="*/ 8 h 123"/>
                <a:gd name="T38" fmla="*/ 68 w 233"/>
                <a:gd name="T39" fmla="*/ 10 h 123"/>
                <a:gd name="T40" fmla="*/ 66 w 233"/>
                <a:gd name="T41" fmla="*/ 14 h 123"/>
                <a:gd name="T42" fmla="*/ 67 w 233"/>
                <a:gd name="T43" fmla="*/ 20 h 123"/>
                <a:gd name="T44" fmla="*/ 60 w 233"/>
                <a:gd name="T45" fmla="*/ 28 h 123"/>
                <a:gd name="T46" fmla="*/ 51 w 233"/>
                <a:gd name="T47" fmla="*/ 31 h 123"/>
                <a:gd name="T48" fmla="*/ 45 w 233"/>
                <a:gd name="T49" fmla="*/ 32 h 123"/>
                <a:gd name="T50" fmla="*/ 38 w 233"/>
                <a:gd name="T51" fmla="*/ 33 h 123"/>
                <a:gd name="T52" fmla="*/ 31 w 233"/>
                <a:gd name="T53" fmla="*/ 34 h 123"/>
                <a:gd name="T54" fmla="*/ 27 w 233"/>
                <a:gd name="T55" fmla="*/ 37 h 123"/>
                <a:gd name="T56" fmla="*/ 22 w 233"/>
                <a:gd name="T57" fmla="*/ 40 h 123"/>
                <a:gd name="T58" fmla="*/ 19 w 233"/>
                <a:gd name="T59" fmla="*/ 40 h 123"/>
                <a:gd name="T60" fmla="*/ 17 w 233"/>
                <a:gd name="T61" fmla="*/ 37 h 123"/>
                <a:gd name="T62" fmla="*/ 16 w 233"/>
                <a:gd name="T63" fmla="*/ 33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AU"/>
            </a:p>
          </p:txBody>
        </p:sp>
        <p:sp>
          <p:nvSpPr>
            <p:cNvPr id="2475" name="Freeform 425"/>
            <p:cNvSpPr>
              <a:spLocks/>
            </p:cNvSpPr>
            <p:nvPr/>
          </p:nvSpPr>
          <p:spPr bwMode="auto">
            <a:xfrm>
              <a:off x="983" y="1236"/>
              <a:ext cx="157" cy="56"/>
            </a:xfrm>
            <a:custGeom>
              <a:avLst/>
              <a:gdLst>
                <a:gd name="T0" fmla="*/ 0 w 484"/>
                <a:gd name="T1" fmla="*/ 48 h 172"/>
                <a:gd name="T2" fmla="*/ 1 w 484"/>
                <a:gd name="T3" fmla="*/ 51 h 172"/>
                <a:gd name="T4" fmla="*/ 3 w 484"/>
                <a:gd name="T5" fmla="*/ 53 h 172"/>
                <a:gd name="T6" fmla="*/ 6 w 484"/>
                <a:gd name="T7" fmla="*/ 54 h 172"/>
                <a:gd name="T8" fmla="*/ 10 w 484"/>
                <a:gd name="T9" fmla="*/ 55 h 172"/>
                <a:gd name="T10" fmla="*/ 17 w 484"/>
                <a:gd name="T11" fmla="*/ 56 h 172"/>
                <a:gd name="T12" fmla="*/ 24 w 484"/>
                <a:gd name="T13" fmla="*/ 56 h 172"/>
                <a:gd name="T14" fmla="*/ 32 w 484"/>
                <a:gd name="T15" fmla="*/ 54 h 172"/>
                <a:gd name="T16" fmla="*/ 45 w 484"/>
                <a:gd name="T17" fmla="*/ 51 h 172"/>
                <a:gd name="T18" fmla="*/ 61 w 484"/>
                <a:gd name="T19" fmla="*/ 44 h 172"/>
                <a:gd name="T20" fmla="*/ 78 w 484"/>
                <a:gd name="T21" fmla="*/ 37 h 172"/>
                <a:gd name="T22" fmla="*/ 93 w 484"/>
                <a:gd name="T23" fmla="*/ 33 h 172"/>
                <a:gd name="T24" fmla="*/ 114 w 484"/>
                <a:gd name="T25" fmla="*/ 28 h 172"/>
                <a:gd name="T26" fmla="*/ 130 w 484"/>
                <a:gd name="T27" fmla="*/ 24 h 172"/>
                <a:gd name="T28" fmla="*/ 141 w 484"/>
                <a:gd name="T29" fmla="*/ 21 h 172"/>
                <a:gd name="T30" fmla="*/ 150 w 484"/>
                <a:gd name="T31" fmla="*/ 17 h 172"/>
                <a:gd name="T32" fmla="*/ 154 w 484"/>
                <a:gd name="T33" fmla="*/ 14 h 172"/>
                <a:gd name="T34" fmla="*/ 156 w 484"/>
                <a:gd name="T35" fmla="*/ 11 h 172"/>
                <a:gd name="T36" fmla="*/ 146 w 484"/>
                <a:gd name="T37" fmla="*/ 8 h 172"/>
                <a:gd name="T38" fmla="*/ 126 w 484"/>
                <a:gd name="T39" fmla="*/ 5 h 172"/>
                <a:gd name="T40" fmla="*/ 107 w 484"/>
                <a:gd name="T41" fmla="*/ 2 h 172"/>
                <a:gd name="T42" fmla="*/ 88 w 484"/>
                <a:gd name="T43" fmla="*/ 0 h 172"/>
                <a:gd name="T44" fmla="*/ 73 w 484"/>
                <a:gd name="T45" fmla="*/ 0 h 172"/>
                <a:gd name="T46" fmla="*/ 66 w 484"/>
                <a:gd name="T47" fmla="*/ 1 h 172"/>
                <a:gd name="T48" fmla="*/ 60 w 484"/>
                <a:gd name="T49" fmla="*/ 3 h 172"/>
                <a:gd name="T50" fmla="*/ 57 w 484"/>
                <a:gd name="T51" fmla="*/ 2 h 172"/>
                <a:gd name="T52" fmla="*/ 55 w 484"/>
                <a:gd name="T53" fmla="*/ 1 h 172"/>
                <a:gd name="T54" fmla="*/ 54 w 484"/>
                <a:gd name="T55" fmla="*/ 3 h 172"/>
                <a:gd name="T56" fmla="*/ 52 w 484"/>
                <a:gd name="T57" fmla="*/ 8 h 172"/>
                <a:gd name="T58" fmla="*/ 50 w 484"/>
                <a:gd name="T59" fmla="*/ 12 h 172"/>
                <a:gd name="T60" fmla="*/ 47 w 484"/>
                <a:gd name="T61" fmla="*/ 15 h 172"/>
                <a:gd name="T62" fmla="*/ 41 w 484"/>
                <a:gd name="T63" fmla="*/ 19 h 172"/>
                <a:gd name="T64" fmla="*/ 31 w 484"/>
                <a:gd name="T65" fmla="*/ 22 h 172"/>
                <a:gd name="T66" fmla="*/ 21 w 484"/>
                <a:gd name="T67" fmla="*/ 25 h 172"/>
                <a:gd name="T68" fmla="*/ 12 w 484"/>
                <a:gd name="T69" fmla="*/ 29 h 172"/>
                <a:gd name="T70" fmla="*/ 6 w 484"/>
                <a:gd name="T71" fmla="*/ 32 h 172"/>
                <a:gd name="T72" fmla="*/ 3 w 484"/>
                <a:gd name="T73" fmla="*/ 35 h 172"/>
                <a:gd name="T74" fmla="*/ 1 w 484"/>
                <a:gd name="T75" fmla="*/ 39 h 172"/>
                <a:gd name="T76" fmla="*/ 0 w 484"/>
                <a:gd name="T77" fmla="*/ 44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AU"/>
            </a:p>
          </p:txBody>
        </p:sp>
        <p:sp>
          <p:nvSpPr>
            <p:cNvPr id="2476" name="Freeform 426"/>
            <p:cNvSpPr>
              <a:spLocks/>
            </p:cNvSpPr>
            <p:nvPr/>
          </p:nvSpPr>
          <p:spPr bwMode="auto">
            <a:xfrm>
              <a:off x="1043" y="1255"/>
              <a:ext cx="221" cy="79"/>
            </a:xfrm>
            <a:custGeom>
              <a:avLst/>
              <a:gdLst>
                <a:gd name="T0" fmla="*/ 102 w 684"/>
                <a:gd name="T1" fmla="*/ 2 h 240"/>
                <a:gd name="T2" fmla="*/ 98 w 684"/>
                <a:gd name="T3" fmla="*/ 9 h 240"/>
                <a:gd name="T4" fmla="*/ 96 w 684"/>
                <a:gd name="T5" fmla="*/ 13 h 240"/>
                <a:gd name="T6" fmla="*/ 97 w 684"/>
                <a:gd name="T7" fmla="*/ 14 h 240"/>
                <a:gd name="T8" fmla="*/ 109 w 684"/>
                <a:gd name="T9" fmla="*/ 13 h 240"/>
                <a:gd name="T10" fmla="*/ 120 w 684"/>
                <a:gd name="T11" fmla="*/ 6 h 240"/>
                <a:gd name="T12" fmla="*/ 122 w 684"/>
                <a:gd name="T13" fmla="*/ 13 h 240"/>
                <a:gd name="T14" fmla="*/ 122 w 684"/>
                <a:gd name="T15" fmla="*/ 18 h 240"/>
                <a:gd name="T16" fmla="*/ 131 w 684"/>
                <a:gd name="T17" fmla="*/ 23 h 240"/>
                <a:gd name="T18" fmla="*/ 165 w 684"/>
                <a:gd name="T19" fmla="*/ 17 h 240"/>
                <a:gd name="T20" fmla="*/ 166 w 684"/>
                <a:gd name="T21" fmla="*/ 23 h 240"/>
                <a:gd name="T22" fmla="*/ 175 w 684"/>
                <a:gd name="T23" fmla="*/ 21 h 240"/>
                <a:gd name="T24" fmla="*/ 180 w 684"/>
                <a:gd name="T25" fmla="*/ 15 h 240"/>
                <a:gd name="T26" fmla="*/ 180 w 684"/>
                <a:gd name="T27" fmla="*/ 6 h 240"/>
                <a:gd name="T28" fmla="*/ 182 w 684"/>
                <a:gd name="T29" fmla="*/ 3 h 240"/>
                <a:gd name="T30" fmla="*/ 187 w 684"/>
                <a:gd name="T31" fmla="*/ 0 h 240"/>
                <a:gd name="T32" fmla="*/ 202 w 684"/>
                <a:gd name="T33" fmla="*/ 1 h 240"/>
                <a:gd name="T34" fmla="*/ 208 w 684"/>
                <a:gd name="T35" fmla="*/ 0 h 240"/>
                <a:gd name="T36" fmla="*/ 212 w 684"/>
                <a:gd name="T37" fmla="*/ 13 h 240"/>
                <a:gd name="T38" fmla="*/ 211 w 684"/>
                <a:gd name="T39" fmla="*/ 23 h 240"/>
                <a:gd name="T40" fmla="*/ 206 w 684"/>
                <a:gd name="T41" fmla="*/ 33 h 240"/>
                <a:gd name="T42" fmla="*/ 200 w 684"/>
                <a:gd name="T43" fmla="*/ 41 h 240"/>
                <a:gd name="T44" fmla="*/ 209 w 684"/>
                <a:gd name="T45" fmla="*/ 45 h 240"/>
                <a:gd name="T46" fmla="*/ 217 w 684"/>
                <a:gd name="T47" fmla="*/ 48 h 240"/>
                <a:gd name="T48" fmla="*/ 221 w 684"/>
                <a:gd name="T49" fmla="*/ 59 h 240"/>
                <a:gd name="T50" fmla="*/ 206 w 684"/>
                <a:gd name="T51" fmla="*/ 61 h 240"/>
                <a:gd name="T52" fmla="*/ 196 w 684"/>
                <a:gd name="T53" fmla="*/ 60 h 240"/>
                <a:gd name="T54" fmla="*/ 185 w 684"/>
                <a:gd name="T55" fmla="*/ 59 h 240"/>
                <a:gd name="T56" fmla="*/ 182 w 684"/>
                <a:gd name="T57" fmla="*/ 61 h 240"/>
                <a:gd name="T58" fmla="*/ 175 w 684"/>
                <a:gd name="T59" fmla="*/ 66 h 240"/>
                <a:gd name="T60" fmla="*/ 169 w 684"/>
                <a:gd name="T61" fmla="*/ 69 h 240"/>
                <a:gd name="T62" fmla="*/ 159 w 684"/>
                <a:gd name="T63" fmla="*/ 69 h 240"/>
                <a:gd name="T64" fmla="*/ 146 w 684"/>
                <a:gd name="T65" fmla="*/ 67 h 240"/>
                <a:gd name="T66" fmla="*/ 136 w 684"/>
                <a:gd name="T67" fmla="*/ 65 h 240"/>
                <a:gd name="T68" fmla="*/ 109 w 684"/>
                <a:gd name="T69" fmla="*/ 69 h 240"/>
                <a:gd name="T70" fmla="*/ 75 w 684"/>
                <a:gd name="T71" fmla="*/ 76 h 240"/>
                <a:gd name="T72" fmla="*/ 55 w 684"/>
                <a:gd name="T73" fmla="*/ 78 h 240"/>
                <a:gd name="T74" fmla="*/ 40 w 684"/>
                <a:gd name="T75" fmla="*/ 78 h 240"/>
                <a:gd name="T76" fmla="*/ 32 w 684"/>
                <a:gd name="T77" fmla="*/ 75 h 240"/>
                <a:gd name="T78" fmla="*/ 22 w 684"/>
                <a:gd name="T79" fmla="*/ 68 h 240"/>
                <a:gd name="T80" fmla="*/ 9 w 684"/>
                <a:gd name="T81" fmla="*/ 65 h 240"/>
                <a:gd name="T82" fmla="*/ 0 w 684"/>
                <a:gd name="T83" fmla="*/ 57 h 240"/>
                <a:gd name="T84" fmla="*/ 21 w 684"/>
                <a:gd name="T85" fmla="*/ 52 h 240"/>
                <a:gd name="T86" fmla="*/ 32 w 684"/>
                <a:gd name="T87" fmla="*/ 51 h 240"/>
                <a:gd name="T88" fmla="*/ 50 w 684"/>
                <a:gd name="T89" fmla="*/ 53 h 240"/>
                <a:gd name="T90" fmla="*/ 65 w 684"/>
                <a:gd name="T91" fmla="*/ 54 h 240"/>
                <a:gd name="T92" fmla="*/ 72 w 684"/>
                <a:gd name="T93" fmla="*/ 53 h 240"/>
                <a:gd name="T94" fmla="*/ 8 w 684"/>
                <a:gd name="T95" fmla="*/ 45 h 240"/>
                <a:gd name="T96" fmla="*/ 17 w 684"/>
                <a:gd name="T97" fmla="*/ 42 h 240"/>
                <a:gd name="T98" fmla="*/ 35 w 684"/>
                <a:gd name="T99" fmla="*/ 39 h 240"/>
                <a:gd name="T100" fmla="*/ 53 w 684"/>
                <a:gd name="T101" fmla="*/ 36 h 240"/>
                <a:gd name="T102" fmla="*/ 60 w 684"/>
                <a:gd name="T103" fmla="*/ 33 h 240"/>
                <a:gd name="T104" fmla="*/ 54 w 684"/>
                <a:gd name="T105" fmla="*/ 31 h 240"/>
                <a:gd name="T106" fmla="*/ 40 w 684"/>
                <a:gd name="T107" fmla="*/ 32 h 240"/>
                <a:gd name="T108" fmla="*/ 23 w 684"/>
                <a:gd name="T109" fmla="*/ 36 h 240"/>
                <a:gd name="T110" fmla="*/ 17 w 684"/>
                <a:gd name="T111" fmla="*/ 35 h 240"/>
                <a:gd name="T112" fmla="*/ 18 w 684"/>
                <a:gd name="T113" fmla="*/ 30 h 240"/>
                <a:gd name="T114" fmla="*/ 17 w 684"/>
                <a:gd name="T115" fmla="*/ 27 h 240"/>
                <a:gd name="T116" fmla="*/ 19 w 684"/>
                <a:gd name="T117" fmla="*/ 26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AU"/>
            </a:p>
          </p:txBody>
        </p:sp>
        <p:sp>
          <p:nvSpPr>
            <p:cNvPr id="2477" name="Freeform 427"/>
            <p:cNvSpPr>
              <a:spLocks/>
            </p:cNvSpPr>
            <p:nvPr/>
          </p:nvSpPr>
          <p:spPr bwMode="auto">
            <a:xfrm>
              <a:off x="1645" y="1643"/>
              <a:ext cx="108" cy="93"/>
            </a:xfrm>
            <a:custGeom>
              <a:avLst/>
              <a:gdLst>
                <a:gd name="T0" fmla="*/ 59 w 332"/>
                <a:gd name="T1" fmla="*/ 12 h 287"/>
                <a:gd name="T2" fmla="*/ 66 w 332"/>
                <a:gd name="T3" fmla="*/ 8 h 287"/>
                <a:gd name="T4" fmla="*/ 74 w 332"/>
                <a:gd name="T5" fmla="*/ 2 h 287"/>
                <a:gd name="T6" fmla="*/ 78 w 332"/>
                <a:gd name="T7" fmla="*/ 0 h 287"/>
                <a:gd name="T8" fmla="*/ 80 w 332"/>
                <a:gd name="T9" fmla="*/ 0 h 287"/>
                <a:gd name="T10" fmla="*/ 80 w 332"/>
                <a:gd name="T11" fmla="*/ 4 h 287"/>
                <a:gd name="T12" fmla="*/ 76 w 332"/>
                <a:gd name="T13" fmla="*/ 11 h 287"/>
                <a:gd name="T14" fmla="*/ 71 w 332"/>
                <a:gd name="T15" fmla="*/ 18 h 287"/>
                <a:gd name="T16" fmla="*/ 66 w 332"/>
                <a:gd name="T17" fmla="*/ 22 h 287"/>
                <a:gd name="T18" fmla="*/ 62 w 332"/>
                <a:gd name="T19" fmla="*/ 23 h 287"/>
                <a:gd name="T20" fmla="*/ 62 w 332"/>
                <a:gd name="T21" fmla="*/ 24 h 287"/>
                <a:gd name="T22" fmla="*/ 65 w 332"/>
                <a:gd name="T23" fmla="*/ 24 h 287"/>
                <a:gd name="T24" fmla="*/ 70 w 332"/>
                <a:gd name="T25" fmla="*/ 23 h 287"/>
                <a:gd name="T26" fmla="*/ 73 w 332"/>
                <a:gd name="T27" fmla="*/ 25 h 287"/>
                <a:gd name="T28" fmla="*/ 71 w 332"/>
                <a:gd name="T29" fmla="*/ 29 h 287"/>
                <a:gd name="T30" fmla="*/ 70 w 332"/>
                <a:gd name="T31" fmla="*/ 31 h 287"/>
                <a:gd name="T32" fmla="*/ 71 w 332"/>
                <a:gd name="T33" fmla="*/ 34 h 287"/>
                <a:gd name="T34" fmla="*/ 81 w 332"/>
                <a:gd name="T35" fmla="*/ 37 h 287"/>
                <a:gd name="T36" fmla="*/ 100 w 332"/>
                <a:gd name="T37" fmla="*/ 40 h 287"/>
                <a:gd name="T38" fmla="*/ 105 w 332"/>
                <a:gd name="T39" fmla="*/ 42 h 287"/>
                <a:gd name="T40" fmla="*/ 102 w 332"/>
                <a:gd name="T41" fmla="*/ 45 h 287"/>
                <a:gd name="T42" fmla="*/ 99 w 332"/>
                <a:gd name="T43" fmla="*/ 48 h 287"/>
                <a:gd name="T44" fmla="*/ 97 w 332"/>
                <a:gd name="T45" fmla="*/ 50 h 287"/>
                <a:gd name="T46" fmla="*/ 98 w 332"/>
                <a:gd name="T47" fmla="*/ 52 h 287"/>
                <a:gd name="T48" fmla="*/ 100 w 332"/>
                <a:gd name="T49" fmla="*/ 54 h 287"/>
                <a:gd name="T50" fmla="*/ 104 w 332"/>
                <a:gd name="T51" fmla="*/ 57 h 287"/>
                <a:gd name="T52" fmla="*/ 107 w 332"/>
                <a:gd name="T53" fmla="*/ 60 h 287"/>
                <a:gd name="T54" fmla="*/ 94 w 332"/>
                <a:gd name="T55" fmla="*/ 68 h 287"/>
                <a:gd name="T56" fmla="*/ 78 w 332"/>
                <a:gd name="T57" fmla="*/ 78 h 287"/>
                <a:gd name="T58" fmla="*/ 67 w 332"/>
                <a:gd name="T59" fmla="*/ 87 h 287"/>
                <a:gd name="T60" fmla="*/ 56 w 332"/>
                <a:gd name="T61" fmla="*/ 79 h 287"/>
                <a:gd name="T62" fmla="*/ 59 w 332"/>
                <a:gd name="T63" fmla="*/ 79 h 287"/>
                <a:gd name="T64" fmla="*/ 61 w 332"/>
                <a:gd name="T65" fmla="*/ 78 h 287"/>
                <a:gd name="T66" fmla="*/ 65 w 332"/>
                <a:gd name="T67" fmla="*/ 75 h 287"/>
                <a:gd name="T68" fmla="*/ 48 w 332"/>
                <a:gd name="T69" fmla="*/ 75 h 287"/>
                <a:gd name="T70" fmla="*/ 33 w 332"/>
                <a:gd name="T71" fmla="*/ 75 h 287"/>
                <a:gd name="T72" fmla="*/ 19 w 332"/>
                <a:gd name="T73" fmla="*/ 75 h 287"/>
                <a:gd name="T74" fmla="*/ 9 w 332"/>
                <a:gd name="T75" fmla="*/ 75 h 287"/>
                <a:gd name="T76" fmla="*/ 4 w 332"/>
                <a:gd name="T77" fmla="*/ 74 h 287"/>
                <a:gd name="T78" fmla="*/ 1 w 332"/>
                <a:gd name="T79" fmla="*/ 72 h 287"/>
                <a:gd name="T80" fmla="*/ 0 w 332"/>
                <a:gd name="T81" fmla="*/ 69 h 287"/>
                <a:gd name="T82" fmla="*/ 1 w 332"/>
                <a:gd name="T83" fmla="*/ 66 h 287"/>
                <a:gd name="T84" fmla="*/ 4 w 332"/>
                <a:gd name="T85" fmla="*/ 64 h 287"/>
                <a:gd name="T86" fmla="*/ 13 w 332"/>
                <a:gd name="T87" fmla="*/ 58 h 287"/>
                <a:gd name="T88" fmla="*/ 24 w 332"/>
                <a:gd name="T89" fmla="*/ 52 h 287"/>
                <a:gd name="T90" fmla="*/ 28 w 332"/>
                <a:gd name="T91" fmla="*/ 49 h 287"/>
                <a:gd name="T92" fmla="*/ 30 w 332"/>
                <a:gd name="T93" fmla="*/ 47 h 287"/>
                <a:gd name="T94" fmla="*/ 34 w 332"/>
                <a:gd name="T95" fmla="*/ 42 h 287"/>
                <a:gd name="T96" fmla="*/ 38 w 332"/>
                <a:gd name="T97" fmla="*/ 37 h 287"/>
                <a:gd name="T98" fmla="*/ 42 w 332"/>
                <a:gd name="T99" fmla="*/ 26 h 287"/>
                <a:gd name="T100" fmla="*/ 45 w 332"/>
                <a:gd name="T101" fmla="*/ 21 h 287"/>
                <a:gd name="T102" fmla="*/ 48 w 332"/>
                <a:gd name="T103" fmla="*/ 17 h 287"/>
                <a:gd name="T104" fmla="*/ 51 w 332"/>
                <a:gd name="T105" fmla="*/ 14 h 287"/>
                <a:gd name="T106" fmla="*/ 56 w 332"/>
                <a:gd name="T107" fmla="*/ 13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AU"/>
            </a:p>
          </p:txBody>
        </p:sp>
        <p:sp>
          <p:nvSpPr>
            <p:cNvPr id="2478" name="Freeform 428"/>
            <p:cNvSpPr>
              <a:spLocks/>
            </p:cNvSpPr>
            <p:nvPr/>
          </p:nvSpPr>
          <p:spPr bwMode="auto">
            <a:xfrm>
              <a:off x="1102" y="1190"/>
              <a:ext cx="111" cy="27"/>
            </a:xfrm>
            <a:custGeom>
              <a:avLst/>
              <a:gdLst>
                <a:gd name="T0" fmla="*/ 34 w 345"/>
                <a:gd name="T1" fmla="*/ 27 h 86"/>
                <a:gd name="T2" fmla="*/ 38 w 345"/>
                <a:gd name="T3" fmla="*/ 25 h 86"/>
                <a:gd name="T4" fmla="*/ 43 w 345"/>
                <a:gd name="T5" fmla="*/ 24 h 86"/>
                <a:gd name="T6" fmla="*/ 48 w 345"/>
                <a:gd name="T7" fmla="*/ 23 h 86"/>
                <a:gd name="T8" fmla="*/ 53 w 345"/>
                <a:gd name="T9" fmla="*/ 22 h 86"/>
                <a:gd name="T10" fmla="*/ 63 w 345"/>
                <a:gd name="T11" fmla="*/ 20 h 86"/>
                <a:gd name="T12" fmla="*/ 74 w 345"/>
                <a:gd name="T13" fmla="*/ 18 h 86"/>
                <a:gd name="T14" fmla="*/ 79 w 345"/>
                <a:gd name="T15" fmla="*/ 17 h 86"/>
                <a:gd name="T16" fmla="*/ 85 w 345"/>
                <a:gd name="T17" fmla="*/ 16 h 86"/>
                <a:gd name="T18" fmla="*/ 90 w 345"/>
                <a:gd name="T19" fmla="*/ 14 h 86"/>
                <a:gd name="T20" fmla="*/ 95 w 345"/>
                <a:gd name="T21" fmla="*/ 13 h 86"/>
                <a:gd name="T22" fmla="*/ 99 w 345"/>
                <a:gd name="T23" fmla="*/ 11 h 86"/>
                <a:gd name="T24" fmla="*/ 104 w 345"/>
                <a:gd name="T25" fmla="*/ 9 h 86"/>
                <a:gd name="T26" fmla="*/ 107 w 345"/>
                <a:gd name="T27" fmla="*/ 7 h 86"/>
                <a:gd name="T28" fmla="*/ 111 w 345"/>
                <a:gd name="T29" fmla="*/ 4 h 86"/>
                <a:gd name="T30" fmla="*/ 108 w 345"/>
                <a:gd name="T31" fmla="*/ 4 h 86"/>
                <a:gd name="T32" fmla="*/ 105 w 345"/>
                <a:gd name="T33" fmla="*/ 3 h 86"/>
                <a:gd name="T34" fmla="*/ 102 w 345"/>
                <a:gd name="T35" fmla="*/ 3 h 86"/>
                <a:gd name="T36" fmla="*/ 99 w 345"/>
                <a:gd name="T37" fmla="*/ 2 h 86"/>
                <a:gd name="T38" fmla="*/ 97 w 345"/>
                <a:gd name="T39" fmla="*/ 1 h 86"/>
                <a:gd name="T40" fmla="*/ 94 w 345"/>
                <a:gd name="T41" fmla="*/ 1 h 86"/>
                <a:gd name="T42" fmla="*/ 90 w 345"/>
                <a:gd name="T43" fmla="*/ 0 h 86"/>
                <a:gd name="T44" fmla="*/ 88 w 345"/>
                <a:gd name="T45" fmla="*/ 0 h 86"/>
                <a:gd name="T46" fmla="*/ 83 w 345"/>
                <a:gd name="T47" fmla="*/ 0 h 86"/>
                <a:gd name="T48" fmla="*/ 79 w 345"/>
                <a:gd name="T49" fmla="*/ 1 h 86"/>
                <a:gd name="T50" fmla="*/ 73 w 345"/>
                <a:gd name="T51" fmla="*/ 2 h 86"/>
                <a:gd name="T52" fmla="*/ 67 w 345"/>
                <a:gd name="T53" fmla="*/ 3 h 86"/>
                <a:gd name="T54" fmla="*/ 54 w 345"/>
                <a:gd name="T55" fmla="*/ 6 h 86"/>
                <a:gd name="T56" fmla="*/ 41 w 345"/>
                <a:gd name="T57" fmla="*/ 9 h 86"/>
                <a:gd name="T58" fmla="*/ 33 w 345"/>
                <a:gd name="T59" fmla="*/ 11 h 86"/>
                <a:gd name="T60" fmla="*/ 27 w 345"/>
                <a:gd name="T61" fmla="*/ 13 h 86"/>
                <a:gd name="T62" fmla="*/ 21 w 345"/>
                <a:gd name="T63" fmla="*/ 16 h 86"/>
                <a:gd name="T64" fmla="*/ 15 w 345"/>
                <a:gd name="T65" fmla="*/ 18 h 86"/>
                <a:gd name="T66" fmla="*/ 10 w 345"/>
                <a:gd name="T67" fmla="*/ 20 h 86"/>
                <a:gd name="T68" fmla="*/ 6 w 345"/>
                <a:gd name="T69" fmla="*/ 23 h 86"/>
                <a:gd name="T70" fmla="*/ 3 w 345"/>
                <a:gd name="T71" fmla="*/ 25 h 86"/>
                <a:gd name="T72" fmla="*/ 0 w 345"/>
                <a:gd name="T73" fmla="*/ 27 h 86"/>
                <a:gd name="T74" fmla="*/ 34 w 345"/>
                <a:gd name="T75" fmla="*/ 27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AU"/>
            </a:p>
          </p:txBody>
        </p:sp>
        <p:sp>
          <p:nvSpPr>
            <p:cNvPr id="2479" name="Freeform 429"/>
            <p:cNvSpPr>
              <a:spLocks/>
            </p:cNvSpPr>
            <p:nvPr/>
          </p:nvSpPr>
          <p:spPr bwMode="auto">
            <a:xfrm>
              <a:off x="1158" y="1199"/>
              <a:ext cx="149" cy="43"/>
            </a:xfrm>
            <a:custGeom>
              <a:avLst/>
              <a:gdLst>
                <a:gd name="T0" fmla="*/ 6 w 464"/>
                <a:gd name="T1" fmla="*/ 28 h 130"/>
                <a:gd name="T2" fmla="*/ 25 w 464"/>
                <a:gd name="T3" fmla="*/ 27 h 130"/>
                <a:gd name="T4" fmla="*/ 33 w 464"/>
                <a:gd name="T5" fmla="*/ 27 h 130"/>
                <a:gd name="T6" fmla="*/ 30 w 464"/>
                <a:gd name="T7" fmla="*/ 29 h 130"/>
                <a:gd name="T8" fmla="*/ 26 w 464"/>
                <a:gd name="T9" fmla="*/ 33 h 130"/>
                <a:gd name="T10" fmla="*/ 23 w 464"/>
                <a:gd name="T11" fmla="*/ 37 h 130"/>
                <a:gd name="T12" fmla="*/ 23 w 464"/>
                <a:gd name="T13" fmla="*/ 39 h 130"/>
                <a:gd name="T14" fmla="*/ 25 w 464"/>
                <a:gd name="T15" fmla="*/ 41 h 130"/>
                <a:gd name="T16" fmla="*/ 30 w 464"/>
                <a:gd name="T17" fmla="*/ 43 h 130"/>
                <a:gd name="T18" fmla="*/ 35 w 464"/>
                <a:gd name="T19" fmla="*/ 43 h 130"/>
                <a:gd name="T20" fmla="*/ 41 w 464"/>
                <a:gd name="T21" fmla="*/ 42 h 130"/>
                <a:gd name="T22" fmla="*/ 50 w 464"/>
                <a:gd name="T23" fmla="*/ 39 h 130"/>
                <a:gd name="T24" fmla="*/ 63 w 464"/>
                <a:gd name="T25" fmla="*/ 36 h 130"/>
                <a:gd name="T26" fmla="*/ 73 w 464"/>
                <a:gd name="T27" fmla="*/ 33 h 130"/>
                <a:gd name="T28" fmla="*/ 80 w 464"/>
                <a:gd name="T29" fmla="*/ 33 h 130"/>
                <a:gd name="T30" fmla="*/ 85 w 464"/>
                <a:gd name="T31" fmla="*/ 33 h 130"/>
                <a:gd name="T32" fmla="*/ 98 w 464"/>
                <a:gd name="T33" fmla="*/ 33 h 130"/>
                <a:gd name="T34" fmla="*/ 107 w 464"/>
                <a:gd name="T35" fmla="*/ 32 h 130"/>
                <a:gd name="T36" fmla="*/ 121 w 464"/>
                <a:gd name="T37" fmla="*/ 31 h 130"/>
                <a:gd name="T38" fmla="*/ 133 w 464"/>
                <a:gd name="T39" fmla="*/ 27 h 130"/>
                <a:gd name="T40" fmla="*/ 144 w 464"/>
                <a:gd name="T41" fmla="*/ 22 h 130"/>
                <a:gd name="T42" fmla="*/ 146 w 464"/>
                <a:gd name="T43" fmla="*/ 17 h 130"/>
                <a:gd name="T44" fmla="*/ 141 w 464"/>
                <a:gd name="T45" fmla="*/ 16 h 130"/>
                <a:gd name="T46" fmla="*/ 133 w 464"/>
                <a:gd name="T47" fmla="*/ 16 h 130"/>
                <a:gd name="T48" fmla="*/ 127 w 464"/>
                <a:gd name="T49" fmla="*/ 15 h 130"/>
                <a:gd name="T50" fmla="*/ 130 w 464"/>
                <a:gd name="T51" fmla="*/ 12 h 130"/>
                <a:gd name="T52" fmla="*/ 133 w 464"/>
                <a:gd name="T53" fmla="*/ 7 h 130"/>
                <a:gd name="T54" fmla="*/ 134 w 464"/>
                <a:gd name="T55" fmla="*/ 2 h 130"/>
                <a:gd name="T56" fmla="*/ 121 w 464"/>
                <a:gd name="T57" fmla="*/ 0 h 130"/>
                <a:gd name="T58" fmla="*/ 116 w 464"/>
                <a:gd name="T59" fmla="*/ 6 h 130"/>
                <a:gd name="T60" fmla="*/ 110 w 464"/>
                <a:gd name="T61" fmla="*/ 14 h 130"/>
                <a:gd name="T62" fmla="*/ 104 w 464"/>
                <a:gd name="T63" fmla="*/ 20 h 130"/>
                <a:gd name="T64" fmla="*/ 100 w 464"/>
                <a:gd name="T65" fmla="*/ 22 h 130"/>
                <a:gd name="T66" fmla="*/ 96 w 464"/>
                <a:gd name="T67" fmla="*/ 22 h 130"/>
                <a:gd name="T68" fmla="*/ 89 w 464"/>
                <a:gd name="T69" fmla="*/ 22 h 130"/>
                <a:gd name="T70" fmla="*/ 84 w 464"/>
                <a:gd name="T71" fmla="*/ 21 h 130"/>
                <a:gd name="T72" fmla="*/ 77 w 464"/>
                <a:gd name="T73" fmla="*/ 18 h 130"/>
                <a:gd name="T74" fmla="*/ 66 w 464"/>
                <a:gd name="T75" fmla="*/ 10 h 130"/>
                <a:gd name="T76" fmla="*/ 58 w 464"/>
                <a:gd name="T77" fmla="*/ 10 h 130"/>
                <a:gd name="T78" fmla="*/ 48 w 464"/>
                <a:gd name="T79" fmla="*/ 10 h 130"/>
                <a:gd name="T80" fmla="*/ 38 w 464"/>
                <a:gd name="T81" fmla="*/ 12 h 130"/>
                <a:gd name="T82" fmla="*/ 27 w 464"/>
                <a:gd name="T83" fmla="*/ 15 h 130"/>
                <a:gd name="T84" fmla="*/ 17 w 464"/>
                <a:gd name="T85" fmla="*/ 18 h 130"/>
                <a:gd name="T86" fmla="*/ 9 w 464"/>
                <a:gd name="T87" fmla="*/ 22 h 130"/>
                <a:gd name="T88" fmla="*/ 3 w 464"/>
                <a:gd name="T89" fmla="*/ 25 h 130"/>
                <a:gd name="T90" fmla="*/ 0 w 464"/>
                <a:gd name="T91" fmla="*/ 28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AU"/>
            </a:p>
          </p:txBody>
        </p:sp>
        <p:sp>
          <p:nvSpPr>
            <p:cNvPr id="2480" name="Freeform 430"/>
            <p:cNvSpPr>
              <a:spLocks/>
            </p:cNvSpPr>
            <p:nvPr/>
          </p:nvSpPr>
          <p:spPr bwMode="auto">
            <a:xfrm>
              <a:off x="1472" y="1205"/>
              <a:ext cx="153" cy="31"/>
            </a:xfrm>
            <a:custGeom>
              <a:avLst/>
              <a:gdLst>
                <a:gd name="T0" fmla="*/ 20 w 472"/>
                <a:gd name="T1" fmla="*/ 0 h 92"/>
                <a:gd name="T2" fmla="*/ 14 w 472"/>
                <a:gd name="T3" fmla="*/ 0 h 92"/>
                <a:gd name="T4" fmla="*/ 8 w 472"/>
                <a:gd name="T5" fmla="*/ 0 h 92"/>
                <a:gd name="T6" fmla="*/ 4 w 472"/>
                <a:gd name="T7" fmla="*/ 1 h 92"/>
                <a:gd name="T8" fmla="*/ 2 w 472"/>
                <a:gd name="T9" fmla="*/ 3 h 92"/>
                <a:gd name="T10" fmla="*/ 2 w 472"/>
                <a:gd name="T11" fmla="*/ 5 h 92"/>
                <a:gd name="T12" fmla="*/ 3 w 472"/>
                <a:gd name="T13" fmla="*/ 8 h 92"/>
                <a:gd name="T14" fmla="*/ 5 w 472"/>
                <a:gd name="T15" fmla="*/ 11 h 92"/>
                <a:gd name="T16" fmla="*/ 5 w 472"/>
                <a:gd name="T17" fmla="*/ 14 h 92"/>
                <a:gd name="T18" fmla="*/ 1 w 472"/>
                <a:gd name="T19" fmla="*/ 17 h 92"/>
                <a:gd name="T20" fmla="*/ 0 w 472"/>
                <a:gd name="T21" fmla="*/ 19 h 92"/>
                <a:gd name="T22" fmla="*/ 1 w 472"/>
                <a:gd name="T23" fmla="*/ 22 h 92"/>
                <a:gd name="T24" fmla="*/ 5 w 472"/>
                <a:gd name="T25" fmla="*/ 23 h 92"/>
                <a:gd name="T26" fmla="*/ 16 w 472"/>
                <a:gd name="T27" fmla="*/ 26 h 92"/>
                <a:gd name="T28" fmla="*/ 35 w 472"/>
                <a:gd name="T29" fmla="*/ 29 h 92"/>
                <a:gd name="T30" fmla="*/ 54 w 472"/>
                <a:gd name="T31" fmla="*/ 31 h 92"/>
                <a:gd name="T32" fmla="*/ 118 w 472"/>
                <a:gd name="T33" fmla="*/ 31 h 92"/>
                <a:gd name="T34" fmla="*/ 121 w 472"/>
                <a:gd name="T35" fmla="*/ 27 h 92"/>
                <a:gd name="T36" fmla="*/ 125 w 472"/>
                <a:gd name="T37" fmla="*/ 25 h 92"/>
                <a:gd name="T38" fmla="*/ 129 w 472"/>
                <a:gd name="T39" fmla="*/ 25 h 92"/>
                <a:gd name="T40" fmla="*/ 133 w 472"/>
                <a:gd name="T41" fmla="*/ 25 h 92"/>
                <a:gd name="T42" fmla="*/ 143 w 472"/>
                <a:gd name="T43" fmla="*/ 26 h 92"/>
                <a:gd name="T44" fmla="*/ 148 w 472"/>
                <a:gd name="T45" fmla="*/ 26 h 92"/>
                <a:gd name="T46" fmla="*/ 153 w 472"/>
                <a:gd name="T47" fmla="*/ 25 h 92"/>
                <a:gd name="T48" fmla="*/ 151 w 472"/>
                <a:gd name="T49" fmla="*/ 11 h 92"/>
                <a:gd name="T50" fmla="*/ 147 w 472"/>
                <a:gd name="T51" fmla="*/ 9 h 92"/>
                <a:gd name="T52" fmla="*/ 144 w 472"/>
                <a:gd name="T53" fmla="*/ 6 h 92"/>
                <a:gd name="T54" fmla="*/ 140 w 472"/>
                <a:gd name="T55" fmla="*/ 4 h 92"/>
                <a:gd name="T56" fmla="*/ 135 w 472"/>
                <a:gd name="T57" fmla="*/ 4 h 92"/>
                <a:gd name="T58" fmla="*/ 128 w 472"/>
                <a:gd name="T59" fmla="*/ 5 h 92"/>
                <a:gd name="T60" fmla="*/ 119 w 472"/>
                <a:gd name="T61" fmla="*/ 7 h 92"/>
                <a:gd name="T62" fmla="*/ 106 w 472"/>
                <a:gd name="T63" fmla="*/ 11 h 92"/>
                <a:gd name="T64" fmla="*/ 97 w 472"/>
                <a:gd name="T65" fmla="*/ 13 h 92"/>
                <a:gd name="T66" fmla="*/ 89 w 472"/>
                <a:gd name="T67" fmla="*/ 14 h 92"/>
                <a:gd name="T68" fmla="*/ 77 w 472"/>
                <a:gd name="T69" fmla="*/ 14 h 92"/>
                <a:gd name="T70" fmla="*/ 62 w 472"/>
                <a:gd name="T71" fmla="*/ 14 h 92"/>
                <a:gd name="T72" fmla="*/ 51 w 472"/>
                <a:gd name="T73" fmla="*/ 14 h 92"/>
                <a:gd name="T74" fmla="*/ 39 w 472"/>
                <a:gd name="T75" fmla="*/ 14 h 92"/>
                <a:gd name="T76" fmla="*/ 29 w 472"/>
                <a:gd name="T77" fmla="*/ 14 h 92"/>
                <a:gd name="T78" fmla="*/ 25 w 472"/>
                <a:gd name="T79" fmla="*/ 12 h 92"/>
                <a:gd name="T80" fmla="*/ 23 w 472"/>
                <a:gd name="T81" fmla="*/ 9 h 92"/>
                <a:gd name="T82" fmla="*/ 22 w 472"/>
                <a:gd name="T83" fmla="*/ 6 h 92"/>
                <a:gd name="T84" fmla="*/ 22 w 472"/>
                <a:gd name="T85" fmla="*/ 3 h 92"/>
                <a:gd name="T86" fmla="*/ 24 w 472"/>
                <a:gd name="T87" fmla="*/ 1 h 92"/>
                <a:gd name="T88" fmla="*/ 24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AU"/>
            </a:p>
          </p:txBody>
        </p:sp>
        <p:sp>
          <p:nvSpPr>
            <p:cNvPr id="2481" name="Freeform 431"/>
            <p:cNvSpPr>
              <a:spLocks/>
            </p:cNvSpPr>
            <p:nvPr/>
          </p:nvSpPr>
          <p:spPr bwMode="auto">
            <a:xfrm>
              <a:off x="1513" y="1136"/>
              <a:ext cx="106" cy="45"/>
            </a:xfrm>
            <a:custGeom>
              <a:avLst/>
              <a:gdLst>
                <a:gd name="T0" fmla="*/ 47 w 326"/>
                <a:gd name="T1" fmla="*/ 36 h 135"/>
                <a:gd name="T2" fmla="*/ 66 w 326"/>
                <a:gd name="T3" fmla="*/ 32 h 135"/>
                <a:gd name="T4" fmla="*/ 85 w 326"/>
                <a:gd name="T5" fmla="*/ 28 h 135"/>
                <a:gd name="T6" fmla="*/ 98 w 326"/>
                <a:gd name="T7" fmla="*/ 25 h 135"/>
                <a:gd name="T8" fmla="*/ 103 w 326"/>
                <a:gd name="T9" fmla="*/ 22 h 135"/>
                <a:gd name="T10" fmla="*/ 105 w 326"/>
                <a:gd name="T11" fmla="*/ 19 h 135"/>
                <a:gd name="T12" fmla="*/ 101 w 326"/>
                <a:gd name="T13" fmla="*/ 16 h 135"/>
                <a:gd name="T14" fmla="*/ 98 w 326"/>
                <a:gd name="T15" fmla="*/ 14 h 135"/>
                <a:gd name="T16" fmla="*/ 93 w 326"/>
                <a:gd name="T17" fmla="*/ 12 h 135"/>
                <a:gd name="T18" fmla="*/ 86 w 326"/>
                <a:gd name="T19" fmla="*/ 11 h 135"/>
                <a:gd name="T20" fmla="*/ 75 w 326"/>
                <a:gd name="T21" fmla="*/ 10 h 135"/>
                <a:gd name="T22" fmla="*/ 68 w 326"/>
                <a:gd name="T23" fmla="*/ 10 h 135"/>
                <a:gd name="T24" fmla="*/ 66 w 326"/>
                <a:gd name="T25" fmla="*/ 8 h 135"/>
                <a:gd name="T26" fmla="*/ 64 w 326"/>
                <a:gd name="T27" fmla="*/ 6 h 135"/>
                <a:gd name="T28" fmla="*/ 62 w 326"/>
                <a:gd name="T29" fmla="*/ 3 h 135"/>
                <a:gd name="T30" fmla="*/ 59 w 326"/>
                <a:gd name="T31" fmla="*/ 2 h 135"/>
                <a:gd name="T32" fmla="*/ 53 w 326"/>
                <a:gd name="T33" fmla="*/ 0 h 135"/>
                <a:gd name="T34" fmla="*/ 44 w 326"/>
                <a:gd name="T35" fmla="*/ 0 h 135"/>
                <a:gd name="T36" fmla="*/ 28 w 326"/>
                <a:gd name="T37" fmla="*/ 3 h 135"/>
                <a:gd name="T38" fmla="*/ 16 w 326"/>
                <a:gd name="T39" fmla="*/ 6 h 135"/>
                <a:gd name="T40" fmla="*/ 9 w 326"/>
                <a:gd name="T41" fmla="*/ 9 h 135"/>
                <a:gd name="T42" fmla="*/ 4 w 326"/>
                <a:gd name="T43" fmla="*/ 12 h 135"/>
                <a:gd name="T44" fmla="*/ 1 w 326"/>
                <a:gd name="T45" fmla="*/ 15 h 135"/>
                <a:gd name="T46" fmla="*/ 0 w 326"/>
                <a:gd name="T47" fmla="*/ 17 h 135"/>
                <a:gd name="T48" fmla="*/ 11 w 326"/>
                <a:gd name="T49" fmla="*/ 25 h 135"/>
                <a:gd name="T50" fmla="*/ 18 w 326"/>
                <a:gd name="T51" fmla="*/ 27 h 135"/>
                <a:gd name="T52" fmla="*/ 13 w 326"/>
                <a:gd name="T53" fmla="*/ 30 h 135"/>
                <a:gd name="T54" fmla="*/ 12 w 326"/>
                <a:gd name="T55" fmla="*/ 33 h 135"/>
                <a:gd name="T56" fmla="*/ 14 w 326"/>
                <a:gd name="T57" fmla="*/ 38 h 135"/>
                <a:gd name="T58" fmla="*/ 16 w 326"/>
                <a:gd name="T59" fmla="*/ 43 h 135"/>
                <a:gd name="T60" fmla="*/ 18 w 326"/>
                <a:gd name="T61" fmla="*/ 45 h 135"/>
                <a:gd name="T62" fmla="*/ 22 w 326"/>
                <a:gd name="T63" fmla="*/ 45 h 135"/>
                <a:gd name="T64" fmla="*/ 28 w 326"/>
                <a:gd name="T65" fmla="*/ 44 h 135"/>
                <a:gd name="T66" fmla="*/ 33 w 326"/>
                <a:gd name="T67" fmla="*/ 42 h 135"/>
                <a:gd name="T68" fmla="*/ 38 w 326"/>
                <a:gd name="T69" fmla="*/ 41 h 135"/>
                <a:gd name="T70" fmla="*/ 39 w 326"/>
                <a:gd name="T71" fmla="*/ 37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AU"/>
            </a:p>
          </p:txBody>
        </p:sp>
        <p:sp>
          <p:nvSpPr>
            <p:cNvPr id="2482" name="Freeform 432"/>
            <p:cNvSpPr>
              <a:spLocks/>
            </p:cNvSpPr>
            <p:nvPr/>
          </p:nvSpPr>
          <p:spPr bwMode="auto">
            <a:xfrm>
              <a:off x="1584" y="1245"/>
              <a:ext cx="51" cy="18"/>
            </a:xfrm>
            <a:custGeom>
              <a:avLst/>
              <a:gdLst>
                <a:gd name="T0" fmla="*/ 15 w 159"/>
                <a:gd name="T1" fmla="*/ 17 h 56"/>
                <a:gd name="T2" fmla="*/ 13 w 159"/>
                <a:gd name="T3" fmla="*/ 17 h 56"/>
                <a:gd name="T4" fmla="*/ 11 w 159"/>
                <a:gd name="T5" fmla="*/ 16 h 56"/>
                <a:gd name="T6" fmla="*/ 8 w 159"/>
                <a:gd name="T7" fmla="*/ 14 h 56"/>
                <a:gd name="T8" fmla="*/ 6 w 159"/>
                <a:gd name="T9" fmla="*/ 12 h 56"/>
                <a:gd name="T10" fmla="*/ 3 w 159"/>
                <a:gd name="T11" fmla="*/ 10 h 56"/>
                <a:gd name="T12" fmla="*/ 2 w 159"/>
                <a:gd name="T13" fmla="*/ 8 h 56"/>
                <a:gd name="T14" fmla="*/ 1 w 159"/>
                <a:gd name="T15" fmla="*/ 7 h 56"/>
                <a:gd name="T16" fmla="*/ 0 w 159"/>
                <a:gd name="T17" fmla="*/ 5 h 56"/>
                <a:gd name="T18" fmla="*/ 0 w 159"/>
                <a:gd name="T19" fmla="*/ 4 h 56"/>
                <a:gd name="T20" fmla="*/ 0 w 159"/>
                <a:gd name="T21" fmla="*/ 3 h 56"/>
                <a:gd name="T22" fmla="*/ 7 w 159"/>
                <a:gd name="T23" fmla="*/ 3 h 56"/>
                <a:gd name="T24" fmla="*/ 13 w 159"/>
                <a:gd name="T25" fmla="*/ 3 h 56"/>
                <a:gd name="T26" fmla="*/ 17 w 159"/>
                <a:gd name="T27" fmla="*/ 3 h 56"/>
                <a:gd name="T28" fmla="*/ 19 w 159"/>
                <a:gd name="T29" fmla="*/ 3 h 56"/>
                <a:gd name="T30" fmla="*/ 27 w 159"/>
                <a:gd name="T31" fmla="*/ 2 h 56"/>
                <a:gd name="T32" fmla="*/ 38 w 159"/>
                <a:gd name="T33" fmla="*/ 0 h 56"/>
                <a:gd name="T34" fmla="*/ 40 w 159"/>
                <a:gd name="T35" fmla="*/ 0 h 56"/>
                <a:gd name="T36" fmla="*/ 42 w 159"/>
                <a:gd name="T37" fmla="*/ 0 h 56"/>
                <a:gd name="T38" fmla="*/ 45 w 159"/>
                <a:gd name="T39" fmla="*/ 0 h 56"/>
                <a:gd name="T40" fmla="*/ 47 w 159"/>
                <a:gd name="T41" fmla="*/ 1 h 56"/>
                <a:gd name="T42" fmla="*/ 48 w 159"/>
                <a:gd name="T43" fmla="*/ 2 h 56"/>
                <a:gd name="T44" fmla="*/ 50 w 159"/>
                <a:gd name="T45" fmla="*/ 3 h 56"/>
                <a:gd name="T46" fmla="*/ 51 w 159"/>
                <a:gd name="T47" fmla="*/ 5 h 56"/>
                <a:gd name="T48" fmla="*/ 51 w 159"/>
                <a:gd name="T49" fmla="*/ 7 h 56"/>
                <a:gd name="T50" fmla="*/ 51 w 159"/>
                <a:gd name="T51" fmla="*/ 10 h 56"/>
                <a:gd name="T52" fmla="*/ 50 w 159"/>
                <a:gd name="T53" fmla="*/ 12 h 56"/>
                <a:gd name="T54" fmla="*/ 48 w 159"/>
                <a:gd name="T55" fmla="*/ 14 h 56"/>
                <a:gd name="T56" fmla="*/ 47 w 159"/>
                <a:gd name="T57" fmla="*/ 15 h 56"/>
                <a:gd name="T58" fmla="*/ 45 w 159"/>
                <a:gd name="T59" fmla="*/ 17 h 56"/>
                <a:gd name="T60" fmla="*/ 42 w 159"/>
                <a:gd name="T61" fmla="*/ 17 h 56"/>
                <a:gd name="T62" fmla="*/ 40 w 159"/>
                <a:gd name="T63" fmla="*/ 18 h 56"/>
                <a:gd name="T64" fmla="*/ 37 w 159"/>
                <a:gd name="T65" fmla="*/ 18 h 56"/>
                <a:gd name="T66" fmla="*/ 25 w 159"/>
                <a:gd name="T67" fmla="*/ 18 h 56"/>
                <a:gd name="T68" fmla="*/ 15 w 159"/>
                <a:gd name="T69" fmla="*/ 17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AU"/>
            </a:p>
          </p:txBody>
        </p:sp>
        <p:sp>
          <p:nvSpPr>
            <p:cNvPr id="2483" name="Freeform 433"/>
            <p:cNvSpPr>
              <a:spLocks/>
            </p:cNvSpPr>
            <p:nvPr/>
          </p:nvSpPr>
          <p:spPr bwMode="auto">
            <a:xfrm>
              <a:off x="534" y="1280"/>
              <a:ext cx="1205" cy="539"/>
            </a:xfrm>
            <a:custGeom>
              <a:avLst/>
              <a:gdLst>
                <a:gd name="T0" fmla="*/ 946 w 3734"/>
                <a:gd name="T1" fmla="*/ 447 h 1644"/>
                <a:gd name="T2" fmla="*/ 825 w 3734"/>
                <a:gd name="T3" fmla="*/ 499 h 1644"/>
                <a:gd name="T4" fmla="*/ 746 w 3734"/>
                <a:gd name="T5" fmla="*/ 522 h 1644"/>
                <a:gd name="T6" fmla="*/ 740 w 3734"/>
                <a:gd name="T7" fmla="*/ 536 h 1644"/>
                <a:gd name="T8" fmla="*/ 703 w 3734"/>
                <a:gd name="T9" fmla="*/ 527 h 1644"/>
                <a:gd name="T10" fmla="*/ 735 w 3734"/>
                <a:gd name="T11" fmla="*/ 496 h 1644"/>
                <a:gd name="T12" fmla="*/ 699 w 3734"/>
                <a:gd name="T13" fmla="*/ 464 h 1644"/>
                <a:gd name="T14" fmla="*/ 676 w 3734"/>
                <a:gd name="T15" fmla="*/ 425 h 1644"/>
                <a:gd name="T16" fmla="*/ 628 w 3734"/>
                <a:gd name="T17" fmla="*/ 432 h 1644"/>
                <a:gd name="T18" fmla="*/ 572 w 3734"/>
                <a:gd name="T19" fmla="*/ 420 h 1644"/>
                <a:gd name="T20" fmla="*/ 84 w 3734"/>
                <a:gd name="T21" fmla="*/ 405 h 1644"/>
                <a:gd name="T22" fmla="*/ 41 w 3734"/>
                <a:gd name="T23" fmla="*/ 369 h 1644"/>
                <a:gd name="T24" fmla="*/ 49 w 3734"/>
                <a:gd name="T25" fmla="*/ 341 h 1644"/>
                <a:gd name="T26" fmla="*/ 47 w 3734"/>
                <a:gd name="T27" fmla="*/ 304 h 1644"/>
                <a:gd name="T28" fmla="*/ 84 w 3734"/>
                <a:gd name="T29" fmla="*/ 282 h 1644"/>
                <a:gd name="T30" fmla="*/ 81 w 3734"/>
                <a:gd name="T31" fmla="*/ 245 h 1644"/>
                <a:gd name="T32" fmla="*/ 41 w 3734"/>
                <a:gd name="T33" fmla="*/ 218 h 1644"/>
                <a:gd name="T34" fmla="*/ 194 w 3734"/>
                <a:gd name="T35" fmla="*/ 37 h 1644"/>
                <a:gd name="T36" fmla="*/ 370 w 3734"/>
                <a:gd name="T37" fmla="*/ 34 h 1644"/>
                <a:gd name="T38" fmla="*/ 418 w 3734"/>
                <a:gd name="T39" fmla="*/ 38 h 1644"/>
                <a:gd name="T40" fmla="*/ 530 w 3734"/>
                <a:gd name="T41" fmla="*/ 54 h 1644"/>
                <a:gd name="T42" fmla="*/ 572 w 3734"/>
                <a:gd name="T43" fmla="*/ 68 h 1644"/>
                <a:gd name="T44" fmla="*/ 670 w 3734"/>
                <a:gd name="T45" fmla="*/ 63 h 1644"/>
                <a:gd name="T46" fmla="*/ 738 w 3734"/>
                <a:gd name="T47" fmla="*/ 71 h 1644"/>
                <a:gd name="T48" fmla="*/ 763 w 3734"/>
                <a:gd name="T49" fmla="*/ 71 h 1644"/>
                <a:gd name="T50" fmla="*/ 813 w 3734"/>
                <a:gd name="T51" fmla="*/ 40 h 1644"/>
                <a:gd name="T52" fmla="*/ 835 w 3734"/>
                <a:gd name="T53" fmla="*/ 1 h 1644"/>
                <a:gd name="T54" fmla="*/ 853 w 3734"/>
                <a:gd name="T55" fmla="*/ 34 h 1644"/>
                <a:gd name="T56" fmla="*/ 860 w 3734"/>
                <a:gd name="T57" fmla="*/ 54 h 1644"/>
                <a:gd name="T58" fmla="*/ 876 w 3734"/>
                <a:gd name="T59" fmla="*/ 64 h 1644"/>
                <a:gd name="T60" fmla="*/ 933 w 3734"/>
                <a:gd name="T61" fmla="*/ 40 h 1644"/>
                <a:gd name="T62" fmla="*/ 980 w 3734"/>
                <a:gd name="T63" fmla="*/ 44 h 1644"/>
                <a:gd name="T64" fmla="*/ 930 w 3734"/>
                <a:gd name="T65" fmla="*/ 89 h 1644"/>
                <a:gd name="T66" fmla="*/ 900 w 3734"/>
                <a:gd name="T67" fmla="*/ 95 h 1644"/>
                <a:gd name="T68" fmla="*/ 829 w 3734"/>
                <a:gd name="T69" fmla="*/ 100 h 1644"/>
                <a:gd name="T70" fmla="*/ 807 w 3734"/>
                <a:gd name="T71" fmla="*/ 132 h 1644"/>
                <a:gd name="T72" fmla="*/ 753 w 3734"/>
                <a:gd name="T73" fmla="*/ 154 h 1644"/>
                <a:gd name="T74" fmla="*/ 673 w 3734"/>
                <a:gd name="T75" fmla="*/ 205 h 1644"/>
                <a:gd name="T76" fmla="*/ 680 w 3734"/>
                <a:gd name="T77" fmla="*/ 260 h 1644"/>
                <a:gd name="T78" fmla="*/ 762 w 3734"/>
                <a:gd name="T79" fmla="*/ 297 h 1644"/>
                <a:gd name="T80" fmla="*/ 788 w 3734"/>
                <a:gd name="T81" fmla="*/ 347 h 1644"/>
                <a:gd name="T82" fmla="*/ 844 w 3734"/>
                <a:gd name="T83" fmla="*/ 324 h 1644"/>
                <a:gd name="T84" fmla="*/ 919 w 3734"/>
                <a:gd name="T85" fmla="*/ 257 h 1644"/>
                <a:gd name="T86" fmla="*/ 935 w 3734"/>
                <a:gd name="T87" fmla="*/ 196 h 1644"/>
                <a:gd name="T88" fmla="*/ 1018 w 3734"/>
                <a:gd name="T89" fmla="*/ 164 h 1644"/>
                <a:gd name="T90" fmla="*/ 1057 w 3734"/>
                <a:gd name="T91" fmla="*/ 194 h 1644"/>
                <a:gd name="T92" fmla="*/ 1041 w 3734"/>
                <a:gd name="T93" fmla="*/ 241 h 1644"/>
                <a:gd name="T94" fmla="*/ 1127 w 3734"/>
                <a:gd name="T95" fmla="*/ 201 h 1644"/>
                <a:gd name="T96" fmla="*/ 1144 w 3734"/>
                <a:gd name="T97" fmla="*/ 254 h 1644"/>
                <a:gd name="T98" fmla="*/ 1182 w 3734"/>
                <a:gd name="T99" fmla="*/ 303 h 1644"/>
                <a:gd name="T100" fmla="*/ 1167 w 3734"/>
                <a:gd name="T101" fmla="*/ 315 h 1644"/>
                <a:gd name="T102" fmla="*/ 1192 w 3734"/>
                <a:gd name="T103" fmla="*/ 337 h 1644"/>
                <a:gd name="T104" fmla="*/ 1148 w 3734"/>
                <a:gd name="T105" fmla="*/ 363 h 1644"/>
                <a:gd name="T106" fmla="*/ 1017 w 3734"/>
                <a:gd name="T107" fmla="*/ 383 h 1644"/>
                <a:gd name="T108" fmla="*/ 921 w 3734"/>
                <a:gd name="T109" fmla="*/ 438 h 1644"/>
                <a:gd name="T110" fmla="*/ 937 w 3734"/>
                <a:gd name="T111" fmla="*/ 438 h 1644"/>
                <a:gd name="T112" fmla="*/ 1038 w 3734"/>
                <a:gd name="T113" fmla="*/ 412 h 1644"/>
                <a:gd name="T114" fmla="*/ 989 w 3734"/>
                <a:gd name="T115" fmla="*/ 426 h 1644"/>
                <a:gd name="T116" fmla="*/ 1013 w 3734"/>
                <a:gd name="T117" fmla="*/ 456 h 1644"/>
                <a:gd name="T118" fmla="*/ 1048 w 3734"/>
                <a:gd name="T119" fmla="*/ 483 h 1644"/>
                <a:gd name="T120" fmla="*/ 974 w 3734"/>
                <a:gd name="T121" fmla="*/ 513 h 1644"/>
                <a:gd name="T122" fmla="*/ 1029 w 3734"/>
                <a:gd name="T123" fmla="*/ 481 h 1644"/>
                <a:gd name="T124" fmla="*/ 973 w 3734"/>
                <a:gd name="T125" fmla="*/ 487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AU"/>
            </a:p>
          </p:txBody>
        </p:sp>
      </p:grpSp>
      <p:sp>
        <p:nvSpPr>
          <p:cNvPr id="2324" name="Freeform 434"/>
          <p:cNvSpPr>
            <a:spLocks/>
          </p:cNvSpPr>
          <p:nvPr>
            <p:custDataLst>
              <p:tags r:id="rId275"/>
            </p:custDataLst>
          </p:nvPr>
        </p:nvSpPr>
        <p:spPr bwMode="auto">
          <a:xfrm>
            <a:off x="4757738" y="3541713"/>
            <a:ext cx="127000" cy="158750"/>
          </a:xfrm>
          <a:custGeom>
            <a:avLst/>
            <a:gdLst>
              <a:gd name="T0" fmla="*/ 2147483647 w 292"/>
              <a:gd name="T1" fmla="*/ 2147483647 h 308"/>
              <a:gd name="T2" fmla="*/ 2147483647 w 292"/>
              <a:gd name="T3" fmla="*/ 2147483647 h 308"/>
              <a:gd name="T4" fmla="*/ 2147483647 w 292"/>
              <a:gd name="T5" fmla="*/ 2147483647 h 308"/>
              <a:gd name="T6" fmla="*/ 2147483647 w 292"/>
              <a:gd name="T7" fmla="*/ 2147483647 h 308"/>
              <a:gd name="T8" fmla="*/ 2147483647 w 292"/>
              <a:gd name="T9" fmla="*/ 2147483647 h 308"/>
              <a:gd name="T10" fmla="*/ 2147483647 w 292"/>
              <a:gd name="T11" fmla="*/ 2147483647 h 308"/>
              <a:gd name="T12" fmla="*/ 2147483647 w 292"/>
              <a:gd name="T13" fmla="*/ 2147483647 h 308"/>
              <a:gd name="T14" fmla="*/ 2147483647 w 292"/>
              <a:gd name="T15" fmla="*/ 2147483647 h 308"/>
              <a:gd name="T16" fmla="*/ 2147483647 w 292"/>
              <a:gd name="T17" fmla="*/ 2147483647 h 308"/>
              <a:gd name="T18" fmla="*/ 2147483647 w 292"/>
              <a:gd name="T19" fmla="*/ 2147483647 h 308"/>
              <a:gd name="T20" fmla="*/ 2147483647 w 292"/>
              <a:gd name="T21" fmla="*/ 2147483647 h 308"/>
              <a:gd name="T22" fmla="*/ 2147483647 w 292"/>
              <a:gd name="T23" fmla="*/ 2147483647 h 308"/>
              <a:gd name="T24" fmla="*/ 2147483647 w 292"/>
              <a:gd name="T25" fmla="*/ 2147483647 h 308"/>
              <a:gd name="T26" fmla="*/ 2147483647 w 292"/>
              <a:gd name="T27" fmla="*/ 2147483647 h 308"/>
              <a:gd name="T28" fmla="*/ 2147483647 w 292"/>
              <a:gd name="T29" fmla="*/ 2147483647 h 308"/>
              <a:gd name="T30" fmla="*/ 2147483647 w 292"/>
              <a:gd name="T31" fmla="*/ 2147483647 h 308"/>
              <a:gd name="T32" fmla="*/ 2147483647 w 292"/>
              <a:gd name="T33" fmla="*/ 2147483647 h 308"/>
              <a:gd name="T34" fmla="*/ 0 w 292"/>
              <a:gd name="T35" fmla="*/ 2147483647 h 308"/>
              <a:gd name="T36" fmla="*/ 2147483647 w 292"/>
              <a:gd name="T37" fmla="*/ 2147483647 h 308"/>
              <a:gd name="T38" fmla="*/ 2147483647 w 292"/>
              <a:gd name="T39" fmla="*/ 2147483647 h 308"/>
              <a:gd name="T40" fmla="*/ 2147483647 w 292"/>
              <a:gd name="T41" fmla="*/ 2147483647 h 308"/>
              <a:gd name="T42" fmla="*/ 2147483647 w 292"/>
              <a:gd name="T43" fmla="*/ 2147483647 h 308"/>
              <a:gd name="T44" fmla="*/ 2147483647 w 292"/>
              <a:gd name="T45" fmla="*/ 2147483647 h 308"/>
              <a:gd name="T46" fmla="*/ 2147483647 w 292"/>
              <a:gd name="T47" fmla="*/ 2147483647 h 308"/>
              <a:gd name="T48" fmla="*/ 2147483647 w 292"/>
              <a:gd name="T49" fmla="*/ 2147483647 h 308"/>
              <a:gd name="T50" fmla="*/ 2147483647 w 292"/>
              <a:gd name="T51" fmla="*/ 2147483647 h 308"/>
              <a:gd name="T52" fmla="*/ 2147483647 w 292"/>
              <a:gd name="T53" fmla="*/ 2147483647 h 308"/>
              <a:gd name="T54" fmla="*/ 2147483647 w 292"/>
              <a:gd name="T55" fmla="*/ 2147483647 h 308"/>
              <a:gd name="T56" fmla="*/ 2147483647 w 292"/>
              <a:gd name="T57" fmla="*/ 2147483647 h 308"/>
              <a:gd name="T58" fmla="*/ 2147483647 w 292"/>
              <a:gd name="T59" fmla="*/ 2147483647 h 308"/>
              <a:gd name="T60" fmla="*/ 2147483647 w 292"/>
              <a:gd name="T61" fmla="*/ 2147483647 h 308"/>
              <a:gd name="T62" fmla="*/ 2147483647 w 292"/>
              <a:gd name="T63" fmla="*/ 2147483647 h 308"/>
              <a:gd name="T64" fmla="*/ 2147483647 w 292"/>
              <a:gd name="T65" fmla="*/ 2147483647 h 308"/>
              <a:gd name="T66" fmla="*/ 2147483647 w 292"/>
              <a:gd name="T67" fmla="*/ 2147483647 h 308"/>
              <a:gd name="T68" fmla="*/ 2147483647 w 292"/>
              <a:gd name="T69" fmla="*/ 2147483647 h 308"/>
              <a:gd name="T70" fmla="*/ 2147483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cmpd="sng">
            <a:solidFill>
              <a:srgbClr val="FFFFFF"/>
            </a:solidFill>
            <a:prstDash val="solid"/>
            <a:round/>
            <a:headEnd/>
            <a:tailEnd/>
          </a:ln>
        </p:spPr>
        <p:txBody>
          <a:bodyPr/>
          <a:lstStyle/>
          <a:p>
            <a:endParaRPr lang="en-AU"/>
          </a:p>
        </p:txBody>
      </p:sp>
      <p:sp>
        <p:nvSpPr>
          <p:cNvPr id="2325" name="Freeform 435"/>
          <p:cNvSpPr>
            <a:spLocks/>
          </p:cNvSpPr>
          <p:nvPr>
            <p:custDataLst>
              <p:tags r:id="rId276"/>
            </p:custDataLst>
          </p:nvPr>
        </p:nvSpPr>
        <p:spPr bwMode="auto">
          <a:xfrm>
            <a:off x="4864100" y="3692525"/>
            <a:ext cx="6350" cy="57150"/>
          </a:xfrm>
          <a:custGeom>
            <a:avLst/>
            <a:gdLst>
              <a:gd name="T0" fmla="*/ 2147483647 w 14"/>
              <a:gd name="T1" fmla="*/ 0 h 7"/>
              <a:gd name="T2" fmla="*/ 2147483647 w 14"/>
              <a:gd name="T3" fmla="*/ 2147483647 h 7"/>
              <a:gd name="T4" fmla="*/ 2147483647 w 14"/>
              <a:gd name="T5" fmla="*/ 2147483647 h 7"/>
              <a:gd name="T6" fmla="*/ 0 w 14"/>
              <a:gd name="T7" fmla="*/ 2147483647 h 7"/>
              <a:gd name="T8" fmla="*/ 2147483647 w 14"/>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7">
                <a:moveTo>
                  <a:pt x="11" y="0"/>
                </a:moveTo>
                <a:lnTo>
                  <a:pt x="13" y="3"/>
                </a:lnTo>
                <a:lnTo>
                  <a:pt x="14" y="7"/>
                </a:lnTo>
                <a:lnTo>
                  <a:pt x="0" y="7"/>
                </a:lnTo>
                <a:lnTo>
                  <a:pt x="11" y="0"/>
                </a:lnTo>
              </a:path>
            </a:pathLst>
          </a:custGeom>
          <a:solidFill>
            <a:srgbClr val="C0C0C0"/>
          </a:solidFill>
          <a:ln w="9525" cmpd="sng">
            <a:solidFill>
              <a:srgbClr val="FFFFFF"/>
            </a:solidFill>
            <a:prstDash val="solid"/>
            <a:round/>
            <a:headEnd/>
            <a:tailEnd/>
          </a:ln>
        </p:spPr>
        <p:txBody>
          <a:bodyPr/>
          <a:lstStyle/>
          <a:p>
            <a:endParaRPr lang="en-AU"/>
          </a:p>
        </p:txBody>
      </p:sp>
      <p:sp>
        <p:nvSpPr>
          <p:cNvPr id="2326" name="Freeform 436"/>
          <p:cNvSpPr>
            <a:spLocks/>
          </p:cNvSpPr>
          <p:nvPr>
            <p:custDataLst>
              <p:tags r:id="rId277"/>
            </p:custDataLst>
          </p:nvPr>
        </p:nvSpPr>
        <p:spPr bwMode="auto">
          <a:xfrm>
            <a:off x="4354513" y="2928938"/>
            <a:ext cx="249237" cy="500062"/>
          </a:xfrm>
          <a:custGeom>
            <a:avLst/>
            <a:gdLst>
              <a:gd name="T0" fmla="*/ 2147483647 w 581"/>
              <a:gd name="T1" fmla="*/ 2147483647 h 955"/>
              <a:gd name="T2" fmla="*/ 2147483647 w 581"/>
              <a:gd name="T3" fmla="*/ 2147483647 h 955"/>
              <a:gd name="T4" fmla="*/ 2147483647 w 581"/>
              <a:gd name="T5" fmla="*/ 2147483647 h 955"/>
              <a:gd name="T6" fmla="*/ 2147483647 w 581"/>
              <a:gd name="T7" fmla="*/ 2147483647 h 955"/>
              <a:gd name="T8" fmla="*/ 2147483647 w 581"/>
              <a:gd name="T9" fmla="*/ 2147483647 h 955"/>
              <a:gd name="T10" fmla="*/ 2147483647 w 581"/>
              <a:gd name="T11" fmla="*/ 2147483647 h 955"/>
              <a:gd name="T12" fmla="*/ 2147483647 w 581"/>
              <a:gd name="T13" fmla="*/ 2147483647 h 955"/>
              <a:gd name="T14" fmla="*/ 2147483647 w 581"/>
              <a:gd name="T15" fmla="*/ 2147483647 h 955"/>
              <a:gd name="T16" fmla="*/ 2147483647 w 581"/>
              <a:gd name="T17" fmla="*/ 2147483647 h 955"/>
              <a:gd name="T18" fmla="*/ 2147483647 w 581"/>
              <a:gd name="T19" fmla="*/ 2147483647 h 955"/>
              <a:gd name="T20" fmla="*/ 2147483647 w 581"/>
              <a:gd name="T21" fmla="*/ 2147483647 h 955"/>
              <a:gd name="T22" fmla="*/ 2147483647 w 581"/>
              <a:gd name="T23" fmla="*/ 2147483647 h 955"/>
              <a:gd name="T24" fmla="*/ 2147483647 w 581"/>
              <a:gd name="T25" fmla="*/ 2147483647 h 955"/>
              <a:gd name="T26" fmla="*/ 2147483647 w 581"/>
              <a:gd name="T27" fmla="*/ 2147483647 h 955"/>
              <a:gd name="T28" fmla="*/ 2147483647 w 581"/>
              <a:gd name="T29" fmla="*/ 2147483647 h 955"/>
              <a:gd name="T30" fmla="*/ 2147483647 w 581"/>
              <a:gd name="T31" fmla="*/ 2147483647 h 955"/>
              <a:gd name="T32" fmla="*/ 2147483647 w 581"/>
              <a:gd name="T33" fmla="*/ 2147483647 h 955"/>
              <a:gd name="T34" fmla="*/ 2147483647 w 581"/>
              <a:gd name="T35" fmla="*/ 2147483647 h 955"/>
              <a:gd name="T36" fmla="*/ 2147483647 w 581"/>
              <a:gd name="T37" fmla="*/ 2147483647 h 955"/>
              <a:gd name="T38" fmla="*/ 2147483647 w 581"/>
              <a:gd name="T39" fmla="*/ 2147483647 h 955"/>
              <a:gd name="T40" fmla="*/ 2147483647 w 581"/>
              <a:gd name="T41" fmla="*/ 2147483647 h 955"/>
              <a:gd name="T42" fmla="*/ 2147483647 w 581"/>
              <a:gd name="T43" fmla="*/ 2147483647 h 955"/>
              <a:gd name="T44" fmla="*/ 2147483647 w 581"/>
              <a:gd name="T45" fmla="*/ 2147483647 h 955"/>
              <a:gd name="T46" fmla="*/ 2147483647 w 581"/>
              <a:gd name="T47" fmla="*/ 2147483647 h 955"/>
              <a:gd name="T48" fmla="*/ 2147483647 w 581"/>
              <a:gd name="T49" fmla="*/ 2147483647 h 955"/>
              <a:gd name="T50" fmla="*/ 2147483647 w 581"/>
              <a:gd name="T51" fmla="*/ 2147483647 h 955"/>
              <a:gd name="T52" fmla="*/ 2147483647 w 581"/>
              <a:gd name="T53" fmla="*/ 2147483647 h 955"/>
              <a:gd name="T54" fmla="*/ 2147483647 w 581"/>
              <a:gd name="T55" fmla="*/ 2147483647 h 955"/>
              <a:gd name="T56" fmla="*/ 2147483647 w 581"/>
              <a:gd name="T57" fmla="*/ 2147483647 h 955"/>
              <a:gd name="T58" fmla="*/ 2147483647 w 581"/>
              <a:gd name="T59" fmla="*/ 2147483647 h 955"/>
              <a:gd name="T60" fmla="*/ 2147483647 w 581"/>
              <a:gd name="T61" fmla="*/ 2147483647 h 955"/>
              <a:gd name="T62" fmla="*/ 2147483647 w 581"/>
              <a:gd name="T63" fmla="*/ 2147483647 h 955"/>
              <a:gd name="T64" fmla="*/ 2147483647 w 581"/>
              <a:gd name="T65" fmla="*/ 2147483647 h 955"/>
              <a:gd name="T66" fmla="*/ 2147483647 w 581"/>
              <a:gd name="T67" fmla="*/ 2147483647 h 955"/>
              <a:gd name="T68" fmla="*/ 2147483647 w 581"/>
              <a:gd name="T69" fmla="*/ 2147483647 h 955"/>
              <a:gd name="T70" fmla="*/ 2147483647 w 581"/>
              <a:gd name="T71" fmla="*/ 2147483647 h 955"/>
              <a:gd name="T72" fmla="*/ 2147483647 w 581"/>
              <a:gd name="T73" fmla="*/ 2147483647 h 955"/>
              <a:gd name="T74" fmla="*/ 2147483647 w 581"/>
              <a:gd name="T75" fmla="*/ 2147483647 h 955"/>
              <a:gd name="T76" fmla="*/ 2147483647 w 581"/>
              <a:gd name="T77" fmla="*/ 2147483647 h 955"/>
              <a:gd name="T78" fmla="*/ 2147483647 w 581"/>
              <a:gd name="T79" fmla="*/ 2147483647 h 955"/>
              <a:gd name="T80" fmla="*/ 2147483647 w 581"/>
              <a:gd name="T81" fmla="*/ 2147483647 h 955"/>
              <a:gd name="T82" fmla="*/ 2147483647 w 581"/>
              <a:gd name="T83" fmla="*/ 2147483647 h 955"/>
              <a:gd name="T84" fmla="*/ 2147483647 w 581"/>
              <a:gd name="T85" fmla="*/ 2147483647 h 955"/>
              <a:gd name="T86" fmla="*/ 2147483647 w 581"/>
              <a:gd name="T87" fmla="*/ 2147483647 h 955"/>
              <a:gd name="T88" fmla="*/ 2147483647 w 581"/>
              <a:gd name="T89" fmla="*/ 2147483647 h 955"/>
              <a:gd name="T90" fmla="*/ 2147483647 w 581"/>
              <a:gd name="T91" fmla="*/ 2147483647 h 955"/>
              <a:gd name="T92" fmla="*/ 2147483647 w 581"/>
              <a:gd name="T93" fmla="*/ 2147483647 h 955"/>
              <a:gd name="T94" fmla="*/ 2147483647 w 581"/>
              <a:gd name="T95" fmla="*/ 2147483647 h 955"/>
              <a:gd name="T96" fmla="*/ 2147483647 w 581"/>
              <a:gd name="T97" fmla="*/ 2147483647 h 955"/>
              <a:gd name="T98" fmla="*/ 2147483647 w 581"/>
              <a:gd name="T99" fmla="*/ 2147483647 h 955"/>
              <a:gd name="T100" fmla="*/ 2147483647 w 581"/>
              <a:gd name="T101" fmla="*/ 0 h 955"/>
              <a:gd name="T102" fmla="*/ 2147483647 w 581"/>
              <a:gd name="T103" fmla="*/ 2147483647 h 955"/>
              <a:gd name="T104" fmla="*/ 2147483647 w 581"/>
              <a:gd name="T105" fmla="*/ 214748364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mpd="sng">
            <a:solidFill>
              <a:srgbClr val="FFFFFF"/>
            </a:solidFill>
            <a:prstDash val="solid"/>
            <a:round/>
            <a:headEnd/>
            <a:tailEnd/>
          </a:ln>
        </p:spPr>
        <p:txBody>
          <a:bodyPr/>
          <a:lstStyle/>
          <a:p>
            <a:endParaRPr lang="en-AU"/>
          </a:p>
        </p:txBody>
      </p:sp>
      <p:sp>
        <p:nvSpPr>
          <p:cNvPr id="2327" name="Freeform 437"/>
          <p:cNvSpPr>
            <a:spLocks/>
          </p:cNvSpPr>
          <p:nvPr>
            <p:custDataLst>
              <p:tags r:id="rId278"/>
            </p:custDataLst>
          </p:nvPr>
        </p:nvSpPr>
        <p:spPr bwMode="auto">
          <a:xfrm>
            <a:off x="4030663" y="2311400"/>
            <a:ext cx="15875" cy="57150"/>
          </a:xfrm>
          <a:custGeom>
            <a:avLst/>
            <a:gdLst>
              <a:gd name="T0" fmla="*/ 2147483647 w 45"/>
              <a:gd name="T1" fmla="*/ 0 h 36"/>
              <a:gd name="T2" fmla="*/ 0 w 45"/>
              <a:gd name="T3" fmla="*/ 2147483647 h 36"/>
              <a:gd name="T4" fmla="*/ 2147483647 w 45"/>
              <a:gd name="T5" fmla="*/ 2147483647 h 36"/>
              <a:gd name="T6" fmla="*/ 2147483647 w 45"/>
              <a:gd name="T7" fmla="*/ 2147483647 h 36"/>
              <a:gd name="T8" fmla="*/ 2147483647 w 45"/>
              <a:gd name="T9" fmla="*/ 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36">
                <a:moveTo>
                  <a:pt x="26" y="0"/>
                </a:moveTo>
                <a:lnTo>
                  <a:pt x="0" y="18"/>
                </a:lnTo>
                <a:lnTo>
                  <a:pt x="23" y="36"/>
                </a:lnTo>
                <a:lnTo>
                  <a:pt x="45" y="15"/>
                </a:lnTo>
                <a:lnTo>
                  <a:pt x="26" y="0"/>
                </a:lnTo>
                <a:close/>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grpSp>
        <p:nvGrpSpPr>
          <p:cNvPr id="2328" name="Group 438"/>
          <p:cNvGrpSpPr>
            <a:grpSpLocks/>
          </p:cNvGrpSpPr>
          <p:nvPr>
            <p:custDataLst>
              <p:tags r:id="rId279"/>
            </p:custDataLst>
          </p:nvPr>
        </p:nvGrpSpPr>
        <p:grpSpPr bwMode="auto">
          <a:xfrm>
            <a:off x="2330450" y="4371975"/>
            <a:ext cx="384175" cy="1031875"/>
            <a:chOff x="1589" y="3126"/>
            <a:chExt cx="290" cy="657"/>
          </a:xfrm>
        </p:grpSpPr>
        <p:sp>
          <p:nvSpPr>
            <p:cNvPr id="2439" name="Freeform 439"/>
            <p:cNvSpPr>
              <a:spLocks/>
            </p:cNvSpPr>
            <p:nvPr/>
          </p:nvSpPr>
          <p:spPr bwMode="auto">
            <a:xfrm>
              <a:off x="1748" y="3531"/>
              <a:ext cx="15" cy="17"/>
            </a:xfrm>
            <a:custGeom>
              <a:avLst/>
              <a:gdLst>
                <a:gd name="T0" fmla="*/ 1 w 46"/>
                <a:gd name="T1" fmla="*/ 0 h 51"/>
                <a:gd name="T2" fmla="*/ 0 w 46"/>
                <a:gd name="T3" fmla="*/ 0 h 51"/>
                <a:gd name="T4" fmla="*/ 0 w 46"/>
                <a:gd name="T5" fmla="*/ 0 h 51"/>
                <a:gd name="T6" fmla="*/ 0 w 46"/>
                <a:gd name="T7" fmla="*/ 0 h 51"/>
                <a:gd name="T8" fmla="*/ 0 w 46"/>
                <a:gd name="T9" fmla="*/ 0 h 51"/>
                <a:gd name="T10" fmla="*/ 0 w 46"/>
                <a:gd name="T11" fmla="*/ 0 h 51"/>
                <a:gd name="T12" fmla="*/ 0 w 46"/>
                <a:gd name="T13" fmla="*/ 0 h 51"/>
                <a:gd name="T14" fmla="*/ 0 w 46"/>
                <a:gd name="T15" fmla="*/ 0 h 51"/>
                <a:gd name="T16" fmla="*/ 0 w 46"/>
                <a:gd name="T17" fmla="*/ 0 h 51"/>
                <a:gd name="T18" fmla="*/ 0 w 46"/>
                <a:gd name="T19" fmla="*/ 0 h 51"/>
                <a:gd name="T20" fmla="*/ 0 w 46"/>
                <a:gd name="T21" fmla="*/ 0 h 51"/>
                <a:gd name="T22" fmla="*/ 0 w 46"/>
                <a:gd name="T23" fmla="*/ 1 h 51"/>
                <a:gd name="T24" fmla="*/ 0 w 46"/>
                <a:gd name="T25" fmla="*/ 1 h 51"/>
                <a:gd name="T26" fmla="*/ 0 w 46"/>
                <a:gd name="T27" fmla="*/ 1 h 51"/>
                <a:gd name="T28" fmla="*/ 0 w 46"/>
                <a:gd name="T29" fmla="*/ 1 h 51"/>
                <a:gd name="T30" fmla="*/ 0 w 46"/>
                <a:gd name="T31" fmla="*/ 1 h 51"/>
                <a:gd name="T32" fmla="*/ 0 w 46"/>
                <a:gd name="T33" fmla="*/ 1 h 51"/>
                <a:gd name="T34" fmla="*/ 0 w 46"/>
                <a:gd name="T35" fmla="*/ 1 h 51"/>
                <a:gd name="T36" fmla="*/ 0 w 46"/>
                <a:gd name="T37" fmla="*/ 1 h 51"/>
                <a:gd name="T38" fmla="*/ 1 w 46"/>
                <a:gd name="T39" fmla="*/ 1 h 51"/>
                <a:gd name="T40" fmla="*/ 1 w 46"/>
                <a:gd name="T41" fmla="*/ 0 h 51"/>
                <a:gd name="T42" fmla="*/ 1 w 46"/>
                <a:gd name="T43" fmla="*/ 0 h 51"/>
                <a:gd name="T44" fmla="*/ 1 w 46"/>
                <a:gd name="T45" fmla="*/ 0 h 51"/>
                <a:gd name="T46" fmla="*/ 1 w 46"/>
                <a:gd name="T47" fmla="*/ 0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440" name="Freeform 440"/>
            <p:cNvSpPr>
              <a:spLocks/>
            </p:cNvSpPr>
            <p:nvPr/>
          </p:nvSpPr>
          <p:spPr bwMode="auto">
            <a:xfrm>
              <a:off x="1759" y="3730"/>
              <a:ext cx="63" cy="53"/>
            </a:xfrm>
            <a:custGeom>
              <a:avLst/>
              <a:gdLst>
                <a:gd name="T0" fmla="*/ 0 w 192"/>
                <a:gd name="T1" fmla="*/ 0 h 158"/>
                <a:gd name="T2" fmla="*/ 0 w 192"/>
                <a:gd name="T3" fmla="*/ 0 h 158"/>
                <a:gd name="T4" fmla="*/ 0 w 192"/>
                <a:gd name="T5" fmla="*/ 0 h 158"/>
                <a:gd name="T6" fmla="*/ 0 w 192"/>
                <a:gd name="T7" fmla="*/ 0 h 158"/>
                <a:gd name="T8" fmla="*/ 0 w 192"/>
                <a:gd name="T9" fmla="*/ 1 h 158"/>
                <a:gd name="T10" fmla="*/ 0 w 192"/>
                <a:gd name="T11" fmla="*/ 1 h 158"/>
                <a:gd name="T12" fmla="*/ 0 w 192"/>
                <a:gd name="T13" fmla="*/ 1 h 158"/>
                <a:gd name="T14" fmla="*/ 0 w 192"/>
                <a:gd name="T15" fmla="*/ 1 h 158"/>
                <a:gd name="T16" fmla="*/ 0 w 192"/>
                <a:gd name="T17" fmla="*/ 1 h 158"/>
                <a:gd name="T18" fmla="*/ 1 w 192"/>
                <a:gd name="T19" fmla="*/ 2 h 158"/>
                <a:gd name="T20" fmla="*/ 1 w 192"/>
                <a:gd name="T21" fmla="*/ 2 h 158"/>
                <a:gd name="T22" fmla="*/ 1 w 192"/>
                <a:gd name="T23" fmla="*/ 2 h 158"/>
                <a:gd name="T24" fmla="*/ 1 w 192"/>
                <a:gd name="T25" fmla="*/ 2 h 158"/>
                <a:gd name="T26" fmla="*/ 1 w 192"/>
                <a:gd name="T27" fmla="*/ 2 h 158"/>
                <a:gd name="T28" fmla="*/ 1 w 192"/>
                <a:gd name="T29" fmla="*/ 2 h 158"/>
                <a:gd name="T30" fmla="*/ 1 w 192"/>
                <a:gd name="T31" fmla="*/ 2 h 158"/>
                <a:gd name="T32" fmla="*/ 1 w 192"/>
                <a:gd name="T33" fmla="*/ 2 h 158"/>
                <a:gd name="T34" fmla="*/ 2 w 192"/>
                <a:gd name="T35" fmla="*/ 2 h 158"/>
                <a:gd name="T36" fmla="*/ 2 w 192"/>
                <a:gd name="T37" fmla="*/ 2 h 158"/>
                <a:gd name="T38" fmla="*/ 2 w 192"/>
                <a:gd name="T39" fmla="*/ 2 h 158"/>
                <a:gd name="T40" fmla="*/ 2 w 192"/>
                <a:gd name="T41" fmla="*/ 2 h 158"/>
                <a:gd name="T42" fmla="*/ 2 w 192"/>
                <a:gd name="T43" fmla="*/ 2 h 158"/>
                <a:gd name="T44" fmla="*/ 2 w 192"/>
                <a:gd name="T45" fmla="*/ 2 h 158"/>
                <a:gd name="T46" fmla="*/ 2 w 192"/>
                <a:gd name="T47" fmla="*/ 2 h 158"/>
                <a:gd name="T48" fmla="*/ 2 w 192"/>
                <a:gd name="T49" fmla="*/ 2 h 158"/>
                <a:gd name="T50" fmla="*/ 1 w 192"/>
                <a:gd name="T51" fmla="*/ 2 h 158"/>
                <a:gd name="T52" fmla="*/ 1 w 192"/>
                <a:gd name="T53" fmla="*/ 1 h 158"/>
                <a:gd name="T54" fmla="*/ 1 w 192"/>
                <a:gd name="T55" fmla="*/ 1 h 158"/>
                <a:gd name="T56" fmla="*/ 1 w 192"/>
                <a:gd name="T57" fmla="*/ 1 h 158"/>
                <a:gd name="T58" fmla="*/ 1 w 192"/>
                <a:gd name="T59" fmla="*/ 1 h 158"/>
                <a:gd name="T60" fmla="*/ 1 w 192"/>
                <a:gd name="T61" fmla="*/ 1 h 158"/>
                <a:gd name="T62" fmla="*/ 1 w 192"/>
                <a:gd name="T63" fmla="*/ 1 h 158"/>
                <a:gd name="T64" fmla="*/ 0 w 192"/>
                <a:gd name="T65" fmla="*/ 1 h 158"/>
                <a:gd name="T66" fmla="*/ 0 w 192"/>
                <a:gd name="T67" fmla="*/ 0 h 158"/>
                <a:gd name="T68" fmla="*/ 0 w 192"/>
                <a:gd name="T69" fmla="*/ 0 h 158"/>
                <a:gd name="T70" fmla="*/ 0 w 192"/>
                <a:gd name="T71" fmla="*/ 0 h 158"/>
                <a:gd name="T72" fmla="*/ 0 w 192"/>
                <a:gd name="T73" fmla="*/ 0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441" name="Freeform 441"/>
            <p:cNvSpPr>
              <a:spLocks/>
            </p:cNvSpPr>
            <p:nvPr/>
          </p:nvSpPr>
          <p:spPr bwMode="auto">
            <a:xfrm>
              <a:off x="1589" y="3126"/>
              <a:ext cx="290" cy="606"/>
            </a:xfrm>
            <a:custGeom>
              <a:avLst/>
              <a:gdLst>
                <a:gd name="T0" fmla="*/ 9 w 884"/>
                <a:gd name="T1" fmla="*/ 5 h 1818"/>
                <a:gd name="T2" fmla="*/ 10 w 884"/>
                <a:gd name="T3" fmla="*/ 4 h 1818"/>
                <a:gd name="T4" fmla="*/ 10 w 884"/>
                <a:gd name="T5" fmla="*/ 3 h 1818"/>
                <a:gd name="T6" fmla="*/ 10 w 884"/>
                <a:gd name="T7" fmla="*/ 2 h 1818"/>
                <a:gd name="T8" fmla="*/ 10 w 884"/>
                <a:gd name="T9" fmla="*/ 3 h 1818"/>
                <a:gd name="T10" fmla="*/ 9 w 884"/>
                <a:gd name="T11" fmla="*/ 4 h 1818"/>
                <a:gd name="T12" fmla="*/ 8 w 884"/>
                <a:gd name="T13" fmla="*/ 4 h 1818"/>
                <a:gd name="T14" fmla="*/ 7 w 884"/>
                <a:gd name="T15" fmla="*/ 4 h 1818"/>
                <a:gd name="T16" fmla="*/ 8 w 884"/>
                <a:gd name="T17" fmla="*/ 3 h 1818"/>
                <a:gd name="T18" fmla="*/ 6 w 884"/>
                <a:gd name="T19" fmla="*/ 2 h 1818"/>
                <a:gd name="T20" fmla="*/ 5 w 884"/>
                <a:gd name="T21" fmla="*/ 1 h 1818"/>
                <a:gd name="T22" fmla="*/ 4 w 884"/>
                <a:gd name="T23" fmla="*/ 0 h 1818"/>
                <a:gd name="T24" fmla="*/ 3 w 884"/>
                <a:gd name="T25" fmla="*/ 0 h 1818"/>
                <a:gd name="T26" fmla="*/ 3 w 884"/>
                <a:gd name="T27" fmla="*/ 0 h 1818"/>
                <a:gd name="T28" fmla="*/ 2 w 884"/>
                <a:gd name="T29" fmla="*/ 0 h 1818"/>
                <a:gd name="T30" fmla="*/ 1 w 884"/>
                <a:gd name="T31" fmla="*/ 1 h 1818"/>
                <a:gd name="T32" fmla="*/ 1 w 884"/>
                <a:gd name="T33" fmla="*/ 1 h 1818"/>
                <a:gd name="T34" fmla="*/ 0 w 884"/>
                <a:gd name="T35" fmla="*/ 2 h 1818"/>
                <a:gd name="T36" fmla="*/ 1 w 884"/>
                <a:gd name="T37" fmla="*/ 3 h 1818"/>
                <a:gd name="T38" fmla="*/ 1 w 884"/>
                <a:gd name="T39" fmla="*/ 4 h 1818"/>
                <a:gd name="T40" fmla="*/ 0 w 884"/>
                <a:gd name="T41" fmla="*/ 5 h 1818"/>
                <a:gd name="T42" fmla="*/ 0 w 884"/>
                <a:gd name="T43" fmla="*/ 8 h 1818"/>
                <a:gd name="T44" fmla="*/ 1 w 884"/>
                <a:gd name="T45" fmla="*/ 9 h 1818"/>
                <a:gd name="T46" fmla="*/ 1 w 884"/>
                <a:gd name="T47" fmla="*/ 9 h 1818"/>
                <a:gd name="T48" fmla="*/ 1 w 884"/>
                <a:gd name="T49" fmla="*/ 10 h 1818"/>
                <a:gd name="T50" fmla="*/ 1 w 884"/>
                <a:gd name="T51" fmla="*/ 10 h 1818"/>
                <a:gd name="T52" fmla="*/ 1 w 884"/>
                <a:gd name="T53" fmla="*/ 11 h 1818"/>
                <a:gd name="T54" fmla="*/ 1 w 884"/>
                <a:gd name="T55" fmla="*/ 12 h 1818"/>
                <a:gd name="T56" fmla="*/ 1 w 884"/>
                <a:gd name="T57" fmla="*/ 13 h 1818"/>
                <a:gd name="T58" fmla="*/ 1 w 884"/>
                <a:gd name="T59" fmla="*/ 14 h 1818"/>
                <a:gd name="T60" fmla="*/ 2 w 884"/>
                <a:gd name="T61" fmla="*/ 16 h 1818"/>
                <a:gd name="T62" fmla="*/ 2 w 884"/>
                <a:gd name="T63" fmla="*/ 17 h 1818"/>
                <a:gd name="T64" fmla="*/ 3 w 884"/>
                <a:gd name="T65" fmla="*/ 18 h 1818"/>
                <a:gd name="T66" fmla="*/ 3 w 884"/>
                <a:gd name="T67" fmla="*/ 19 h 1818"/>
                <a:gd name="T68" fmla="*/ 3 w 884"/>
                <a:gd name="T69" fmla="*/ 20 h 1818"/>
                <a:gd name="T70" fmla="*/ 2 w 884"/>
                <a:gd name="T71" fmla="*/ 20 h 1818"/>
                <a:gd name="T72" fmla="*/ 3 w 884"/>
                <a:gd name="T73" fmla="*/ 21 h 1818"/>
                <a:gd name="T74" fmla="*/ 4 w 884"/>
                <a:gd name="T75" fmla="*/ 22 h 1818"/>
                <a:gd name="T76" fmla="*/ 5 w 884"/>
                <a:gd name="T77" fmla="*/ 22 h 1818"/>
                <a:gd name="T78" fmla="*/ 5 w 884"/>
                <a:gd name="T79" fmla="*/ 22 h 1818"/>
                <a:gd name="T80" fmla="*/ 5 w 884"/>
                <a:gd name="T81" fmla="*/ 21 h 1818"/>
                <a:gd name="T82" fmla="*/ 6 w 884"/>
                <a:gd name="T83" fmla="*/ 20 h 1818"/>
                <a:gd name="T84" fmla="*/ 6 w 884"/>
                <a:gd name="T85" fmla="*/ 19 h 1818"/>
                <a:gd name="T86" fmla="*/ 5 w 884"/>
                <a:gd name="T87" fmla="*/ 18 h 1818"/>
                <a:gd name="T88" fmla="*/ 5 w 884"/>
                <a:gd name="T89" fmla="*/ 18 h 1818"/>
                <a:gd name="T90" fmla="*/ 5 w 884"/>
                <a:gd name="T91" fmla="*/ 17 h 1818"/>
                <a:gd name="T92" fmla="*/ 6 w 884"/>
                <a:gd name="T93" fmla="*/ 16 h 1818"/>
                <a:gd name="T94" fmla="*/ 5 w 884"/>
                <a:gd name="T95" fmla="*/ 15 h 1818"/>
                <a:gd name="T96" fmla="*/ 5 w 884"/>
                <a:gd name="T97" fmla="*/ 14 h 1818"/>
                <a:gd name="T98" fmla="*/ 6 w 884"/>
                <a:gd name="T99" fmla="*/ 14 h 1818"/>
                <a:gd name="T100" fmla="*/ 7 w 884"/>
                <a:gd name="T101" fmla="*/ 14 h 1818"/>
                <a:gd name="T102" fmla="*/ 7 w 884"/>
                <a:gd name="T103" fmla="*/ 13 h 1818"/>
                <a:gd name="T104" fmla="*/ 7 w 884"/>
                <a:gd name="T105" fmla="*/ 13 h 1818"/>
                <a:gd name="T106" fmla="*/ 8 w 884"/>
                <a:gd name="T107" fmla="*/ 13 h 1818"/>
                <a:gd name="T108" fmla="*/ 9 w 884"/>
                <a:gd name="T109" fmla="*/ 12 h 1818"/>
                <a:gd name="T110" fmla="*/ 10 w 884"/>
                <a:gd name="T111" fmla="*/ 11 h 1818"/>
                <a:gd name="T112" fmla="*/ 9 w 884"/>
                <a:gd name="T113" fmla="*/ 11 h 1818"/>
                <a:gd name="T114" fmla="*/ 9 w 884"/>
                <a:gd name="T115" fmla="*/ 10 h 1818"/>
                <a:gd name="T116" fmla="*/ 8 w 884"/>
                <a:gd name="T117" fmla="*/ 9 h 1818"/>
                <a:gd name="T118" fmla="*/ 8 w 884"/>
                <a:gd name="T119" fmla="*/ 7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grpSp>
      <p:sp>
        <p:nvSpPr>
          <p:cNvPr id="2329" name="Freeform 442"/>
          <p:cNvSpPr>
            <a:spLocks/>
          </p:cNvSpPr>
          <p:nvPr>
            <p:custDataLst>
              <p:tags r:id="rId280"/>
            </p:custDataLst>
          </p:nvPr>
        </p:nvSpPr>
        <p:spPr bwMode="auto">
          <a:xfrm>
            <a:off x="5040313" y="2324100"/>
            <a:ext cx="123825" cy="109538"/>
          </a:xfrm>
          <a:custGeom>
            <a:avLst/>
            <a:gdLst>
              <a:gd name="T0" fmla="*/ 2147483647 w 279"/>
              <a:gd name="T1" fmla="*/ 2147483647 h 204"/>
              <a:gd name="T2" fmla="*/ 2147483647 w 279"/>
              <a:gd name="T3" fmla="*/ 2147483647 h 204"/>
              <a:gd name="T4" fmla="*/ 2147483647 w 279"/>
              <a:gd name="T5" fmla="*/ 2147483647 h 204"/>
              <a:gd name="T6" fmla="*/ 2147483647 w 279"/>
              <a:gd name="T7" fmla="*/ 2147483647 h 204"/>
              <a:gd name="T8" fmla="*/ 2147483647 w 279"/>
              <a:gd name="T9" fmla="*/ 2147483647 h 204"/>
              <a:gd name="T10" fmla="*/ 2147483647 w 279"/>
              <a:gd name="T11" fmla="*/ 2147483647 h 204"/>
              <a:gd name="T12" fmla="*/ 2147483647 w 279"/>
              <a:gd name="T13" fmla="*/ 2147483647 h 204"/>
              <a:gd name="T14" fmla="*/ 2147483647 w 279"/>
              <a:gd name="T15" fmla="*/ 2147483647 h 204"/>
              <a:gd name="T16" fmla="*/ 2147483647 w 279"/>
              <a:gd name="T17" fmla="*/ 2147483647 h 204"/>
              <a:gd name="T18" fmla="*/ 2147483647 w 279"/>
              <a:gd name="T19" fmla="*/ 2147483647 h 204"/>
              <a:gd name="T20" fmla="*/ 2147483647 w 279"/>
              <a:gd name="T21" fmla="*/ 2147483647 h 204"/>
              <a:gd name="T22" fmla="*/ 2147483647 w 279"/>
              <a:gd name="T23" fmla="*/ 2147483647 h 204"/>
              <a:gd name="T24" fmla="*/ 2147483647 w 279"/>
              <a:gd name="T25" fmla="*/ 2147483647 h 204"/>
              <a:gd name="T26" fmla="*/ 2147483647 w 279"/>
              <a:gd name="T27" fmla="*/ 2147483647 h 204"/>
              <a:gd name="T28" fmla="*/ 2147483647 w 279"/>
              <a:gd name="T29" fmla="*/ 2147483647 h 204"/>
              <a:gd name="T30" fmla="*/ 2147483647 w 279"/>
              <a:gd name="T31" fmla="*/ 2147483647 h 204"/>
              <a:gd name="T32" fmla="*/ 2147483647 w 279"/>
              <a:gd name="T33" fmla="*/ 2147483647 h 204"/>
              <a:gd name="T34" fmla="*/ 2147483647 w 279"/>
              <a:gd name="T35" fmla="*/ 2147483647 h 204"/>
              <a:gd name="T36" fmla="*/ 2147483647 w 279"/>
              <a:gd name="T37" fmla="*/ 2147483647 h 204"/>
              <a:gd name="T38" fmla="*/ 2147483647 w 279"/>
              <a:gd name="T39" fmla="*/ 2147483647 h 204"/>
              <a:gd name="T40" fmla="*/ 2147483647 w 279"/>
              <a:gd name="T41" fmla="*/ 2147483647 h 204"/>
              <a:gd name="T42" fmla="*/ 2147483647 w 279"/>
              <a:gd name="T43" fmla="*/ 2147483647 h 204"/>
              <a:gd name="T44" fmla="*/ 2147483647 w 279"/>
              <a:gd name="T45" fmla="*/ 2147483647 h 204"/>
              <a:gd name="T46" fmla="*/ 2147483647 w 279"/>
              <a:gd name="T47" fmla="*/ 2147483647 h 204"/>
              <a:gd name="T48" fmla="*/ 2147483647 w 279"/>
              <a:gd name="T49" fmla="*/ 2147483647 h 204"/>
              <a:gd name="T50" fmla="*/ 2147483647 w 279"/>
              <a:gd name="T51" fmla="*/ 2147483647 h 204"/>
              <a:gd name="T52" fmla="*/ 2147483647 w 279"/>
              <a:gd name="T53" fmla="*/ 2147483647 h 204"/>
              <a:gd name="T54" fmla="*/ 2147483647 w 279"/>
              <a:gd name="T55" fmla="*/ 2147483647 h 204"/>
              <a:gd name="T56" fmla="*/ 2147483647 w 279"/>
              <a:gd name="T57" fmla="*/ 2147483647 h 204"/>
              <a:gd name="T58" fmla="*/ 2147483647 w 279"/>
              <a:gd name="T59" fmla="*/ 2147483647 h 204"/>
              <a:gd name="T60" fmla="*/ 2147483647 w 279"/>
              <a:gd name="T61" fmla="*/ 2147483647 h 204"/>
              <a:gd name="T62" fmla="*/ 2147483647 w 279"/>
              <a:gd name="T63" fmla="*/ 2147483647 h 204"/>
              <a:gd name="T64" fmla="*/ 0 w 279"/>
              <a:gd name="T65" fmla="*/ 2147483647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mpd="sng">
            <a:solidFill>
              <a:srgbClr val="FFFFFF"/>
            </a:solidFill>
            <a:prstDash val="solid"/>
            <a:round/>
            <a:headEnd/>
            <a:tailEnd/>
          </a:ln>
        </p:spPr>
        <p:txBody>
          <a:bodyPr/>
          <a:lstStyle/>
          <a:p>
            <a:endParaRPr lang="en-AU"/>
          </a:p>
        </p:txBody>
      </p:sp>
      <p:sp>
        <p:nvSpPr>
          <p:cNvPr id="2330" name="Freeform 443"/>
          <p:cNvSpPr>
            <a:spLocks/>
          </p:cNvSpPr>
          <p:nvPr>
            <p:custDataLst>
              <p:tags r:id="rId281"/>
            </p:custDataLst>
          </p:nvPr>
        </p:nvSpPr>
        <p:spPr bwMode="auto">
          <a:xfrm>
            <a:off x="4506913" y="1897063"/>
            <a:ext cx="209550" cy="150812"/>
          </a:xfrm>
          <a:custGeom>
            <a:avLst/>
            <a:gdLst>
              <a:gd name="T0" fmla="*/ 2147483647 w 485"/>
              <a:gd name="T1" fmla="*/ 2147483647 h 291"/>
              <a:gd name="T2" fmla="*/ 2147483647 w 485"/>
              <a:gd name="T3" fmla="*/ 2147483647 h 291"/>
              <a:gd name="T4" fmla="*/ 2147483647 w 485"/>
              <a:gd name="T5" fmla="*/ 2147483647 h 291"/>
              <a:gd name="T6" fmla="*/ 2147483647 w 485"/>
              <a:gd name="T7" fmla="*/ 2147483647 h 291"/>
              <a:gd name="T8" fmla="*/ 2147483647 w 485"/>
              <a:gd name="T9" fmla="*/ 2147483647 h 291"/>
              <a:gd name="T10" fmla="*/ 2147483647 w 485"/>
              <a:gd name="T11" fmla="*/ 2147483647 h 291"/>
              <a:gd name="T12" fmla="*/ 2147483647 w 485"/>
              <a:gd name="T13" fmla="*/ 2147483647 h 291"/>
              <a:gd name="T14" fmla="*/ 2147483647 w 485"/>
              <a:gd name="T15" fmla="*/ 2147483647 h 291"/>
              <a:gd name="T16" fmla="*/ 2147483647 w 485"/>
              <a:gd name="T17" fmla="*/ 2147483647 h 291"/>
              <a:gd name="T18" fmla="*/ 2147483647 w 485"/>
              <a:gd name="T19" fmla="*/ 2147483647 h 291"/>
              <a:gd name="T20" fmla="*/ 2147483647 w 485"/>
              <a:gd name="T21" fmla="*/ 2147483647 h 291"/>
              <a:gd name="T22" fmla="*/ 2147483647 w 485"/>
              <a:gd name="T23" fmla="*/ 2147483647 h 291"/>
              <a:gd name="T24" fmla="*/ 2147483647 w 485"/>
              <a:gd name="T25" fmla="*/ 2147483647 h 291"/>
              <a:gd name="T26" fmla="*/ 2147483647 w 485"/>
              <a:gd name="T27" fmla="*/ 2147483647 h 291"/>
              <a:gd name="T28" fmla="*/ 2147483647 w 485"/>
              <a:gd name="T29" fmla="*/ 2147483647 h 291"/>
              <a:gd name="T30" fmla="*/ 0 w 485"/>
              <a:gd name="T31" fmla="*/ 2147483647 h 291"/>
              <a:gd name="T32" fmla="*/ 2147483647 w 485"/>
              <a:gd name="T33" fmla="*/ 2147483647 h 291"/>
              <a:gd name="T34" fmla="*/ 2147483647 w 485"/>
              <a:gd name="T35" fmla="*/ 2147483647 h 291"/>
              <a:gd name="T36" fmla="*/ 2147483647 w 485"/>
              <a:gd name="T37" fmla="*/ 2147483647 h 291"/>
              <a:gd name="T38" fmla="*/ 2147483647 w 485"/>
              <a:gd name="T39" fmla="*/ 2147483647 h 291"/>
              <a:gd name="T40" fmla="*/ 2147483647 w 485"/>
              <a:gd name="T41" fmla="*/ 2147483647 h 291"/>
              <a:gd name="T42" fmla="*/ 2147483647 w 485"/>
              <a:gd name="T43" fmla="*/ 2147483647 h 291"/>
              <a:gd name="T44" fmla="*/ 2147483647 w 485"/>
              <a:gd name="T45" fmla="*/ 2147483647 h 291"/>
              <a:gd name="T46" fmla="*/ 2147483647 w 485"/>
              <a:gd name="T47" fmla="*/ 2147483647 h 291"/>
              <a:gd name="T48" fmla="*/ 2147483647 w 485"/>
              <a:gd name="T49" fmla="*/ 2147483647 h 291"/>
              <a:gd name="T50" fmla="*/ 2147483647 w 485"/>
              <a:gd name="T51" fmla="*/ 2147483647 h 291"/>
              <a:gd name="T52" fmla="*/ 2147483647 w 485"/>
              <a:gd name="T53" fmla="*/ 2147483647 h 291"/>
              <a:gd name="T54" fmla="*/ 2147483647 w 485"/>
              <a:gd name="T55" fmla="*/ 2147483647 h 291"/>
              <a:gd name="T56" fmla="*/ 2147483647 w 485"/>
              <a:gd name="T57" fmla="*/ 2147483647 h 291"/>
              <a:gd name="T58" fmla="*/ 2147483647 w 485"/>
              <a:gd name="T59" fmla="*/ 2147483647 h 291"/>
              <a:gd name="T60" fmla="*/ 2147483647 w 485"/>
              <a:gd name="T61" fmla="*/ 2147483647 h 291"/>
              <a:gd name="T62" fmla="*/ 2147483647 w 485"/>
              <a:gd name="T63" fmla="*/ 2147483647 h 291"/>
              <a:gd name="T64" fmla="*/ 2147483647 w 485"/>
              <a:gd name="T65" fmla="*/ 2147483647 h 291"/>
              <a:gd name="T66" fmla="*/ 2147483647 w 485"/>
              <a:gd name="T67" fmla="*/ 2147483647 h 291"/>
              <a:gd name="T68" fmla="*/ 2147483647 w 485"/>
              <a:gd name="T69" fmla="*/ 2147483647 h 291"/>
              <a:gd name="T70" fmla="*/ 2147483647 w 485"/>
              <a:gd name="T71" fmla="*/ 2147483647 h 291"/>
              <a:gd name="T72" fmla="*/ 2147483647 w 485"/>
              <a:gd name="T73" fmla="*/ 2147483647 h 291"/>
              <a:gd name="T74" fmla="*/ 2147483647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C0C0C0"/>
          </a:solidFill>
          <a:ln w="9525" cmpd="sng">
            <a:solidFill>
              <a:srgbClr val="FFFFFF"/>
            </a:solidFill>
            <a:prstDash val="solid"/>
            <a:round/>
            <a:headEnd/>
            <a:tailEnd/>
          </a:ln>
        </p:spPr>
        <p:txBody>
          <a:bodyPr/>
          <a:lstStyle/>
          <a:p>
            <a:endParaRPr lang="en-AU"/>
          </a:p>
        </p:txBody>
      </p:sp>
      <p:sp>
        <p:nvSpPr>
          <p:cNvPr id="2331" name="Freeform 444"/>
          <p:cNvSpPr>
            <a:spLocks/>
          </p:cNvSpPr>
          <p:nvPr>
            <p:custDataLst>
              <p:tags r:id="rId282"/>
            </p:custDataLst>
          </p:nvPr>
        </p:nvSpPr>
        <p:spPr bwMode="auto">
          <a:xfrm>
            <a:off x="4364038" y="2228850"/>
            <a:ext cx="82550" cy="87313"/>
          </a:xfrm>
          <a:custGeom>
            <a:avLst/>
            <a:gdLst>
              <a:gd name="T0" fmla="*/ 2147483647 w 186"/>
              <a:gd name="T1" fmla="*/ 2147483647 h 166"/>
              <a:gd name="T2" fmla="*/ 2147483647 w 186"/>
              <a:gd name="T3" fmla="*/ 2147483647 h 166"/>
              <a:gd name="T4" fmla="*/ 2147483647 w 186"/>
              <a:gd name="T5" fmla="*/ 2147483647 h 166"/>
              <a:gd name="T6" fmla="*/ 2147483647 w 186"/>
              <a:gd name="T7" fmla="*/ 2147483647 h 166"/>
              <a:gd name="T8" fmla="*/ 2147483647 w 186"/>
              <a:gd name="T9" fmla="*/ 2147483647 h 166"/>
              <a:gd name="T10" fmla="*/ 2147483647 w 186"/>
              <a:gd name="T11" fmla="*/ 2147483647 h 166"/>
              <a:gd name="T12" fmla="*/ 2147483647 w 186"/>
              <a:gd name="T13" fmla="*/ 2147483647 h 166"/>
              <a:gd name="T14" fmla="*/ 2147483647 w 186"/>
              <a:gd name="T15" fmla="*/ 2147483647 h 166"/>
              <a:gd name="T16" fmla="*/ 2147483647 w 186"/>
              <a:gd name="T17" fmla="*/ 2147483647 h 166"/>
              <a:gd name="T18" fmla="*/ 2147483647 w 186"/>
              <a:gd name="T19" fmla="*/ 2147483647 h 166"/>
              <a:gd name="T20" fmla="*/ 0 w 186"/>
              <a:gd name="T21" fmla="*/ 2147483647 h 166"/>
              <a:gd name="T22" fmla="*/ 0 w 186"/>
              <a:gd name="T23" fmla="*/ 0 h 166"/>
              <a:gd name="T24" fmla="*/ 2147483647 w 186"/>
              <a:gd name="T25" fmla="*/ 2147483647 h 166"/>
              <a:gd name="T26" fmla="*/ 2147483647 w 186"/>
              <a:gd name="T27" fmla="*/ 2147483647 h 166"/>
              <a:gd name="T28" fmla="*/ 2147483647 w 186"/>
              <a:gd name="T29" fmla="*/ 2147483647 h 166"/>
              <a:gd name="T30" fmla="*/ 2147483647 w 186"/>
              <a:gd name="T31" fmla="*/ 2147483647 h 166"/>
              <a:gd name="T32" fmla="*/ 2147483647 w 186"/>
              <a:gd name="T33" fmla="*/ 2147483647 h 166"/>
              <a:gd name="T34" fmla="*/ 2147483647 w 186"/>
              <a:gd name="T35" fmla="*/ 2147483647 h 166"/>
              <a:gd name="T36" fmla="*/ 2147483647 w 186"/>
              <a:gd name="T37" fmla="*/ 2147483647 h 166"/>
              <a:gd name="T38" fmla="*/ 2147483647 w 186"/>
              <a:gd name="T39" fmla="*/ 0 h 166"/>
              <a:gd name="T40" fmla="*/ 2147483647 w 186"/>
              <a:gd name="T41" fmla="*/ 2147483647 h 166"/>
              <a:gd name="T42" fmla="*/ 2147483647 w 186"/>
              <a:gd name="T43" fmla="*/ 2147483647 h 166"/>
              <a:gd name="T44" fmla="*/ 2147483647 w 186"/>
              <a:gd name="T45" fmla="*/ 2147483647 h 166"/>
              <a:gd name="T46" fmla="*/ 2147483647 w 186"/>
              <a:gd name="T47" fmla="*/ 2147483647 h 166"/>
              <a:gd name="T48" fmla="*/ 2147483647 w 186"/>
              <a:gd name="T49" fmla="*/ 2147483647 h 166"/>
              <a:gd name="T50" fmla="*/ 2147483647 w 186"/>
              <a:gd name="T51" fmla="*/ 2147483647 h 166"/>
              <a:gd name="T52" fmla="*/ 2147483647 w 186"/>
              <a:gd name="T53" fmla="*/ 2147483647 h 166"/>
              <a:gd name="T54" fmla="*/ 2147483647 w 186"/>
              <a:gd name="T55" fmla="*/ 2147483647 h 166"/>
              <a:gd name="T56" fmla="*/ 2147483647 w 186"/>
              <a:gd name="T57" fmla="*/ 2147483647 h 166"/>
              <a:gd name="T58" fmla="*/ 2147483647 w 186"/>
              <a:gd name="T59" fmla="*/ 2147483647 h 166"/>
              <a:gd name="T60" fmla="*/ 2147483647 w 186"/>
              <a:gd name="T61" fmla="*/ 2147483647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332" name="Freeform 445"/>
          <p:cNvSpPr>
            <a:spLocks/>
          </p:cNvSpPr>
          <p:nvPr>
            <p:custDataLst>
              <p:tags r:id="rId283"/>
            </p:custDataLst>
          </p:nvPr>
        </p:nvSpPr>
        <p:spPr bwMode="auto">
          <a:xfrm>
            <a:off x="2728913" y="3665538"/>
            <a:ext cx="82550" cy="57150"/>
          </a:xfrm>
          <a:custGeom>
            <a:avLst/>
            <a:gdLst>
              <a:gd name="T0" fmla="*/ 2147483647 w 186"/>
              <a:gd name="T1" fmla="*/ 2147483647 h 104"/>
              <a:gd name="T2" fmla="*/ 2147483647 w 186"/>
              <a:gd name="T3" fmla="*/ 2147483647 h 104"/>
              <a:gd name="T4" fmla="*/ 2147483647 w 186"/>
              <a:gd name="T5" fmla="*/ 2147483647 h 104"/>
              <a:gd name="T6" fmla="*/ 2147483647 w 186"/>
              <a:gd name="T7" fmla="*/ 2147483647 h 104"/>
              <a:gd name="T8" fmla="*/ 2147483647 w 186"/>
              <a:gd name="T9" fmla="*/ 2147483647 h 104"/>
              <a:gd name="T10" fmla="*/ 2147483647 w 186"/>
              <a:gd name="T11" fmla="*/ 2147483647 h 104"/>
              <a:gd name="T12" fmla="*/ 2147483647 w 186"/>
              <a:gd name="T13" fmla="*/ 2147483647 h 104"/>
              <a:gd name="T14" fmla="*/ 2147483647 w 186"/>
              <a:gd name="T15" fmla="*/ 2147483647 h 104"/>
              <a:gd name="T16" fmla="*/ 2147483647 w 186"/>
              <a:gd name="T17" fmla="*/ 2147483647 h 104"/>
              <a:gd name="T18" fmla="*/ 2147483647 w 186"/>
              <a:gd name="T19" fmla="*/ 2147483647 h 104"/>
              <a:gd name="T20" fmla="*/ 2147483647 w 186"/>
              <a:gd name="T21" fmla="*/ 2147483647 h 104"/>
              <a:gd name="T22" fmla="*/ 2147483647 w 186"/>
              <a:gd name="T23" fmla="*/ 2147483647 h 104"/>
              <a:gd name="T24" fmla="*/ 2147483647 w 186"/>
              <a:gd name="T25" fmla="*/ 2147483647 h 104"/>
              <a:gd name="T26" fmla="*/ 2147483647 w 186"/>
              <a:gd name="T27" fmla="*/ 0 h 104"/>
              <a:gd name="T28" fmla="*/ 2147483647 w 186"/>
              <a:gd name="T29" fmla="*/ 0 h 104"/>
              <a:gd name="T30" fmla="*/ 2147483647 w 186"/>
              <a:gd name="T31" fmla="*/ 2147483647 h 104"/>
              <a:gd name="T32" fmla="*/ 2147483647 w 186"/>
              <a:gd name="T33" fmla="*/ 2147483647 h 104"/>
              <a:gd name="T34" fmla="*/ 2147483647 w 186"/>
              <a:gd name="T35" fmla="*/ 2147483647 h 104"/>
              <a:gd name="T36" fmla="*/ 2147483647 w 186"/>
              <a:gd name="T37" fmla="*/ 2147483647 h 104"/>
              <a:gd name="T38" fmla="*/ 2147483647 w 186"/>
              <a:gd name="T39" fmla="*/ 2147483647 h 104"/>
              <a:gd name="T40" fmla="*/ 2147483647 w 186"/>
              <a:gd name="T41" fmla="*/ 2147483647 h 104"/>
              <a:gd name="T42" fmla="*/ 2147483647 w 186"/>
              <a:gd name="T43" fmla="*/ 2147483647 h 104"/>
              <a:gd name="T44" fmla="*/ 2147483647 w 186"/>
              <a:gd name="T45" fmla="*/ 2147483647 h 104"/>
              <a:gd name="T46" fmla="*/ 2147483647 w 186"/>
              <a:gd name="T47" fmla="*/ 2147483647 h 104"/>
              <a:gd name="T48" fmla="*/ 0 w 186"/>
              <a:gd name="T49" fmla="*/ 2147483647 h 104"/>
              <a:gd name="T50" fmla="*/ 2147483647 w 186"/>
              <a:gd name="T51" fmla="*/ 2147483647 h 104"/>
              <a:gd name="T52" fmla="*/ 2147483647 w 186"/>
              <a:gd name="T53" fmla="*/ 2147483647 h 104"/>
              <a:gd name="T54" fmla="*/ 2147483647 w 186"/>
              <a:gd name="T55" fmla="*/ 2147483647 h 104"/>
              <a:gd name="T56" fmla="*/ 2147483647 w 186"/>
              <a:gd name="T57" fmla="*/ 2147483647 h 104"/>
              <a:gd name="T58" fmla="*/ 2147483647 w 186"/>
              <a:gd name="T59" fmla="*/ 2147483647 h 104"/>
              <a:gd name="T60" fmla="*/ 2147483647 w 186"/>
              <a:gd name="T61" fmla="*/ 2147483647 h 104"/>
              <a:gd name="T62" fmla="*/ 2147483647 w 186"/>
              <a:gd name="T63" fmla="*/ 2147483647 h 104"/>
              <a:gd name="T64" fmla="*/ 2147483647 w 186"/>
              <a:gd name="T65" fmla="*/ 2147483647 h 104"/>
              <a:gd name="T66" fmla="*/ 2147483647 w 186"/>
              <a:gd name="T67" fmla="*/ 2147483647 h 104"/>
              <a:gd name="T68" fmla="*/ 2147483647 w 186"/>
              <a:gd name="T69" fmla="*/ 2147483647 h 104"/>
              <a:gd name="T70" fmla="*/ 2147483647 w 186"/>
              <a:gd name="T71" fmla="*/ 2147483647 h 104"/>
              <a:gd name="T72" fmla="*/ 2147483647 w 186"/>
              <a:gd name="T73" fmla="*/ 2147483647 h 104"/>
              <a:gd name="T74" fmla="*/ 2147483647 w 186"/>
              <a:gd name="T75" fmla="*/ 2147483647 h 104"/>
              <a:gd name="T76" fmla="*/ 2147483647 w 186"/>
              <a:gd name="T77" fmla="*/ 2147483647 h 104"/>
              <a:gd name="T78" fmla="*/ 2147483647 w 186"/>
              <a:gd name="T79" fmla="*/ 2147483647 h 104"/>
              <a:gd name="T80" fmla="*/ 2147483647 w 186"/>
              <a:gd name="T81" fmla="*/ 2147483647 h 104"/>
              <a:gd name="T82" fmla="*/ 2147483647 w 186"/>
              <a:gd name="T83" fmla="*/ 2147483647 h 104"/>
              <a:gd name="T84" fmla="*/ 2147483647 w 186"/>
              <a:gd name="T85" fmla="*/ 2147483647 h 104"/>
              <a:gd name="T86" fmla="*/ 2147483647 w 186"/>
              <a:gd name="T87" fmla="*/ 2147483647 h 104"/>
              <a:gd name="T88" fmla="*/ 2147483647 w 186"/>
              <a:gd name="T89" fmla="*/ 2147483647 h 104"/>
              <a:gd name="T90" fmla="*/ 2147483647 w 186"/>
              <a:gd name="T91" fmla="*/ 2147483647 h 104"/>
              <a:gd name="T92" fmla="*/ 2147483647 w 186"/>
              <a:gd name="T93" fmla="*/ 2147483647 h 104"/>
              <a:gd name="T94" fmla="*/ 2147483647 w 186"/>
              <a:gd name="T95" fmla="*/ 2147483647 h 104"/>
              <a:gd name="T96" fmla="*/ 2147483647 w 186"/>
              <a:gd name="T97" fmla="*/ 2147483647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333" name="Freeform 446"/>
          <p:cNvSpPr>
            <a:spLocks/>
          </p:cNvSpPr>
          <p:nvPr>
            <p:custDataLst>
              <p:tags r:id="rId284"/>
            </p:custDataLst>
          </p:nvPr>
        </p:nvSpPr>
        <p:spPr bwMode="auto">
          <a:xfrm>
            <a:off x="4522788" y="2263775"/>
            <a:ext cx="133350" cy="96838"/>
          </a:xfrm>
          <a:custGeom>
            <a:avLst/>
            <a:gdLst>
              <a:gd name="T0" fmla="*/ 2147483647 w 311"/>
              <a:gd name="T1" fmla="*/ 2147483647 h 179"/>
              <a:gd name="T2" fmla="*/ 2147483647 w 311"/>
              <a:gd name="T3" fmla="*/ 2147483647 h 179"/>
              <a:gd name="T4" fmla="*/ 2147483647 w 311"/>
              <a:gd name="T5" fmla="*/ 2147483647 h 179"/>
              <a:gd name="T6" fmla="*/ 2147483647 w 311"/>
              <a:gd name="T7" fmla="*/ 2147483647 h 179"/>
              <a:gd name="T8" fmla="*/ 2147483647 w 311"/>
              <a:gd name="T9" fmla="*/ 0 h 179"/>
              <a:gd name="T10" fmla="*/ 2147483647 w 311"/>
              <a:gd name="T11" fmla="*/ 2147483647 h 179"/>
              <a:gd name="T12" fmla="*/ 2147483647 w 311"/>
              <a:gd name="T13" fmla="*/ 2147483647 h 179"/>
              <a:gd name="T14" fmla="*/ 2147483647 w 311"/>
              <a:gd name="T15" fmla="*/ 2147483647 h 179"/>
              <a:gd name="T16" fmla="*/ 2147483647 w 311"/>
              <a:gd name="T17" fmla="*/ 2147483647 h 179"/>
              <a:gd name="T18" fmla="*/ 2147483647 w 311"/>
              <a:gd name="T19" fmla="*/ 2147483647 h 179"/>
              <a:gd name="T20" fmla="*/ 2147483647 w 311"/>
              <a:gd name="T21" fmla="*/ 2147483647 h 179"/>
              <a:gd name="T22" fmla="*/ 2147483647 w 311"/>
              <a:gd name="T23" fmla="*/ 2147483647 h 179"/>
              <a:gd name="T24" fmla="*/ 2147483647 w 311"/>
              <a:gd name="T25" fmla="*/ 2147483647 h 179"/>
              <a:gd name="T26" fmla="*/ 2147483647 w 311"/>
              <a:gd name="T27" fmla="*/ 2147483647 h 179"/>
              <a:gd name="T28" fmla="*/ 2147483647 w 311"/>
              <a:gd name="T29" fmla="*/ 2147483647 h 179"/>
              <a:gd name="T30" fmla="*/ 2147483647 w 311"/>
              <a:gd name="T31" fmla="*/ 2147483647 h 179"/>
              <a:gd name="T32" fmla="*/ 2147483647 w 311"/>
              <a:gd name="T33" fmla="*/ 2147483647 h 179"/>
              <a:gd name="T34" fmla="*/ 2147483647 w 311"/>
              <a:gd name="T35" fmla="*/ 2147483647 h 179"/>
              <a:gd name="T36" fmla="*/ 2147483647 w 311"/>
              <a:gd name="T37" fmla="*/ 2147483647 h 179"/>
              <a:gd name="T38" fmla="*/ 2147483647 w 311"/>
              <a:gd name="T39" fmla="*/ 2147483647 h 179"/>
              <a:gd name="T40" fmla="*/ 2147483647 w 311"/>
              <a:gd name="T41" fmla="*/ 2147483647 h 179"/>
              <a:gd name="T42" fmla="*/ 2147483647 w 311"/>
              <a:gd name="T43" fmla="*/ 2147483647 h 179"/>
              <a:gd name="T44" fmla="*/ 2147483647 w 311"/>
              <a:gd name="T45" fmla="*/ 2147483647 h 179"/>
              <a:gd name="T46" fmla="*/ 2147483647 w 311"/>
              <a:gd name="T47" fmla="*/ 2147483647 h 179"/>
              <a:gd name="T48" fmla="*/ 2147483647 w 311"/>
              <a:gd name="T49" fmla="*/ 2147483647 h 179"/>
              <a:gd name="T50" fmla="*/ 2147483647 w 311"/>
              <a:gd name="T51" fmla="*/ 2147483647 h 179"/>
              <a:gd name="T52" fmla="*/ 2147483647 w 311"/>
              <a:gd name="T53" fmla="*/ 2147483647 h 179"/>
              <a:gd name="T54" fmla="*/ 2147483647 w 311"/>
              <a:gd name="T55" fmla="*/ 2147483647 h 179"/>
              <a:gd name="T56" fmla="*/ 2147483647 w 311"/>
              <a:gd name="T57" fmla="*/ 2147483647 h 179"/>
              <a:gd name="T58" fmla="*/ 2147483647 w 311"/>
              <a:gd name="T59" fmla="*/ 2147483647 h 179"/>
              <a:gd name="T60" fmla="*/ 2147483647 w 311"/>
              <a:gd name="T61" fmla="*/ 2147483647 h 179"/>
              <a:gd name="T62" fmla="*/ 2147483647 w 311"/>
              <a:gd name="T63" fmla="*/ 2147483647 h 179"/>
              <a:gd name="T64" fmla="*/ 2147483647 w 311"/>
              <a:gd name="T65" fmla="*/ 2147483647 h 179"/>
              <a:gd name="T66" fmla="*/ 2147483647 w 311"/>
              <a:gd name="T67" fmla="*/ 2147483647 h 179"/>
              <a:gd name="T68" fmla="*/ 2147483647 w 311"/>
              <a:gd name="T69" fmla="*/ 2147483647 h 179"/>
              <a:gd name="T70" fmla="*/ 2147483647 w 311"/>
              <a:gd name="T71" fmla="*/ 2147483647 h 179"/>
              <a:gd name="T72" fmla="*/ 2147483647 w 311"/>
              <a:gd name="T73" fmla="*/ 2147483647 h 179"/>
              <a:gd name="T74" fmla="*/ 0 w 311"/>
              <a:gd name="T75" fmla="*/ 2147483647 h 179"/>
              <a:gd name="T76" fmla="*/ 0 w 311"/>
              <a:gd name="T77" fmla="*/ 2147483647 h 179"/>
              <a:gd name="T78" fmla="*/ 2147483647 w 311"/>
              <a:gd name="T79" fmla="*/ 2147483647 h 179"/>
              <a:gd name="T80" fmla="*/ 2147483647 w 311"/>
              <a:gd name="T81" fmla="*/ 2147483647 h 179"/>
              <a:gd name="T82" fmla="*/ 2147483647 w 311"/>
              <a:gd name="T83" fmla="*/ 2147483647 h 179"/>
              <a:gd name="T84" fmla="*/ 2147483647 w 311"/>
              <a:gd name="T85" fmla="*/ 2147483647 h 179"/>
              <a:gd name="T86" fmla="*/ 2147483647 w 311"/>
              <a:gd name="T87" fmla="*/ 2147483647 h 179"/>
              <a:gd name="T88" fmla="*/ 2147483647 w 311"/>
              <a:gd name="T89" fmla="*/ 2147483647 h 179"/>
              <a:gd name="T90" fmla="*/ 2147483647 w 311"/>
              <a:gd name="T91" fmla="*/ 2147483647 h 179"/>
              <a:gd name="T92" fmla="*/ 2147483647 w 311"/>
              <a:gd name="T93" fmla="*/ 2147483647 h 179"/>
              <a:gd name="T94" fmla="*/ 2147483647 w 311"/>
              <a:gd name="T95" fmla="*/ 2147483647 h 179"/>
              <a:gd name="T96" fmla="*/ 2147483647 w 311"/>
              <a:gd name="T97" fmla="*/ 2147483647 h 179"/>
              <a:gd name="T98" fmla="*/ 2147483647 w 311"/>
              <a:gd name="T99" fmla="*/ 2147483647 h 179"/>
              <a:gd name="T100" fmla="*/ 0 w 311"/>
              <a:gd name="T101" fmla="*/ 2147483647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334" name="Freeform 447"/>
          <p:cNvSpPr>
            <a:spLocks/>
          </p:cNvSpPr>
          <p:nvPr>
            <p:custDataLst>
              <p:tags r:id="rId285"/>
            </p:custDataLst>
          </p:nvPr>
        </p:nvSpPr>
        <p:spPr bwMode="auto">
          <a:xfrm>
            <a:off x="3878263" y="3190875"/>
            <a:ext cx="177800" cy="165100"/>
          </a:xfrm>
          <a:custGeom>
            <a:avLst/>
            <a:gdLst>
              <a:gd name="T0" fmla="*/ 2147483647 w 405"/>
              <a:gd name="T1" fmla="*/ 2147483647 h 314"/>
              <a:gd name="T2" fmla="*/ 2147483647 w 405"/>
              <a:gd name="T3" fmla="*/ 2147483647 h 314"/>
              <a:gd name="T4" fmla="*/ 2147483647 w 405"/>
              <a:gd name="T5" fmla="*/ 2147483647 h 314"/>
              <a:gd name="T6" fmla="*/ 2147483647 w 405"/>
              <a:gd name="T7" fmla="*/ 2147483647 h 314"/>
              <a:gd name="T8" fmla="*/ 2147483647 w 405"/>
              <a:gd name="T9" fmla="*/ 2147483647 h 314"/>
              <a:gd name="T10" fmla="*/ 2147483647 w 405"/>
              <a:gd name="T11" fmla="*/ 2147483647 h 314"/>
              <a:gd name="T12" fmla="*/ 2147483647 w 405"/>
              <a:gd name="T13" fmla="*/ 2147483647 h 314"/>
              <a:gd name="T14" fmla="*/ 2147483647 w 405"/>
              <a:gd name="T15" fmla="*/ 2147483647 h 314"/>
              <a:gd name="T16" fmla="*/ 2147483647 w 405"/>
              <a:gd name="T17" fmla="*/ 2147483647 h 314"/>
              <a:gd name="T18" fmla="*/ 2147483647 w 405"/>
              <a:gd name="T19" fmla="*/ 2147483647 h 314"/>
              <a:gd name="T20" fmla="*/ 2147483647 w 405"/>
              <a:gd name="T21" fmla="*/ 2147483647 h 314"/>
              <a:gd name="T22" fmla="*/ 2147483647 w 405"/>
              <a:gd name="T23" fmla="*/ 2147483647 h 314"/>
              <a:gd name="T24" fmla="*/ 2147483647 w 405"/>
              <a:gd name="T25" fmla="*/ 2147483647 h 314"/>
              <a:gd name="T26" fmla="*/ 2147483647 w 405"/>
              <a:gd name="T27" fmla="*/ 2147483647 h 314"/>
              <a:gd name="T28" fmla="*/ 2147483647 w 405"/>
              <a:gd name="T29" fmla="*/ 2147483647 h 314"/>
              <a:gd name="T30" fmla="*/ 2147483647 w 405"/>
              <a:gd name="T31" fmla="*/ 2147483647 h 314"/>
              <a:gd name="T32" fmla="*/ 2147483647 w 405"/>
              <a:gd name="T33" fmla="*/ 2147483647 h 314"/>
              <a:gd name="T34" fmla="*/ 2147483647 w 405"/>
              <a:gd name="T35" fmla="*/ 2147483647 h 314"/>
              <a:gd name="T36" fmla="*/ 2147483647 w 405"/>
              <a:gd name="T37" fmla="*/ 2147483647 h 314"/>
              <a:gd name="T38" fmla="*/ 2147483647 w 405"/>
              <a:gd name="T39" fmla="*/ 2147483647 h 314"/>
              <a:gd name="T40" fmla="*/ 2147483647 w 405"/>
              <a:gd name="T41" fmla="*/ 0 h 314"/>
              <a:gd name="T42" fmla="*/ 2147483647 w 405"/>
              <a:gd name="T43" fmla="*/ 2147483647 h 314"/>
              <a:gd name="T44" fmla="*/ 2147483647 w 405"/>
              <a:gd name="T45" fmla="*/ 2147483647 h 314"/>
              <a:gd name="T46" fmla="*/ 2147483647 w 405"/>
              <a:gd name="T47" fmla="*/ 2147483647 h 314"/>
              <a:gd name="T48" fmla="*/ 2147483647 w 405"/>
              <a:gd name="T49" fmla="*/ 2147483647 h 314"/>
              <a:gd name="T50" fmla="*/ 2147483647 w 405"/>
              <a:gd name="T51" fmla="*/ 2147483647 h 314"/>
              <a:gd name="T52" fmla="*/ 2147483647 w 405"/>
              <a:gd name="T53" fmla="*/ 2147483647 h 314"/>
              <a:gd name="T54" fmla="*/ 2147483647 w 405"/>
              <a:gd name="T55" fmla="*/ 2147483647 h 314"/>
              <a:gd name="T56" fmla="*/ 2147483647 w 405"/>
              <a:gd name="T57" fmla="*/ 2147483647 h 314"/>
              <a:gd name="T58" fmla="*/ 2147483647 w 405"/>
              <a:gd name="T59" fmla="*/ 2147483647 h 314"/>
              <a:gd name="T60" fmla="*/ 2147483647 w 405"/>
              <a:gd name="T61" fmla="*/ 2147483647 h 314"/>
              <a:gd name="T62" fmla="*/ 2147483647 w 405"/>
              <a:gd name="T63" fmla="*/ 2147483647 h 314"/>
              <a:gd name="T64" fmla="*/ 2147483647 w 405"/>
              <a:gd name="T65" fmla="*/ 2147483647 h 314"/>
              <a:gd name="T66" fmla="*/ 2147483647 w 405"/>
              <a:gd name="T67" fmla="*/ 2147483647 h 314"/>
              <a:gd name="T68" fmla="*/ 2147483647 w 405"/>
              <a:gd name="T69" fmla="*/ 2147483647 h 314"/>
              <a:gd name="T70" fmla="*/ 2147483647 w 405"/>
              <a:gd name="T71" fmla="*/ 2147483647 h 314"/>
              <a:gd name="T72" fmla="*/ 2147483647 w 405"/>
              <a:gd name="T73" fmla="*/ 2147483647 h 314"/>
              <a:gd name="T74" fmla="*/ 2147483647 w 405"/>
              <a:gd name="T75" fmla="*/ 2147483647 h 314"/>
              <a:gd name="T76" fmla="*/ 2147483647 w 405"/>
              <a:gd name="T77" fmla="*/ 2147483647 h 314"/>
              <a:gd name="T78" fmla="*/ 2147483647 w 405"/>
              <a:gd name="T79" fmla="*/ 2147483647 h 314"/>
              <a:gd name="T80" fmla="*/ 2147483647 w 405"/>
              <a:gd name="T81" fmla="*/ 2147483647 h 314"/>
              <a:gd name="T82" fmla="*/ 2147483647 w 405"/>
              <a:gd name="T83" fmla="*/ 2147483647 h 314"/>
              <a:gd name="T84" fmla="*/ 2147483647 w 405"/>
              <a:gd name="T85" fmla="*/ 2147483647 h 314"/>
              <a:gd name="T86" fmla="*/ 2147483647 w 405"/>
              <a:gd name="T87" fmla="*/ 2147483647 h 314"/>
              <a:gd name="T88" fmla="*/ 2147483647 w 405"/>
              <a:gd name="T89" fmla="*/ 2147483647 h 314"/>
              <a:gd name="T90" fmla="*/ 2147483647 w 405"/>
              <a:gd name="T91" fmla="*/ 2147483647 h 314"/>
              <a:gd name="T92" fmla="*/ 2147483647 w 405"/>
              <a:gd name="T93" fmla="*/ 2147483647 h 314"/>
              <a:gd name="T94" fmla="*/ 2147483647 w 405"/>
              <a:gd name="T95" fmla="*/ 2147483647 h 314"/>
              <a:gd name="T96" fmla="*/ 2147483647 w 405"/>
              <a:gd name="T97" fmla="*/ 2147483647 h 314"/>
              <a:gd name="T98" fmla="*/ 2147483647 w 405"/>
              <a:gd name="T99" fmla="*/ 2147483647 h 314"/>
              <a:gd name="T100" fmla="*/ 2147483647 w 405"/>
              <a:gd name="T101" fmla="*/ 2147483647 h 314"/>
              <a:gd name="T102" fmla="*/ 2147483647 w 405"/>
              <a:gd name="T103" fmla="*/ 2147483647 h 314"/>
              <a:gd name="T104" fmla="*/ 0 w 405"/>
              <a:gd name="T105" fmla="*/ 2147483647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cmpd="sng">
            <a:solidFill>
              <a:srgbClr val="FFFFFF"/>
            </a:solidFill>
            <a:prstDash val="solid"/>
            <a:round/>
            <a:headEnd/>
            <a:tailEnd/>
          </a:ln>
        </p:spPr>
        <p:txBody>
          <a:bodyPr/>
          <a:lstStyle/>
          <a:p>
            <a:endParaRPr lang="en-AU"/>
          </a:p>
        </p:txBody>
      </p:sp>
      <p:sp>
        <p:nvSpPr>
          <p:cNvPr id="2335" name="Freeform 448"/>
          <p:cNvSpPr>
            <a:spLocks/>
          </p:cNvSpPr>
          <p:nvPr>
            <p:custDataLst>
              <p:tags r:id="rId286"/>
            </p:custDataLst>
          </p:nvPr>
        </p:nvSpPr>
        <p:spPr bwMode="auto">
          <a:xfrm>
            <a:off x="4225925" y="3259138"/>
            <a:ext cx="193675" cy="349250"/>
          </a:xfrm>
          <a:custGeom>
            <a:avLst/>
            <a:gdLst>
              <a:gd name="T0" fmla="*/ 2147483647 w 453"/>
              <a:gd name="T1" fmla="*/ 2147483647 h 661"/>
              <a:gd name="T2" fmla="*/ 2147483647 w 453"/>
              <a:gd name="T3" fmla="*/ 2147483647 h 661"/>
              <a:gd name="T4" fmla="*/ 2147483647 w 453"/>
              <a:gd name="T5" fmla="*/ 2147483647 h 661"/>
              <a:gd name="T6" fmla="*/ 2147483647 w 453"/>
              <a:gd name="T7" fmla="*/ 2147483647 h 661"/>
              <a:gd name="T8" fmla="*/ 2147483647 w 453"/>
              <a:gd name="T9" fmla="*/ 2147483647 h 661"/>
              <a:gd name="T10" fmla="*/ 2147483647 w 453"/>
              <a:gd name="T11" fmla="*/ 2147483647 h 661"/>
              <a:gd name="T12" fmla="*/ 2147483647 w 453"/>
              <a:gd name="T13" fmla="*/ 2147483647 h 661"/>
              <a:gd name="T14" fmla="*/ 2147483647 w 453"/>
              <a:gd name="T15" fmla="*/ 2147483647 h 661"/>
              <a:gd name="T16" fmla="*/ 2147483647 w 453"/>
              <a:gd name="T17" fmla="*/ 2147483647 h 661"/>
              <a:gd name="T18" fmla="*/ 2147483647 w 453"/>
              <a:gd name="T19" fmla="*/ 2147483647 h 661"/>
              <a:gd name="T20" fmla="*/ 2147483647 w 453"/>
              <a:gd name="T21" fmla="*/ 2147483647 h 661"/>
              <a:gd name="T22" fmla="*/ 2147483647 w 453"/>
              <a:gd name="T23" fmla="*/ 2147483647 h 661"/>
              <a:gd name="T24" fmla="*/ 2147483647 w 453"/>
              <a:gd name="T25" fmla="*/ 2147483647 h 661"/>
              <a:gd name="T26" fmla="*/ 2147483647 w 453"/>
              <a:gd name="T27" fmla="*/ 2147483647 h 661"/>
              <a:gd name="T28" fmla="*/ 2147483647 w 453"/>
              <a:gd name="T29" fmla="*/ 2147483647 h 661"/>
              <a:gd name="T30" fmla="*/ 2147483647 w 453"/>
              <a:gd name="T31" fmla="*/ 2147483647 h 661"/>
              <a:gd name="T32" fmla="*/ 2147483647 w 453"/>
              <a:gd name="T33" fmla="*/ 2147483647 h 661"/>
              <a:gd name="T34" fmla="*/ 2147483647 w 453"/>
              <a:gd name="T35" fmla="*/ 2147483647 h 661"/>
              <a:gd name="T36" fmla="*/ 2147483647 w 453"/>
              <a:gd name="T37" fmla="*/ 2147483647 h 661"/>
              <a:gd name="T38" fmla="*/ 2147483647 w 453"/>
              <a:gd name="T39" fmla="*/ 2147483647 h 661"/>
              <a:gd name="T40" fmla="*/ 2147483647 w 453"/>
              <a:gd name="T41" fmla="*/ 2147483647 h 661"/>
              <a:gd name="T42" fmla="*/ 2147483647 w 453"/>
              <a:gd name="T43" fmla="*/ 2147483647 h 661"/>
              <a:gd name="T44" fmla="*/ 2147483647 w 453"/>
              <a:gd name="T45" fmla="*/ 2147483647 h 661"/>
              <a:gd name="T46" fmla="*/ 2147483647 w 453"/>
              <a:gd name="T47" fmla="*/ 2147483647 h 661"/>
              <a:gd name="T48" fmla="*/ 2147483647 w 453"/>
              <a:gd name="T49" fmla="*/ 2147483647 h 661"/>
              <a:gd name="T50" fmla="*/ 2147483647 w 453"/>
              <a:gd name="T51" fmla="*/ 2147483647 h 661"/>
              <a:gd name="T52" fmla="*/ 2147483647 w 453"/>
              <a:gd name="T53" fmla="*/ 2147483647 h 661"/>
              <a:gd name="T54" fmla="*/ 2147483647 w 453"/>
              <a:gd name="T55" fmla="*/ 2147483647 h 661"/>
              <a:gd name="T56" fmla="*/ 2147483647 w 453"/>
              <a:gd name="T57" fmla="*/ 2147483647 h 661"/>
              <a:gd name="T58" fmla="*/ 2147483647 w 453"/>
              <a:gd name="T59" fmla="*/ 2147483647 h 661"/>
              <a:gd name="T60" fmla="*/ 2147483647 w 453"/>
              <a:gd name="T61" fmla="*/ 2147483647 h 661"/>
              <a:gd name="T62" fmla="*/ 2147483647 w 453"/>
              <a:gd name="T63" fmla="*/ 2147483647 h 661"/>
              <a:gd name="T64" fmla="*/ 2147483647 w 453"/>
              <a:gd name="T65" fmla="*/ 2147483647 h 661"/>
              <a:gd name="T66" fmla="*/ 2147483647 w 453"/>
              <a:gd name="T67" fmla="*/ 2147483647 h 661"/>
              <a:gd name="T68" fmla="*/ 2147483647 w 453"/>
              <a:gd name="T69" fmla="*/ 2147483647 h 661"/>
              <a:gd name="T70" fmla="*/ 2147483647 w 453"/>
              <a:gd name="T71" fmla="*/ 2147483647 h 661"/>
              <a:gd name="T72" fmla="*/ 2147483647 w 453"/>
              <a:gd name="T73" fmla="*/ 2147483647 h 661"/>
              <a:gd name="T74" fmla="*/ 2147483647 w 453"/>
              <a:gd name="T75" fmla="*/ 2147483647 h 661"/>
              <a:gd name="T76" fmla="*/ 2147483647 w 453"/>
              <a:gd name="T77" fmla="*/ 2147483647 h 661"/>
              <a:gd name="T78" fmla="*/ 2147483647 w 453"/>
              <a:gd name="T79" fmla="*/ 2147483647 h 661"/>
              <a:gd name="T80" fmla="*/ 2147483647 w 453"/>
              <a:gd name="T81" fmla="*/ 2147483647 h 661"/>
              <a:gd name="T82" fmla="*/ 2147483647 w 453"/>
              <a:gd name="T83" fmla="*/ 2147483647 h 661"/>
              <a:gd name="T84" fmla="*/ 2147483647 w 453"/>
              <a:gd name="T85" fmla="*/ 2147483647 h 661"/>
              <a:gd name="T86" fmla="*/ 2147483647 w 453"/>
              <a:gd name="T87" fmla="*/ 2147483647 h 661"/>
              <a:gd name="T88" fmla="*/ 2147483647 w 453"/>
              <a:gd name="T89" fmla="*/ 2147483647 h 661"/>
              <a:gd name="T90" fmla="*/ 2147483647 w 453"/>
              <a:gd name="T91" fmla="*/ 2147483647 h 661"/>
              <a:gd name="T92" fmla="*/ 2147483647 w 453"/>
              <a:gd name="T93" fmla="*/ 2147483647 h 661"/>
              <a:gd name="T94" fmla="*/ 2147483647 w 453"/>
              <a:gd name="T95" fmla="*/ 2147483647 h 661"/>
              <a:gd name="T96" fmla="*/ 2147483647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cmpd="sng">
            <a:solidFill>
              <a:srgbClr val="FFFFFF"/>
            </a:solidFill>
            <a:prstDash val="solid"/>
            <a:round/>
            <a:headEnd/>
            <a:tailEnd/>
          </a:ln>
        </p:spPr>
        <p:txBody>
          <a:bodyPr/>
          <a:lstStyle/>
          <a:p>
            <a:endParaRPr lang="en-AU"/>
          </a:p>
        </p:txBody>
      </p:sp>
      <p:sp>
        <p:nvSpPr>
          <p:cNvPr id="2336" name="Freeform 449"/>
          <p:cNvSpPr>
            <a:spLocks/>
          </p:cNvSpPr>
          <p:nvPr>
            <p:custDataLst>
              <p:tags r:id="rId287"/>
            </p:custDataLst>
          </p:nvPr>
        </p:nvSpPr>
        <p:spPr bwMode="auto">
          <a:xfrm>
            <a:off x="6677025" y="3017838"/>
            <a:ext cx="55563" cy="57150"/>
          </a:xfrm>
          <a:custGeom>
            <a:avLst/>
            <a:gdLst>
              <a:gd name="T0" fmla="*/ 0 w 126"/>
              <a:gd name="T1" fmla="*/ 2147483647 h 105"/>
              <a:gd name="T2" fmla="*/ 2147483647 w 126"/>
              <a:gd name="T3" fmla="*/ 2147483647 h 105"/>
              <a:gd name="T4" fmla="*/ 2147483647 w 126"/>
              <a:gd name="T5" fmla="*/ 2147483647 h 105"/>
              <a:gd name="T6" fmla="*/ 2147483647 w 126"/>
              <a:gd name="T7" fmla="*/ 2147483647 h 105"/>
              <a:gd name="T8" fmla="*/ 2147483647 w 126"/>
              <a:gd name="T9" fmla="*/ 2147483647 h 105"/>
              <a:gd name="T10" fmla="*/ 2147483647 w 126"/>
              <a:gd name="T11" fmla="*/ 2147483647 h 105"/>
              <a:gd name="T12" fmla="*/ 2147483647 w 126"/>
              <a:gd name="T13" fmla="*/ 0 h 105"/>
              <a:gd name="T14" fmla="*/ 2147483647 w 126"/>
              <a:gd name="T15" fmla="*/ 0 h 105"/>
              <a:gd name="T16" fmla="*/ 2147483647 w 126"/>
              <a:gd name="T17" fmla="*/ 2147483647 h 105"/>
              <a:gd name="T18" fmla="*/ 2147483647 w 126"/>
              <a:gd name="T19" fmla="*/ 2147483647 h 105"/>
              <a:gd name="T20" fmla="*/ 2147483647 w 126"/>
              <a:gd name="T21" fmla="*/ 2147483647 h 105"/>
              <a:gd name="T22" fmla="*/ 2147483647 w 126"/>
              <a:gd name="T23" fmla="*/ 2147483647 h 105"/>
              <a:gd name="T24" fmla="*/ 2147483647 w 126"/>
              <a:gd name="T25" fmla="*/ 2147483647 h 105"/>
              <a:gd name="T26" fmla="*/ 2147483647 w 126"/>
              <a:gd name="T27" fmla="*/ 2147483647 h 105"/>
              <a:gd name="T28" fmla="*/ 2147483647 w 126"/>
              <a:gd name="T29" fmla="*/ 2147483647 h 105"/>
              <a:gd name="T30" fmla="*/ 2147483647 w 126"/>
              <a:gd name="T31" fmla="*/ 2147483647 h 105"/>
              <a:gd name="T32" fmla="*/ 2147483647 w 126"/>
              <a:gd name="T33" fmla="*/ 2147483647 h 105"/>
              <a:gd name="T34" fmla="*/ 2147483647 w 126"/>
              <a:gd name="T35" fmla="*/ 2147483647 h 105"/>
              <a:gd name="T36" fmla="*/ 2147483647 w 126"/>
              <a:gd name="T37" fmla="*/ 2147483647 h 105"/>
              <a:gd name="T38" fmla="*/ 2147483647 w 126"/>
              <a:gd name="T39" fmla="*/ 2147483647 h 105"/>
              <a:gd name="T40" fmla="*/ 2147483647 w 126"/>
              <a:gd name="T41" fmla="*/ 2147483647 h 105"/>
              <a:gd name="T42" fmla="*/ 2147483647 w 126"/>
              <a:gd name="T43" fmla="*/ 2147483647 h 105"/>
              <a:gd name="T44" fmla="*/ 2147483647 w 126"/>
              <a:gd name="T45" fmla="*/ 2147483647 h 105"/>
              <a:gd name="T46" fmla="*/ 2147483647 w 126"/>
              <a:gd name="T47" fmla="*/ 2147483647 h 105"/>
              <a:gd name="T48" fmla="*/ 2147483647 w 126"/>
              <a:gd name="T49" fmla="*/ 2147483647 h 105"/>
              <a:gd name="T50" fmla="*/ 2147483647 w 126"/>
              <a:gd name="T51" fmla="*/ 2147483647 h 105"/>
              <a:gd name="T52" fmla="*/ 2147483647 w 126"/>
              <a:gd name="T53" fmla="*/ 2147483647 h 105"/>
              <a:gd name="T54" fmla="*/ 2147483647 w 126"/>
              <a:gd name="T55" fmla="*/ 2147483647 h 105"/>
              <a:gd name="T56" fmla="*/ 2147483647 w 126"/>
              <a:gd name="T57" fmla="*/ 2147483647 h 105"/>
              <a:gd name="T58" fmla="*/ 2147483647 w 126"/>
              <a:gd name="T59" fmla="*/ 2147483647 h 105"/>
              <a:gd name="T60" fmla="*/ 2147483647 w 126"/>
              <a:gd name="T61" fmla="*/ 2147483647 h 105"/>
              <a:gd name="T62" fmla="*/ 2147483647 w 126"/>
              <a:gd name="T63" fmla="*/ 2147483647 h 105"/>
              <a:gd name="T64" fmla="*/ 2147483647 w 126"/>
              <a:gd name="T65" fmla="*/ 2147483647 h 105"/>
              <a:gd name="T66" fmla="*/ 2147483647 w 126"/>
              <a:gd name="T67" fmla="*/ 2147483647 h 105"/>
              <a:gd name="T68" fmla="*/ 2147483647 w 126"/>
              <a:gd name="T69" fmla="*/ 2147483647 h 105"/>
              <a:gd name="T70" fmla="*/ 2147483647 w 126"/>
              <a:gd name="T71" fmla="*/ 2147483647 h 105"/>
              <a:gd name="T72" fmla="*/ 2147483647 w 126"/>
              <a:gd name="T73" fmla="*/ 2147483647 h 105"/>
              <a:gd name="T74" fmla="*/ 2147483647 w 126"/>
              <a:gd name="T75" fmla="*/ 2147483647 h 105"/>
              <a:gd name="T76" fmla="*/ 0 w 126"/>
              <a:gd name="T77" fmla="*/ 2147483647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ED2A09"/>
          </a:solidFill>
          <a:ln w="9525" cmpd="sng">
            <a:solidFill>
              <a:srgbClr val="FFFFFF"/>
            </a:solidFill>
            <a:prstDash val="solid"/>
            <a:round/>
            <a:headEnd/>
            <a:tailEnd/>
          </a:ln>
        </p:spPr>
        <p:txBody>
          <a:bodyPr/>
          <a:lstStyle/>
          <a:p>
            <a:endParaRPr lang="en-AU"/>
          </a:p>
        </p:txBody>
      </p:sp>
      <p:sp>
        <p:nvSpPr>
          <p:cNvPr id="2337" name="Freeform 450"/>
          <p:cNvSpPr>
            <a:spLocks/>
          </p:cNvSpPr>
          <p:nvPr>
            <p:custDataLst>
              <p:tags r:id="rId288"/>
            </p:custDataLst>
          </p:nvPr>
        </p:nvSpPr>
        <p:spPr bwMode="auto">
          <a:xfrm>
            <a:off x="2032000" y="3281363"/>
            <a:ext cx="298450" cy="523875"/>
          </a:xfrm>
          <a:custGeom>
            <a:avLst/>
            <a:gdLst>
              <a:gd name="T0" fmla="*/ 2147483647 w 684"/>
              <a:gd name="T1" fmla="*/ 2147483647 h 998"/>
              <a:gd name="T2" fmla="*/ 2147483647 w 684"/>
              <a:gd name="T3" fmla="*/ 2147483647 h 998"/>
              <a:gd name="T4" fmla="*/ 2147483647 w 684"/>
              <a:gd name="T5" fmla="*/ 2147483647 h 998"/>
              <a:gd name="T6" fmla="*/ 2147483647 w 684"/>
              <a:gd name="T7" fmla="*/ 2147483647 h 998"/>
              <a:gd name="T8" fmla="*/ 2147483647 w 684"/>
              <a:gd name="T9" fmla="*/ 2147483647 h 998"/>
              <a:gd name="T10" fmla="*/ 2147483647 w 684"/>
              <a:gd name="T11" fmla="*/ 2147483647 h 998"/>
              <a:gd name="T12" fmla="*/ 2147483647 w 684"/>
              <a:gd name="T13" fmla="*/ 2147483647 h 998"/>
              <a:gd name="T14" fmla="*/ 2147483647 w 684"/>
              <a:gd name="T15" fmla="*/ 2147483647 h 998"/>
              <a:gd name="T16" fmla="*/ 2147483647 w 684"/>
              <a:gd name="T17" fmla="*/ 2147483647 h 998"/>
              <a:gd name="T18" fmla="*/ 2147483647 w 684"/>
              <a:gd name="T19" fmla="*/ 2147483647 h 998"/>
              <a:gd name="T20" fmla="*/ 2147483647 w 684"/>
              <a:gd name="T21" fmla="*/ 2147483647 h 998"/>
              <a:gd name="T22" fmla="*/ 2147483647 w 684"/>
              <a:gd name="T23" fmla="*/ 2147483647 h 998"/>
              <a:gd name="T24" fmla="*/ 2147483647 w 684"/>
              <a:gd name="T25" fmla="*/ 2147483647 h 998"/>
              <a:gd name="T26" fmla="*/ 2147483647 w 684"/>
              <a:gd name="T27" fmla="*/ 2147483647 h 998"/>
              <a:gd name="T28" fmla="*/ 2147483647 w 684"/>
              <a:gd name="T29" fmla="*/ 2147483647 h 998"/>
              <a:gd name="T30" fmla="*/ 2147483647 w 684"/>
              <a:gd name="T31" fmla="*/ 2147483647 h 998"/>
              <a:gd name="T32" fmla="*/ 2147483647 w 684"/>
              <a:gd name="T33" fmla="*/ 2147483647 h 998"/>
              <a:gd name="T34" fmla="*/ 2147483647 w 684"/>
              <a:gd name="T35" fmla="*/ 2147483647 h 998"/>
              <a:gd name="T36" fmla="*/ 2147483647 w 684"/>
              <a:gd name="T37" fmla="*/ 2147483647 h 998"/>
              <a:gd name="T38" fmla="*/ 2147483647 w 684"/>
              <a:gd name="T39" fmla="*/ 2147483647 h 998"/>
              <a:gd name="T40" fmla="*/ 2147483647 w 684"/>
              <a:gd name="T41" fmla="*/ 2147483647 h 998"/>
              <a:gd name="T42" fmla="*/ 2147483647 w 684"/>
              <a:gd name="T43" fmla="*/ 2147483647 h 998"/>
              <a:gd name="T44" fmla="*/ 2147483647 w 684"/>
              <a:gd name="T45" fmla="*/ 2147483647 h 998"/>
              <a:gd name="T46" fmla="*/ 2147483647 w 684"/>
              <a:gd name="T47" fmla="*/ 2147483647 h 998"/>
              <a:gd name="T48" fmla="*/ 2147483647 w 684"/>
              <a:gd name="T49" fmla="*/ 2147483647 h 998"/>
              <a:gd name="T50" fmla="*/ 2147483647 w 684"/>
              <a:gd name="T51" fmla="*/ 2147483647 h 998"/>
              <a:gd name="T52" fmla="*/ 2147483647 w 684"/>
              <a:gd name="T53" fmla="*/ 2147483647 h 998"/>
              <a:gd name="T54" fmla="*/ 2147483647 w 684"/>
              <a:gd name="T55" fmla="*/ 2147483647 h 998"/>
              <a:gd name="T56" fmla="*/ 2147483647 w 684"/>
              <a:gd name="T57" fmla="*/ 2147483647 h 998"/>
              <a:gd name="T58" fmla="*/ 2147483647 w 684"/>
              <a:gd name="T59" fmla="*/ 2147483647 h 998"/>
              <a:gd name="T60" fmla="*/ 2147483647 w 684"/>
              <a:gd name="T61" fmla="*/ 2147483647 h 998"/>
              <a:gd name="T62" fmla="*/ 2147483647 w 684"/>
              <a:gd name="T63" fmla="*/ 2147483647 h 998"/>
              <a:gd name="T64" fmla="*/ 2147483647 w 684"/>
              <a:gd name="T65" fmla="*/ 2147483647 h 998"/>
              <a:gd name="T66" fmla="*/ 2147483647 w 684"/>
              <a:gd name="T67" fmla="*/ 2147483647 h 998"/>
              <a:gd name="T68" fmla="*/ 2147483647 w 684"/>
              <a:gd name="T69" fmla="*/ 2147483647 h 998"/>
              <a:gd name="T70" fmla="*/ 2147483647 w 684"/>
              <a:gd name="T71" fmla="*/ 2147483647 h 998"/>
              <a:gd name="T72" fmla="*/ 2147483647 w 684"/>
              <a:gd name="T73" fmla="*/ 2147483647 h 998"/>
              <a:gd name="T74" fmla="*/ 2147483647 w 684"/>
              <a:gd name="T75" fmla="*/ 2147483647 h 998"/>
              <a:gd name="T76" fmla="*/ 2147483647 w 684"/>
              <a:gd name="T77" fmla="*/ 2147483647 h 998"/>
              <a:gd name="T78" fmla="*/ 2147483647 w 684"/>
              <a:gd name="T79" fmla="*/ 2147483647 h 998"/>
              <a:gd name="T80" fmla="*/ 2147483647 w 684"/>
              <a:gd name="T81" fmla="*/ 2147483647 h 998"/>
              <a:gd name="T82" fmla="*/ 2147483647 w 684"/>
              <a:gd name="T83" fmla="*/ 2147483647 h 998"/>
              <a:gd name="T84" fmla="*/ 2147483647 w 684"/>
              <a:gd name="T85" fmla="*/ 2147483647 h 998"/>
              <a:gd name="T86" fmla="*/ 2147483647 w 684"/>
              <a:gd name="T87" fmla="*/ 2147483647 h 998"/>
              <a:gd name="T88" fmla="*/ 2147483647 w 684"/>
              <a:gd name="T89" fmla="*/ 2147483647 h 998"/>
              <a:gd name="T90" fmla="*/ 2147483647 w 684"/>
              <a:gd name="T91" fmla="*/ 2147483647 h 998"/>
              <a:gd name="T92" fmla="*/ 2147483647 w 684"/>
              <a:gd name="T93" fmla="*/ 2147483647 h 998"/>
              <a:gd name="T94" fmla="*/ 2147483647 w 684"/>
              <a:gd name="T95" fmla="*/ 2147483647 h 998"/>
              <a:gd name="T96" fmla="*/ 2147483647 w 684"/>
              <a:gd name="T97" fmla="*/ 2147483647 h 998"/>
              <a:gd name="T98" fmla="*/ 2147483647 w 684"/>
              <a:gd name="T99" fmla="*/ 2147483647 h 998"/>
              <a:gd name="T100" fmla="*/ 2147483647 w 684"/>
              <a:gd name="T101" fmla="*/ 2147483647 h 998"/>
              <a:gd name="T102" fmla="*/ 2147483647 w 684"/>
              <a:gd name="T103" fmla="*/ 2147483647 h 998"/>
              <a:gd name="T104" fmla="*/ 2147483647 w 684"/>
              <a:gd name="T105" fmla="*/ 2147483647 h 998"/>
              <a:gd name="T106" fmla="*/ 2147483647 w 684"/>
              <a:gd name="T107" fmla="*/ 2147483647 h 998"/>
              <a:gd name="T108" fmla="*/ 2147483647 w 684"/>
              <a:gd name="T109" fmla="*/ 2147483647 h 998"/>
              <a:gd name="T110" fmla="*/ 2147483647 w 684"/>
              <a:gd name="T111" fmla="*/ 2147483647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338" name="Freeform 451"/>
          <p:cNvSpPr>
            <a:spLocks/>
          </p:cNvSpPr>
          <p:nvPr>
            <p:custDataLst>
              <p:tags r:id="rId289"/>
            </p:custDataLst>
          </p:nvPr>
        </p:nvSpPr>
        <p:spPr bwMode="auto">
          <a:xfrm>
            <a:off x="4284663" y="3549650"/>
            <a:ext cx="187325" cy="274638"/>
          </a:xfrm>
          <a:custGeom>
            <a:avLst/>
            <a:gdLst>
              <a:gd name="T0" fmla="*/ 2147483647 w 429"/>
              <a:gd name="T1" fmla="*/ 2147483647 h 524"/>
              <a:gd name="T2" fmla="*/ 2147483647 w 429"/>
              <a:gd name="T3" fmla="*/ 2147483647 h 524"/>
              <a:gd name="T4" fmla="*/ 2147483647 w 429"/>
              <a:gd name="T5" fmla="*/ 2147483647 h 524"/>
              <a:gd name="T6" fmla="*/ 2147483647 w 429"/>
              <a:gd name="T7" fmla="*/ 2147483647 h 524"/>
              <a:gd name="T8" fmla="*/ 2147483647 w 429"/>
              <a:gd name="T9" fmla="*/ 2147483647 h 524"/>
              <a:gd name="T10" fmla="*/ 2147483647 w 429"/>
              <a:gd name="T11" fmla="*/ 2147483647 h 524"/>
              <a:gd name="T12" fmla="*/ 2147483647 w 429"/>
              <a:gd name="T13" fmla="*/ 2147483647 h 524"/>
              <a:gd name="T14" fmla="*/ 2147483647 w 429"/>
              <a:gd name="T15" fmla="*/ 2147483647 h 524"/>
              <a:gd name="T16" fmla="*/ 2147483647 w 429"/>
              <a:gd name="T17" fmla="*/ 2147483647 h 524"/>
              <a:gd name="T18" fmla="*/ 2147483647 w 429"/>
              <a:gd name="T19" fmla="*/ 2147483647 h 524"/>
              <a:gd name="T20" fmla="*/ 2147483647 w 429"/>
              <a:gd name="T21" fmla="*/ 2147483647 h 524"/>
              <a:gd name="T22" fmla="*/ 2147483647 w 429"/>
              <a:gd name="T23" fmla="*/ 2147483647 h 524"/>
              <a:gd name="T24" fmla="*/ 2147483647 w 429"/>
              <a:gd name="T25" fmla="*/ 2147483647 h 524"/>
              <a:gd name="T26" fmla="*/ 2147483647 w 429"/>
              <a:gd name="T27" fmla="*/ 2147483647 h 524"/>
              <a:gd name="T28" fmla="*/ 2147483647 w 429"/>
              <a:gd name="T29" fmla="*/ 2147483647 h 524"/>
              <a:gd name="T30" fmla="*/ 2147483647 w 429"/>
              <a:gd name="T31" fmla="*/ 2147483647 h 524"/>
              <a:gd name="T32" fmla="*/ 2147483647 w 429"/>
              <a:gd name="T33" fmla="*/ 2147483647 h 524"/>
              <a:gd name="T34" fmla="*/ 2147483647 w 429"/>
              <a:gd name="T35" fmla="*/ 2147483647 h 524"/>
              <a:gd name="T36" fmla="*/ 2147483647 w 429"/>
              <a:gd name="T37" fmla="*/ 2147483647 h 524"/>
              <a:gd name="T38" fmla="*/ 2147483647 w 429"/>
              <a:gd name="T39" fmla="*/ 2147483647 h 524"/>
              <a:gd name="T40" fmla="*/ 2147483647 w 429"/>
              <a:gd name="T41" fmla="*/ 2147483647 h 524"/>
              <a:gd name="T42" fmla="*/ 2147483647 w 429"/>
              <a:gd name="T43" fmla="*/ 2147483647 h 524"/>
              <a:gd name="T44" fmla="*/ 2147483647 w 429"/>
              <a:gd name="T45" fmla="*/ 2147483647 h 524"/>
              <a:gd name="T46" fmla="*/ 2147483647 w 429"/>
              <a:gd name="T47" fmla="*/ 2147483647 h 524"/>
              <a:gd name="T48" fmla="*/ 2147483647 w 429"/>
              <a:gd name="T49" fmla="*/ 2147483647 h 524"/>
              <a:gd name="T50" fmla="*/ 2147483647 w 429"/>
              <a:gd name="T51" fmla="*/ 2147483647 h 524"/>
              <a:gd name="T52" fmla="*/ 2147483647 w 429"/>
              <a:gd name="T53" fmla="*/ 2147483647 h 524"/>
              <a:gd name="T54" fmla="*/ 2147483647 w 429"/>
              <a:gd name="T55" fmla="*/ 2147483647 h 524"/>
              <a:gd name="T56" fmla="*/ 2147483647 w 429"/>
              <a:gd name="T57" fmla="*/ 2147483647 h 524"/>
              <a:gd name="T58" fmla="*/ 2147483647 w 429"/>
              <a:gd name="T59" fmla="*/ 2147483647 h 524"/>
              <a:gd name="T60" fmla="*/ 2147483647 w 429"/>
              <a:gd name="T61" fmla="*/ 2147483647 h 524"/>
              <a:gd name="T62" fmla="*/ 2147483647 w 429"/>
              <a:gd name="T63" fmla="*/ 2147483647 h 524"/>
              <a:gd name="T64" fmla="*/ 2147483647 w 429"/>
              <a:gd name="T65" fmla="*/ 2147483647 h 524"/>
              <a:gd name="T66" fmla="*/ 2147483647 w 429"/>
              <a:gd name="T67" fmla="*/ 2147483647 h 524"/>
              <a:gd name="T68" fmla="*/ 2147483647 w 429"/>
              <a:gd name="T69" fmla="*/ 2147483647 h 524"/>
              <a:gd name="T70" fmla="*/ 2147483647 w 429"/>
              <a:gd name="T71" fmla="*/ 2147483647 h 524"/>
              <a:gd name="T72" fmla="*/ 2147483647 w 429"/>
              <a:gd name="T73" fmla="*/ 2147483647 h 524"/>
              <a:gd name="T74" fmla="*/ 2147483647 w 429"/>
              <a:gd name="T75" fmla="*/ 2147483647 h 524"/>
              <a:gd name="T76" fmla="*/ 2147483647 w 429"/>
              <a:gd name="T77" fmla="*/ 2147483647 h 524"/>
              <a:gd name="T78" fmla="*/ 2147483647 w 429"/>
              <a:gd name="T79" fmla="*/ 2147483647 h 524"/>
              <a:gd name="T80" fmla="*/ 2147483647 w 429"/>
              <a:gd name="T81" fmla="*/ 2147483647 h 524"/>
              <a:gd name="T82" fmla="*/ 2147483647 w 429"/>
              <a:gd name="T83" fmla="*/ 2147483647 h 524"/>
              <a:gd name="T84" fmla="*/ 2147483647 w 429"/>
              <a:gd name="T85" fmla="*/ 2147483647 h 524"/>
              <a:gd name="T86" fmla="*/ 2147483647 w 429"/>
              <a:gd name="T87" fmla="*/ 2147483647 h 524"/>
              <a:gd name="T88" fmla="*/ 2147483647 w 429"/>
              <a:gd name="T89" fmla="*/ 2147483647 h 524"/>
              <a:gd name="T90" fmla="*/ 2147483647 w 429"/>
              <a:gd name="T91" fmla="*/ 2147483647 h 524"/>
              <a:gd name="T92" fmla="*/ 2147483647 w 429"/>
              <a:gd name="T93" fmla="*/ 2147483647 h 524"/>
              <a:gd name="T94" fmla="*/ 2147483647 w 429"/>
              <a:gd name="T95" fmla="*/ 2147483647 h 524"/>
              <a:gd name="T96" fmla="*/ 2147483647 w 429"/>
              <a:gd name="T97" fmla="*/ 2147483647 h 524"/>
              <a:gd name="T98" fmla="*/ 2147483647 w 429"/>
              <a:gd name="T99" fmla="*/ 2147483647 h 524"/>
              <a:gd name="T100" fmla="*/ 2147483647 w 429"/>
              <a:gd name="T101" fmla="*/ 2147483647 h 524"/>
              <a:gd name="T102" fmla="*/ 2147483647 w 429"/>
              <a:gd name="T103" fmla="*/ 2147483647 h 524"/>
              <a:gd name="T104" fmla="*/ 2147483647 w 429"/>
              <a:gd name="T105" fmla="*/ 2147483647 h 524"/>
              <a:gd name="T106" fmla="*/ 2147483647 w 429"/>
              <a:gd name="T107" fmla="*/ 2147483647 h 524"/>
              <a:gd name="T108" fmla="*/ 2147483647 w 429"/>
              <a:gd name="T109" fmla="*/ 2147483647 h 524"/>
              <a:gd name="T110" fmla="*/ 2147483647 w 429"/>
              <a:gd name="T111" fmla="*/ 2147483647 h 524"/>
              <a:gd name="T112" fmla="*/ 2147483647 w 429"/>
              <a:gd name="T113" fmla="*/ 2147483647 h 524"/>
              <a:gd name="T114" fmla="*/ 2147483647 w 429"/>
              <a:gd name="T115" fmla="*/ 2147483647 h 524"/>
              <a:gd name="T116" fmla="*/ 2147483647 w 429"/>
              <a:gd name="T117" fmla="*/ 2147483647 h 524"/>
              <a:gd name="T118" fmla="*/ 2147483647 w 429"/>
              <a:gd name="T119" fmla="*/ 2147483647 h 524"/>
              <a:gd name="T120" fmla="*/ 2147483647 w 429"/>
              <a:gd name="T121" fmla="*/ 2147483647 h 524"/>
              <a:gd name="T122" fmla="*/ 2147483647 w 429"/>
              <a:gd name="T123" fmla="*/ 2147483647 h 524"/>
              <a:gd name="T124" fmla="*/ 2147483647 w 429"/>
              <a:gd name="T125" fmla="*/ 2147483647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mpd="sng">
            <a:solidFill>
              <a:srgbClr val="FFFFFF"/>
            </a:solidFill>
            <a:prstDash val="solid"/>
            <a:round/>
            <a:headEnd/>
            <a:tailEnd/>
          </a:ln>
        </p:spPr>
        <p:txBody>
          <a:bodyPr/>
          <a:lstStyle/>
          <a:p>
            <a:endParaRPr lang="en-AU"/>
          </a:p>
        </p:txBody>
      </p:sp>
      <p:sp>
        <p:nvSpPr>
          <p:cNvPr id="2339" name="Freeform 452"/>
          <p:cNvSpPr>
            <a:spLocks/>
          </p:cNvSpPr>
          <p:nvPr>
            <p:custDataLst>
              <p:tags r:id="rId290"/>
            </p:custDataLst>
          </p:nvPr>
        </p:nvSpPr>
        <p:spPr bwMode="auto">
          <a:xfrm>
            <a:off x="4316413" y="2192338"/>
            <a:ext cx="127000" cy="114300"/>
          </a:xfrm>
          <a:custGeom>
            <a:avLst/>
            <a:gdLst>
              <a:gd name="T0" fmla="*/ 2147483647 w 292"/>
              <a:gd name="T1" fmla="*/ 2147483647 h 223"/>
              <a:gd name="T2" fmla="*/ 2147483647 w 292"/>
              <a:gd name="T3" fmla="*/ 2147483647 h 223"/>
              <a:gd name="T4" fmla="*/ 2147483647 w 292"/>
              <a:gd name="T5" fmla="*/ 2147483647 h 223"/>
              <a:gd name="T6" fmla="*/ 2147483647 w 292"/>
              <a:gd name="T7" fmla="*/ 2147483647 h 223"/>
              <a:gd name="T8" fmla="*/ 2147483647 w 292"/>
              <a:gd name="T9" fmla="*/ 2147483647 h 223"/>
              <a:gd name="T10" fmla="*/ 2147483647 w 292"/>
              <a:gd name="T11" fmla="*/ 2147483647 h 223"/>
              <a:gd name="T12" fmla="*/ 2147483647 w 292"/>
              <a:gd name="T13" fmla="*/ 2147483647 h 223"/>
              <a:gd name="T14" fmla="*/ 2147483647 w 292"/>
              <a:gd name="T15" fmla="*/ 2147483647 h 223"/>
              <a:gd name="T16" fmla="*/ 2147483647 w 292"/>
              <a:gd name="T17" fmla="*/ 2147483647 h 223"/>
              <a:gd name="T18" fmla="*/ 2147483647 w 292"/>
              <a:gd name="T19" fmla="*/ 2147483647 h 223"/>
              <a:gd name="T20" fmla="*/ 2147483647 w 292"/>
              <a:gd name="T21" fmla="*/ 2147483647 h 223"/>
              <a:gd name="T22" fmla="*/ 2147483647 w 292"/>
              <a:gd name="T23" fmla="*/ 2147483647 h 223"/>
              <a:gd name="T24" fmla="*/ 2147483647 w 292"/>
              <a:gd name="T25" fmla="*/ 2147483647 h 223"/>
              <a:gd name="T26" fmla="*/ 2147483647 w 292"/>
              <a:gd name="T27" fmla="*/ 2147483647 h 223"/>
              <a:gd name="T28" fmla="*/ 2147483647 w 292"/>
              <a:gd name="T29" fmla="*/ 2147483647 h 223"/>
              <a:gd name="T30" fmla="*/ 2147483647 w 292"/>
              <a:gd name="T31" fmla="*/ 2147483647 h 223"/>
              <a:gd name="T32" fmla="*/ 2147483647 w 292"/>
              <a:gd name="T33" fmla="*/ 2147483647 h 223"/>
              <a:gd name="T34" fmla="*/ 2147483647 w 292"/>
              <a:gd name="T35" fmla="*/ 2147483647 h 223"/>
              <a:gd name="T36" fmla="*/ 2147483647 w 292"/>
              <a:gd name="T37" fmla="*/ 2147483647 h 223"/>
              <a:gd name="T38" fmla="*/ 2147483647 w 292"/>
              <a:gd name="T39" fmla="*/ 2147483647 h 223"/>
              <a:gd name="T40" fmla="*/ 2147483647 w 292"/>
              <a:gd name="T41" fmla="*/ 2147483647 h 223"/>
              <a:gd name="T42" fmla="*/ 2147483647 w 292"/>
              <a:gd name="T43" fmla="*/ 2147483647 h 223"/>
              <a:gd name="T44" fmla="*/ 2147483647 w 292"/>
              <a:gd name="T45" fmla="*/ 2147483647 h 223"/>
              <a:gd name="T46" fmla="*/ 2147483647 w 292"/>
              <a:gd name="T47" fmla="*/ 2147483647 h 223"/>
              <a:gd name="T48" fmla="*/ 2147483647 w 292"/>
              <a:gd name="T49" fmla="*/ 2147483647 h 223"/>
              <a:gd name="T50" fmla="*/ 2147483647 w 292"/>
              <a:gd name="T51" fmla="*/ 2147483647 h 223"/>
              <a:gd name="T52" fmla="*/ 0 w 292"/>
              <a:gd name="T53" fmla="*/ 2147483647 h 223"/>
              <a:gd name="T54" fmla="*/ 2147483647 w 292"/>
              <a:gd name="T55" fmla="*/ 2147483647 h 223"/>
              <a:gd name="T56" fmla="*/ 2147483647 w 292"/>
              <a:gd name="T57" fmla="*/ 2147483647 h 223"/>
              <a:gd name="T58" fmla="*/ 2147483647 w 292"/>
              <a:gd name="T59" fmla="*/ 2147483647 h 223"/>
              <a:gd name="T60" fmla="*/ 2147483647 w 292"/>
              <a:gd name="T61" fmla="*/ 2147483647 h 223"/>
              <a:gd name="T62" fmla="*/ 2147483647 w 292"/>
              <a:gd name="T63" fmla="*/ 2147483647 h 223"/>
              <a:gd name="T64" fmla="*/ 2147483647 w 292"/>
              <a:gd name="T65" fmla="*/ 2147483647 h 223"/>
              <a:gd name="T66" fmla="*/ 2147483647 w 292"/>
              <a:gd name="T67" fmla="*/ 0 h 223"/>
              <a:gd name="T68" fmla="*/ 2147483647 w 292"/>
              <a:gd name="T69" fmla="*/ 2147483647 h 223"/>
              <a:gd name="T70" fmla="*/ 2147483647 w 292"/>
              <a:gd name="T71" fmla="*/ 2147483647 h 223"/>
              <a:gd name="T72" fmla="*/ 2147483647 w 292"/>
              <a:gd name="T73" fmla="*/ 2147483647 h 223"/>
              <a:gd name="T74" fmla="*/ 2147483647 w 292"/>
              <a:gd name="T75" fmla="*/ 2147483647 h 223"/>
              <a:gd name="T76" fmla="*/ 2147483647 w 292"/>
              <a:gd name="T77" fmla="*/ 2147483647 h 223"/>
              <a:gd name="T78" fmla="*/ 2147483647 w 292"/>
              <a:gd name="T79" fmla="*/ 2147483647 h 223"/>
              <a:gd name="T80" fmla="*/ 2147483647 w 292"/>
              <a:gd name="T81" fmla="*/ 2147483647 h 223"/>
              <a:gd name="T82" fmla="*/ 2147483647 w 292"/>
              <a:gd name="T83" fmla="*/ 2147483647 h 223"/>
              <a:gd name="T84" fmla="*/ 2147483647 w 292"/>
              <a:gd name="T85" fmla="*/ 2147483647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340" name="Freeform 453"/>
          <p:cNvSpPr>
            <a:spLocks/>
          </p:cNvSpPr>
          <p:nvPr>
            <p:custDataLst>
              <p:tags r:id="rId291"/>
            </p:custDataLst>
          </p:nvPr>
        </p:nvSpPr>
        <p:spPr bwMode="auto">
          <a:xfrm>
            <a:off x="4267200" y="2051050"/>
            <a:ext cx="168275" cy="77788"/>
          </a:xfrm>
          <a:custGeom>
            <a:avLst/>
            <a:gdLst>
              <a:gd name="T0" fmla="*/ 2147483647 w 379"/>
              <a:gd name="T1" fmla="*/ 2147483647 h 147"/>
              <a:gd name="T2" fmla="*/ 2147483647 w 379"/>
              <a:gd name="T3" fmla="*/ 2147483647 h 147"/>
              <a:gd name="T4" fmla="*/ 2147483647 w 379"/>
              <a:gd name="T5" fmla="*/ 2147483647 h 147"/>
              <a:gd name="T6" fmla="*/ 2147483647 w 379"/>
              <a:gd name="T7" fmla="*/ 2147483647 h 147"/>
              <a:gd name="T8" fmla="*/ 2147483647 w 379"/>
              <a:gd name="T9" fmla="*/ 2147483647 h 147"/>
              <a:gd name="T10" fmla="*/ 2147483647 w 379"/>
              <a:gd name="T11" fmla="*/ 2147483647 h 147"/>
              <a:gd name="T12" fmla="*/ 2147483647 w 379"/>
              <a:gd name="T13" fmla="*/ 2147483647 h 147"/>
              <a:gd name="T14" fmla="*/ 2147483647 w 379"/>
              <a:gd name="T15" fmla="*/ 2147483647 h 147"/>
              <a:gd name="T16" fmla="*/ 2147483647 w 379"/>
              <a:gd name="T17" fmla="*/ 2147483647 h 147"/>
              <a:gd name="T18" fmla="*/ 2147483647 w 379"/>
              <a:gd name="T19" fmla="*/ 2147483647 h 147"/>
              <a:gd name="T20" fmla="*/ 2147483647 w 379"/>
              <a:gd name="T21" fmla="*/ 2147483647 h 147"/>
              <a:gd name="T22" fmla="*/ 2147483647 w 379"/>
              <a:gd name="T23" fmla="*/ 2147483647 h 147"/>
              <a:gd name="T24" fmla="*/ 2147483647 w 379"/>
              <a:gd name="T25" fmla="*/ 2147483647 h 147"/>
              <a:gd name="T26" fmla="*/ 2147483647 w 379"/>
              <a:gd name="T27" fmla="*/ 2147483647 h 147"/>
              <a:gd name="T28" fmla="*/ 2147483647 w 379"/>
              <a:gd name="T29" fmla="*/ 2147483647 h 147"/>
              <a:gd name="T30" fmla="*/ 2147483647 w 379"/>
              <a:gd name="T31" fmla="*/ 2147483647 h 147"/>
              <a:gd name="T32" fmla="*/ 2147483647 w 379"/>
              <a:gd name="T33" fmla="*/ 2147483647 h 147"/>
              <a:gd name="T34" fmla="*/ 2147483647 w 379"/>
              <a:gd name="T35" fmla="*/ 2147483647 h 147"/>
              <a:gd name="T36" fmla="*/ 2147483647 w 379"/>
              <a:gd name="T37" fmla="*/ 2147483647 h 147"/>
              <a:gd name="T38" fmla="*/ 2147483647 w 379"/>
              <a:gd name="T39" fmla="*/ 2147483647 h 147"/>
              <a:gd name="T40" fmla="*/ 2147483647 w 379"/>
              <a:gd name="T41" fmla="*/ 2147483647 h 147"/>
              <a:gd name="T42" fmla="*/ 2147483647 w 379"/>
              <a:gd name="T43" fmla="*/ 2147483647 h 147"/>
              <a:gd name="T44" fmla="*/ 2147483647 w 379"/>
              <a:gd name="T45" fmla="*/ 2147483647 h 147"/>
              <a:gd name="T46" fmla="*/ 2147483647 w 379"/>
              <a:gd name="T47" fmla="*/ 2147483647 h 147"/>
              <a:gd name="T48" fmla="*/ 0 w 379"/>
              <a:gd name="T49" fmla="*/ 2147483647 h 147"/>
              <a:gd name="T50" fmla="*/ 2147483647 w 379"/>
              <a:gd name="T51" fmla="*/ 2147483647 h 147"/>
              <a:gd name="T52" fmla="*/ 2147483647 w 379"/>
              <a:gd name="T53" fmla="*/ 2147483647 h 147"/>
              <a:gd name="T54" fmla="*/ 2147483647 w 379"/>
              <a:gd name="T55" fmla="*/ 2147483647 h 147"/>
              <a:gd name="T56" fmla="*/ 2147483647 w 379"/>
              <a:gd name="T57" fmla="*/ 2147483647 h 147"/>
              <a:gd name="T58" fmla="*/ 2147483647 w 379"/>
              <a:gd name="T59" fmla="*/ 2147483647 h 147"/>
              <a:gd name="T60" fmla="*/ 2147483647 w 379"/>
              <a:gd name="T61" fmla="*/ 2147483647 h 147"/>
              <a:gd name="T62" fmla="*/ 2147483647 w 379"/>
              <a:gd name="T63" fmla="*/ 0 h 147"/>
              <a:gd name="T64" fmla="*/ 2147483647 w 379"/>
              <a:gd name="T65" fmla="*/ 2147483647 h 147"/>
              <a:gd name="T66" fmla="*/ 2147483647 w 379"/>
              <a:gd name="T67" fmla="*/ 2147483647 h 147"/>
              <a:gd name="T68" fmla="*/ 2147483647 w 379"/>
              <a:gd name="T69" fmla="*/ 2147483647 h 147"/>
              <a:gd name="T70" fmla="*/ 2147483647 w 379"/>
              <a:gd name="T71" fmla="*/ 2147483647 h 147"/>
              <a:gd name="T72" fmla="*/ 2147483647 w 379"/>
              <a:gd name="T73" fmla="*/ 2147483647 h 147"/>
              <a:gd name="T74" fmla="*/ 2147483647 w 379"/>
              <a:gd name="T75" fmla="*/ 2147483647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341" name="Freeform 454"/>
          <p:cNvSpPr>
            <a:spLocks/>
          </p:cNvSpPr>
          <p:nvPr>
            <p:custDataLst>
              <p:tags r:id="rId292"/>
            </p:custDataLst>
          </p:nvPr>
        </p:nvSpPr>
        <p:spPr bwMode="auto">
          <a:xfrm>
            <a:off x="4230688" y="1906588"/>
            <a:ext cx="30162" cy="60325"/>
          </a:xfrm>
          <a:custGeom>
            <a:avLst/>
            <a:gdLst>
              <a:gd name="T0" fmla="*/ 0 w 61"/>
              <a:gd name="T1" fmla="*/ 0 h 67"/>
              <a:gd name="T2" fmla="*/ 0 w 61"/>
              <a:gd name="T3" fmla="*/ 2147483647 h 67"/>
              <a:gd name="T4" fmla="*/ 0 w 61"/>
              <a:gd name="T5" fmla="*/ 2147483647 h 67"/>
              <a:gd name="T6" fmla="*/ 2147483647 w 61"/>
              <a:gd name="T7" fmla="*/ 2147483647 h 67"/>
              <a:gd name="T8" fmla="*/ 2147483647 w 61"/>
              <a:gd name="T9" fmla="*/ 2147483647 h 67"/>
              <a:gd name="T10" fmla="*/ 2147483647 w 61"/>
              <a:gd name="T11" fmla="*/ 2147483647 h 67"/>
              <a:gd name="T12" fmla="*/ 2147483647 w 61"/>
              <a:gd name="T13" fmla="*/ 2147483647 h 67"/>
              <a:gd name="T14" fmla="*/ 2147483647 w 61"/>
              <a:gd name="T15" fmla="*/ 2147483647 h 67"/>
              <a:gd name="T16" fmla="*/ 2147483647 w 61"/>
              <a:gd name="T17" fmla="*/ 2147483647 h 67"/>
              <a:gd name="T18" fmla="*/ 2147483647 w 61"/>
              <a:gd name="T19" fmla="*/ 2147483647 h 67"/>
              <a:gd name="T20" fmla="*/ 2147483647 w 61"/>
              <a:gd name="T21" fmla="*/ 2147483647 h 67"/>
              <a:gd name="T22" fmla="*/ 2147483647 w 61"/>
              <a:gd name="T23" fmla="*/ 2147483647 h 67"/>
              <a:gd name="T24" fmla="*/ 2147483647 w 61"/>
              <a:gd name="T25" fmla="*/ 2147483647 h 67"/>
              <a:gd name="T26" fmla="*/ 2147483647 w 61"/>
              <a:gd name="T27" fmla="*/ 2147483647 h 67"/>
              <a:gd name="T28" fmla="*/ 2147483647 w 61"/>
              <a:gd name="T29" fmla="*/ 2147483647 h 67"/>
              <a:gd name="T30" fmla="*/ 2147483647 w 61"/>
              <a:gd name="T31" fmla="*/ 2147483647 h 67"/>
              <a:gd name="T32" fmla="*/ 2147483647 w 61"/>
              <a:gd name="T33" fmla="*/ 2147483647 h 67"/>
              <a:gd name="T34" fmla="*/ 2147483647 w 61"/>
              <a:gd name="T35" fmla="*/ 2147483647 h 67"/>
              <a:gd name="T36" fmla="*/ 2147483647 w 61"/>
              <a:gd name="T37" fmla="*/ 0 h 67"/>
              <a:gd name="T38" fmla="*/ 2147483647 w 61"/>
              <a:gd name="T39" fmla="*/ 2147483647 h 67"/>
              <a:gd name="T40" fmla="*/ 2147483647 w 61"/>
              <a:gd name="T41" fmla="*/ 2147483647 h 67"/>
              <a:gd name="T42" fmla="*/ 2147483647 w 61"/>
              <a:gd name="T43" fmla="*/ 2147483647 h 67"/>
              <a:gd name="T44" fmla="*/ 2147483647 w 61"/>
              <a:gd name="T45" fmla="*/ 2147483647 h 67"/>
              <a:gd name="T46" fmla="*/ 2147483647 w 61"/>
              <a:gd name="T47" fmla="*/ 2147483647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342" name="Freeform 455"/>
          <p:cNvSpPr>
            <a:spLocks/>
          </p:cNvSpPr>
          <p:nvPr>
            <p:custDataLst>
              <p:tags r:id="rId293"/>
            </p:custDataLst>
          </p:nvPr>
        </p:nvSpPr>
        <p:spPr bwMode="auto">
          <a:xfrm>
            <a:off x="4202113" y="1911350"/>
            <a:ext cx="25400" cy="58738"/>
          </a:xfrm>
          <a:custGeom>
            <a:avLst/>
            <a:gdLst>
              <a:gd name="T0" fmla="*/ 0 w 60"/>
              <a:gd name="T1" fmla="*/ 2147483647 h 55"/>
              <a:gd name="T2" fmla="*/ 0 w 60"/>
              <a:gd name="T3" fmla="*/ 2147483647 h 55"/>
              <a:gd name="T4" fmla="*/ 2147483647 w 60"/>
              <a:gd name="T5" fmla="*/ 2147483647 h 55"/>
              <a:gd name="T6" fmla="*/ 2147483647 w 60"/>
              <a:gd name="T7" fmla="*/ 2147483647 h 55"/>
              <a:gd name="T8" fmla="*/ 2147483647 w 60"/>
              <a:gd name="T9" fmla="*/ 2147483647 h 55"/>
              <a:gd name="T10" fmla="*/ 2147483647 w 60"/>
              <a:gd name="T11" fmla="*/ 2147483647 h 55"/>
              <a:gd name="T12" fmla="*/ 2147483647 w 60"/>
              <a:gd name="T13" fmla="*/ 2147483647 h 55"/>
              <a:gd name="T14" fmla="*/ 2147483647 w 60"/>
              <a:gd name="T15" fmla="*/ 2147483647 h 55"/>
              <a:gd name="T16" fmla="*/ 2147483647 w 60"/>
              <a:gd name="T17" fmla="*/ 2147483647 h 55"/>
              <a:gd name="T18" fmla="*/ 2147483647 w 60"/>
              <a:gd name="T19" fmla="*/ 2147483647 h 55"/>
              <a:gd name="T20" fmla="*/ 2147483647 w 60"/>
              <a:gd name="T21" fmla="*/ 2147483647 h 55"/>
              <a:gd name="T22" fmla="*/ 2147483647 w 60"/>
              <a:gd name="T23" fmla="*/ 2147483647 h 55"/>
              <a:gd name="T24" fmla="*/ 2147483647 w 60"/>
              <a:gd name="T25" fmla="*/ 2147483647 h 55"/>
              <a:gd name="T26" fmla="*/ 2147483647 w 60"/>
              <a:gd name="T27" fmla="*/ 2147483647 h 55"/>
              <a:gd name="T28" fmla="*/ 2147483647 w 60"/>
              <a:gd name="T29" fmla="*/ 2147483647 h 55"/>
              <a:gd name="T30" fmla="*/ 2147483647 w 60"/>
              <a:gd name="T31" fmla="*/ 2147483647 h 55"/>
              <a:gd name="T32" fmla="*/ 2147483647 w 60"/>
              <a:gd name="T33" fmla="*/ 2147483647 h 55"/>
              <a:gd name="T34" fmla="*/ 2147483647 w 60"/>
              <a:gd name="T35" fmla="*/ 0 h 55"/>
              <a:gd name="T36" fmla="*/ 2147483647 w 60"/>
              <a:gd name="T37" fmla="*/ 2147483647 h 55"/>
              <a:gd name="T38" fmla="*/ 2147483647 w 60"/>
              <a:gd name="T39" fmla="*/ 2147483647 h 55"/>
              <a:gd name="T40" fmla="*/ 2147483647 w 60"/>
              <a:gd name="T41" fmla="*/ 2147483647 h 55"/>
              <a:gd name="T42" fmla="*/ 0 w 60"/>
              <a:gd name="T43" fmla="*/ 2147483647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C0C0C0"/>
          </a:solidFill>
          <a:ln w="9525" cmpd="sng">
            <a:solidFill>
              <a:srgbClr val="FFFFFF"/>
            </a:solidFill>
            <a:prstDash val="solid"/>
            <a:round/>
            <a:headEnd/>
            <a:tailEnd/>
          </a:ln>
        </p:spPr>
        <p:txBody>
          <a:bodyPr/>
          <a:lstStyle/>
          <a:p>
            <a:endParaRPr lang="en-AU"/>
          </a:p>
        </p:txBody>
      </p:sp>
      <p:sp>
        <p:nvSpPr>
          <p:cNvPr id="2343" name="Freeform 456"/>
          <p:cNvSpPr>
            <a:spLocks/>
          </p:cNvSpPr>
          <p:nvPr>
            <p:custDataLst>
              <p:tags r:id="rId294"/>
            </p:custDataLst>
          </p:nvPr>
        </p:nvSpPr>
        <p:spPr bwMode="auto">
          <a:xfrm>
            <a:off x="4171950" y="1857375"/>
            <a:ext cx="52388" cy="77788"/>
          </a:xfrm>
          <a:custGeom>
            <a:avLst/>
            <a:gdLst>
              <a:gd name="T0" fmla="*/ 2147483647 w 120"/>
              <a:gd name="T1" fmla="*/ 2147483647 h 148"/>
              <a:gd name="T2" fmla="*/ 2147483647 w 120"/>
              <a:gd name="T3" fmla="*/ 2147483647 h 148"/>
              <a:gd name="T4" fmla="*/ 2147483647 w 120"/>
              <a:gd name="T5" fmla="*/ 2147483647 h 148"/>
              <a:gd name="T6" fmla="*/ 2147483647 w 120"/>
              <a:gd name="T7" fmla="*/ 2147483647 h 148"/>
              <a:gd name="T8" fmla="*/ 2147483647 w 120"/>
              <a:gd name="T9" fmla="*/ 2147483647 h 148"/>
              <a:gd name="T10" fmla="*/ 2147483647 w 120"/>
              <a:gd name="T11" fmla="*/ 2147483647 h 148"/>
              <a:gd name="T12" fmla="*/ 2147483647 w 120"/>
              <a:gd name="T13" fmla="*/ 2147483647 h 148"/>
              <a:gd name="T14" fmla="*/ 2147483647 w 120"/>
              <a:gd name="T15" fmla="*/ 2147483647 h 148"/>
              <a:gd name="T16" fmla="*/ 2147483647 w 120"/>
              <a:gd name="T17" fmla="*/ 2147483647 h 148"/>
              <a:gd name="T18" fmla="*/ 2147483647 w 120"/>
              <a:gd name="T19" fmla="*/ 2147483647 h 148"/>
              <a:gd name="T20" fmla="*/ 2147483647 w 120"/>
              <a:gd name="T21" fmla="*/ 2147483647 h 148"/>
              <a:gd name="T22" fmla="*/ 2147483647 w 120"/>
              <a:gd name="T23" fmla="*/ 2147483647 h 148"/>
              <a:gd name="T24" fmla="*/ 2147483647 w 120"/>
              <a:gd name="T25" fmla="*/ 2147483647 h 148"/>
              <a:gd name="T26" fmla="*/ 2147483647 w 120"/>
              <a:gd name="T27" fmla="*/ 2147483647 h 148"/>
              <a:gd name="T28" fmla="*/ 2147483647 w 120"/>
              <a:gd name="T29" fmla="*/ 2147483647 h 148"/>
              <a:gd name="T30" fmla="*/ 2147483647 w 120"/>
              <a:gd name="T31" fmla="*/ 2147483647 h 148"/>
              <a:gd name="T32" fmla="*/ 2147483647 w 120"/>
              <a:gd name="T33" fmla="*/ 2147483647 h 148"/>
              <a:gd name="T34" fmla="*/ 2147483647 w 120"/>
              <a:gd name="T35" fmla="*/ 2147483647 h 148"/>
              <a:gd name="T36" fmla="*/ 0 w 120"/>
              <a:gd name="T37" fmla="*/ 2147483647 h 148"/>
              <a:gd name="T38" fmla="*/ 2147483647 w 120"/>
              <a:gd name="T39" fmla="*/ 2147483647 h 148"/>
              <a:gd name="T40" fmla="*/ 2147483647 w 120"/>
              <a:gd name="T41" fmla="*/ 2147483647 h 148"/>
              <a:gd name="T42" fmla="*/ 2147483647 w 120"/>
              <a:gd name="T43" fmla="*/ 2147483647 h 148"/>
              <a:gd name="T44" fmla="*/ 2147483647 w 120"/>
              <a:gd name="T45" fmla="*/ 2147483647 h 148"/>
              <a:gd name="T46" fmla="*/ 2147483647 w 120"/>
              <a:gd name="T47" fmla="*/ 2147483647 h 148"/>
              <a:gd name="T48" fmla="*/ 2147483647 w 120"/>
              <a:gd name="T49" fmla="*/ 2147483647 h 148"/>
              <a:gd name="T50" fmla="*/ 2147483647 w 120"/>
              <a:gd name="T51" fmla="*/ 2147483647 h 148"/>
              <a:gd name="T52" fmla="*/ 2147483647 w 120"/>
              <a:gd name="T53" fmla="*/ 2147483647 h 148"/>
              <a:gd name="T54" fmla="*/ 2147483647 w 120"/>
              <a:gd name="T55" fmla="*/ 2147483647 h 148"/>
              <a:gd name="T56" fmla="*/ 2147483647 w 120"/>
              <a:gd name="T57" fmla="*/ 0 h 148"/>
              <a:gd name="T58" fmla="*/ 2147483647 w 120"/>
              <a:gd name="T59" fmla="*/ 2147483647 h 148"/>
              <a:gd name="T60" fmla="*/ 2147483647 w 120"/>
              <a:gd name="T61" fmla="*/ 2147483647 h 148"/>
              <a:gd name="T62" fmla="*/ 2147483647 w 120"/>
              <a:gd name="T63" fmla="*/ 2147483647 h 148"/>
              <a:gd name="T64" fmla="*/ 2147483647 w 120"/>
              <a:gd name="T65" fmla="*/ 2147483647 h 148"/>
              <a:gd name="T66" fmla="*/ 2147483647 w 120"/>
              <a:gd name="T67" fmla="*/ 2147483647 h 148"/>
              <a:gd name="T68" fmla="*/ 2147483647 w 120"/>
              <a:gd name="T69" fmla="*/ 2147483647 h 148"/>
              <a:gd name="T70" fmla="*/ 2147483647 w 120"/>
              <a:gd name="T71" fmla="*/ 2147483647 h 148"/>
              <a:gd name="T72" fmla="*/ 2147483647 w 120"/>
              <a:gd name="T73" fmla="*/ 2147483647 h 148"/>
              <a:gd name="T74" fmla="*/ 2147483647 w 120"/>
              <a:gd name="T75" fmla="*/ 2147483647 h 148"/>
              <a:gd name="T76" fmla="*/ 2147483647 w 120"/>
              <a:gd name="T77" fmla="*/ 2147483647 h 148"/>
              <a:gd name="T78" fmla="*/ 2147483647 w 120"/>
              <a:gd name="T79" fmla="*/ 2147483647 h 148"/>
              <a:gd name="T80" fmla="*/ 2147483647 w 120"/>
              <a:gd name="T81" fmla="*/ 2147483647 h 148"/>
              <a:gd name="T82" fmla="*/ 2147483647 w 120"/>
              <a:gd name="T83" fmla="*/ 2147483647 h 148"/>
              <a:gd name="T84" fmla="*/ 2147483647 w 120"/>
              <a:gd name="T85" fmla="*/ 2147483647 h 148"/>
              <a:gd name="T86" fmla="*/ 2147483647 w 120"/>
              <a:gd name="T87" fmla="*/ 2147483647 h 148"/>
              <a:gd name="T88" fmla="*/ 2147483647 w 120"/>
              <a:gd name="T89" fmla="*/ 2147483647 h 148"/>
              <a:gd name="T90" fmla="*/ 2147483647 w 120"/>
              <a:gd name="T91" fmla="*/ 2147483647 h 148"/>
              <a:gd name="T92" fmla="*/ 2147483647 w 120"/>
              <a:gd name="T93" fmla="*/ 2147483647 h 148"/>
              <a:gd name="T94" fmla="*/ 2147483647 w 120"/>
              <a:gd name="T95" fmla="*/ 2147483647 h 148"/>
              <a:gd name="T96" fmla="*/ 2147483647 w 120"/>
              <a:gd name="T97" fmla="*/ 2147483647 h 148"/>
              <a:gd name="T98" fmla="*/ 2147483647 w 120"/>
              <a:gd name="T99" fmla="*/ 2147483647 h 148"/>
              <a:gd name="T100" fmla="*/ 2147483647 w 120"/>
              <a:gd name="T101" fmla="*/ 2147483647 h 148"/>
              <a:gd name="T102" fmla="*/ 2147483647 w 120"/>
              <a:gd name="T103" fmla="*/ 2147483647 h 148"/>
              <a:gd name="T104" fmla="*/ 2147483647 w 120"/>
              <a:gd name="T105" fmla="*/ 2147483647 h 148"/>
              <a:gd name="T106" fmla="*/ 2147483647 w 120"/>
              <a:gd name="T107" fmla="*/ 2147483647 h 148"/>
              <a:gd name="T108" fmla="*/ 2147483647 w 120"/>
              <a:gd name="T109" fmla="*/ 2147483647 h 148"/>
              <a:gd name="T110" fmla="*/ 2147483647 w 120"/>
              <a:gd name="T111" fmla="*/ 2147483647 h 148"/>
              <a:gd name="T112" fmla="*/ 2147483647 w 120"/>
              <a:gd name="T113" fmla="*/ 2147483647 h 148"/>
              <a:gd name="T114" fmla="*/ 2147483647 w 120"/>
              <a:gd name="T115" fmla="*/ 2147483647 h 148"/>
              <a:gd name="T116" fmla="*/ 2147483647 w 120"/>
              <a:gd name="T117" fmla="*/ 2147483647 h 148"/>
              <a:gd name="T118" fmla="*/ 2147483647 w 120"/>
              <a:gd name="T119" fmla="*/ 2147483647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344" name="Freeform 457"/>
          <p:cNvSpPr>
            <a:spLocks/>
          </p:cNvSpPr>
          <p:nvPr>
            <p:custDataLst>
              <p:tags r:id="rId295"/>
            </p:custDataLst>
          </p:nvPr>
        </p:nvSpPr>
        <p:spPr bwMode="auto">
          <a:xfrm>
            <a:off x="4603750" y="2662238"/>
            <a:ext cx="273050" cy="307975"/>
          </a:xfrm>
          <a:custGeom>
            <a:avLst/>
            <a:gdLst>
              <a:gd name="T0" fmla="*/ 2147483647 w 631"/>
              <a:gd name="T1" fmla="*/ 2147483647 h 592"/>
              <a:gd name="T2" fmla="*/ 2147483647 w 631"/>
              <a:gd name="T3" fmla="*/ 2147483647 h 592"/>
              <a:gd name="T4" fmla="*/ 2147483647 w 631"/>
              <a:gd name="T5" fmla="*/ 2147483647 h 592"/>
              <a:gd name="T6" fmla="*/ 2147483647 w 631"/>
              <a:gd name="T7" fmla="*/ 2147483647 h 592"/>
              <a:gd name="T8" fmla="*/ 2147483647 w 631"/>
              <a:gd name="T9" fmla="*/ 2147483647 h 592"/>
              <a:gd name="T10" fmla="*/ 2147483647 w 631"/>
              <a:gd name="T11" fmla="*/ 2147483647 h 592"/>
              <a:gd name="T12" fmla="*/ 2147483647 w 631"/>
              <a:gd name="T13" fmla="*/ 2147483647 h 592"/>
              <a:gd name="T14" fmla="*/ 2147483647 w 631"/>
              <a:gd name="T15" fmla="*/ 2147483647 h 592"/>
              <a:gd name="T16" fmla="*/ 2147483647 w 631"/>
              <a:gd name="T17" fmla="*/ 2147483647 h 592"/>
              <a:gd name="T18" fmla="*/ 2147483647 w 631"/>
              <a:gd name="T19" fmla="*/ 2147483647 h 592"/>
              <a:gd name="T20" fmla="*/ 2147483647 w 631"/>
              <a:gd name="T21" fmla="*/ 2147483647 h 592"/>
              <a:gd name="T22" fmla="*/ 2147483647 w 631"/>
              <a:gd name="T23" fmla="*/ 2147483647 h 592"/>
              <a:gd name="T24" fmla="*/ 2147483647 w 631"/>
              <a:gd name="T25" fmla="*/ 2147483647 h 592"/>
              <a:gd name="T26" fmla="*/ 2147483647 w 631"/>
              <a:gd name="T27" fmla="*/ 2147483647 h 592"/>
              <a:gd name="T28" fmla="*/ 2147483647 w 631"/>
              <a:gd name="T29" fmla="*/ 2147483647 h 592"/>
              <a:gd name="T30" fmla="*/ 2147483647 w 631"/>
              <a:gd name="T31" fmla="*/ 2147483647 h 592"/>
              <a:gd name="T32" fmla="*/ 2147483647 w 631"/>
              <a:gd name="T33" fmla="*/ 2147483647 h 592"/>
              <a:gd name="T34" fmla="*/ 2147483647 w 631"/>
              <a:gd name="T35" fmla="*/ 2147483647 h 592"/>
              <a:gd name="T36" fmla="*/ 2147483647 w 631"/>
              <a:gd name="T37" fmla="*/ 2147483647 h 592"/>
              <a:gd name="T38" fmla="*/ 2147483647 w 631"/>
              <a:gd name="T39" fmla="*/ 2147483647 h 592"/>
              <a:gd name="T40" fmla="*/ 2147483647 w 631"/>
              <a:gd name="T41" fmla="*/ 2147483647 h 592"/>
              <a:gd name="T42" fmla="*/ 2147483647 w 631"/>
              <a:gd name="T43" fmla="*/ 2147483647 h 592"/>
              <a:gd name="T44" fmla="*/ 2147483647 w 631"/>
              <a:gd name="T45" fmla="*/ 2147483647 h 592"/>
              <a:gd name="T46" fmla="*/ 2147483647 w 631"/>
              <a:gd name="T47" fmla="*/ 2147483647 h 592"/>
              <a:gd name="T48" fmla="*/ 2147483647 w 631"/>
              <a:gd name="T49" fmla="*/ 2147483647 h 592"/>
              <a:gd name="T50" fmla="*/ 2147483647 w 631"/>
              <a:gd name="T51" fmla="*/ 2147483647 h 592"/>
              <a:gd name="T52" fmla="*/ 2147483647 w 631"/>
              <a:gd name="T53" fmla="*/ 2147483647 h 592"/>
              <a:gd name="T54" fmla="*/ 2147483647 w 631"/>
              <a:gd name="T55" fmla="*/ 2147483647 h 592"/>
              <a:gd name="T56" fmla="*/ 2147483647 w 631"/>
              <a:gd name="T57" fmla="*/ 2147483647 h 592"/>
              <a:gd name="T58" fmla="*/ 2147483647 w 631"/>
              <a:gd name="T59" fmla="*/ 2147483647 h 592"/>
              <a:gd name="T60" fmla="*/ 2147483647 w 631"/>
              <a:gd name="T61" fmla="*/ 2147483647 h 592"/>
              <a:gd name="T62" fmla="*/ 2147483647 w 631"/>
              <a:gd name="T63" fmla="*/ 2147483647 h 592"/>
              <a:gd name="T64" fmla="*/ 2147483647 w 631"/>
              <a:gd name="T65" fmla="*/ 2147483647 h 592"/>
              <a:gd name="T66" fmla="*/ 2147483647 w 631"/>
              <a:gd name="T67" fmla="*/ 2147483647 h 592"/>
              <a:gd name="T68" fmla="*/ 2147483647 w 631"/>
              <a:gd name="T69" fmla="*/ 2147483647 h 592"/>
              <a:gd name="T70" fmla="*/ 2147483647 w 631"/>
              <a:gd name="T71" fmla="*/ 2147483647 h 592"/>
              <a:gd name="T72" fmla="*/ 2147483647 w 631"/>
              <a:gd name="T73" fmla="*/ 2147483647 h 592"/>
              <a:gd name="T74" fmla="*/ 2147483647 w 631"/>
              <a:gd name="T75" fmla="*/ 2147483647 h 592"/>
              <a:gd name="T76" fmla="*/ 2147483647 w 631"/>
              <a:gd name="T77" fmla="*/ 2147483647 h 592"/>
              <a:gd name="T78" fmla="*/ 2147483647 w 631"/>
              <a:gd name="T79" fmla="*/ 2147483647 h 592"/>
              <a:gd name="T80" fmla="*/ 2147483647 w 631"/>
              <a:gd name="T81" fmla="*/ 2147483647 h 592"/>
              <a:gd name="T82" fmla="*/ 2147483647 w 631"/>
              <a:gd name="T83" fmla="*/ 2147483647 h 592"/>
              <a:gd name="T84" fmla="*/ 2147483647 w 631"/>
              <a:gd name="T85" fmla="*/ 2147483647 h 592"/>
              <a:gd name="T86" fmla="*/ 2147483647 w 631"/>
              <a:gd name="T87" fmla="*/ 2147483647 h 592"/>
              <a:gd name="T88" fmla="*/ 2147483647 w 631"/>
              <a:gd name="T89" fmla="*/ 2147483647 h 592"/>
              <a:gd name="T90" fmla="*/ 2147483647 w 631"/>
              <a:gd name="T91" fmla="*/ 2147483647 h 592"/>
              <a:gd name="T92" fmla="*/ 0 w 631"/>
              <a:gd name="T93" fmla="*/ 2147483647 h 592"/>
              <a:gd name="T94" fmla="*/ 2147483647 w 631"/>
              <a:gd name="T95" fmla="*/ 2147483647 h 592"/>
              <a:gd name="T96" fmla="*/ 2147483647 w 631"/>
              <a:gd name="T97" fmla="*/ 2147483647 h 592"/>
              <a:gd name="T98" fmla="*/ 2147483647 w 631"/>
              <a:gd name="T99" fmla="*/ 2147483647 h 592"/>
              <a:gd name="T100" fmla="*/ 2147483647 w 631"/>
              <a:gd name="T101" fmla="*/ 2147483647 h 592"/>
              <a:gd name="T102" fmla="*/ 2147483647 w 631"/>
              <a:gd name="T103" fmla="*/ 2147483647 h 592"/>
              <a:gd name="T104" fmla="*/ 2147483647 w 631"/>
              <a:gd name="T105" fmla="*/ 2147483647 h 592"/>
              <a:gd name="T106" fmla="*/ 2147483647 w 631"/>
              <a:gd name="T107" fmla="*/ 2147483647 h 592"/>
              <a:gd name="T108" fmla="*/ 2147483647 w 631"/>
              <a:gd name="T109" fmla="*/ 2147483647 h 592"/>
              <a:gd name="T110" fmla="*/ 2147483647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345" name="Freeform 458"/>
          <p:cNvSpPr>
            <a:spLocks/>
          </p:cNvSpPr>
          <p:nvPr>
            <p:custDataLst>
              <p:tags r:id="rId296"/>
            </p:custDataLst>
          </p:nvPr>
        </p:nvSpPr>
        <p:spPr bwMode="auto">
          <a:xfrm>
            <a:off x="4198938" y="2297113"/>
            <a:ext cx="17462" cy="57150"/>
          </a:xfrm>
          <a:custGeom>
            <a:avLst/>
            <a:gdLst>
              <a:gd name="T0" fmla="*/ 2147483647 w 40"/>
              <a:gd name="T1" fmla="*/ 2147483647 h 93"/>
              <a:gd name="T2" fmla="*/ 2147483647 w 40"/>
              <a:gd name="T3" fmla="*/ 2147483647 h 93"/>
              <a:gd name="T4" fmla="*/ 2147483647 w 40"/>
              <a:gd name="T5" fmla="*/ 2147483647 h 93"/>
              <a:gd name="T6" fmla="*/ 2147483647 w 40"/>
              <a:gd name="T7" fmla="*/ 2147483647 h 93"/>
              <a:gd name="T8" fmla="*/ 2147483647 w 40"/>
              <a:gd name="T9" fmla="*/ 2147483647 h 93"/>
              <a:gd name="T10" fmla="*/ 2147483647 w 40"/>
              <a:gd name="T11" fmla="*/ 2147483647 h 93"/>
              <a:gd name="T12" fmla="*/ 2147483647 w 40"/>
              <a:gd name="T13" fmla="*/ 0 h 93"/>
              <a:gd name="T14" fmla="*/ 2147483647 w 40"/>
              <a:gd name="T15" fmla="*/ 2147483647 h 93"/>
              <a:gd name="T16" fmla="*/ 2147483647 w 40"/>
              <a:gd name="T17" fmla="*/ 2147483647 h 93"/>
              <a:gd name="T18" fmla="*/ 2147483647 w 40"/>
              <a:gd name="T19" fmla="*/ 2147483647 h 93"/>
              <a:gd name="T20" fmla="*/ 2147483647 w 40"/>
              <a:gd name="T21" fmla="*/ 2147483647 h 93"/>
              <a:gd name="T22" fmla="*/ 2147483647 w 40"/>
              <a:gd name="T23" fmla="*/ 2147483647 h 93"/>
              <a:gd name="T24" fmla="*/ 2147483647 w 40"/>
              <a:gd name="T25" fmla="*/ 2147483647 h 93"/>
              <a:gd name="T26" fmla="*/ 2147483647 w 40"/>
              <a:gd name="T27" fmla="*/ 2147483647 h 93"/>
              <a:gd name="T28" fmla="*/ 2147483647 w 40"/>
              <a:gd name="T29" fmla="*/ 2147483647 h 93"/>
              <a:gd name="T30" fmla="*/ 2147483647 w 40"/>
              <a:gd name="T31" fmla="*/ 2147483647 h 93"/>
              <a:gd name="T32" fmla="*/ 2147483647 w 40"/>
              <a:gd name="T33" fmla="*/ 2147483647 h 93"/>
              <a:gd name="T34" fmla="*/ 2147483647 w 40"/>
              <a:gd name="T35" fmla="*/ 2147483647 h 93"/>
              <a:gd name="T36" fmla="*/ 2147483647 w 40"/>
              <a:gd name="T37" fmla="*/ 2147483647 h 93"/>
              <a:gd name="T38" fmla="*/ 2147483647 w 40"/>
              <a:gd name="T39" fmla="*/ 2147483647 h 93"/>
              <a:gd name="T40" fmla="*/ 2147483647 w 40"/>
              <a:gd name="T41" fmla="*/ 2147483647 h 93"/>
              <a:gd name="T42" fmla="*/ 2147483647 w 40"/>
              <a:gd name="T43" fmla="*/ 2147483647 h 93"/>
              <a:gd name="T44" fmla="*/ 0 w 40"/>
              <a:gd name="T45" fmla="*/ 2147483647 h 93"/>
              <a:gd name="T46" fmla="*/ 2147483647 w 40"/>
              <a:gd name="T47" fmla="*/ 2147483647 h 93"/>
              <a:gd name="T48" fmla="*/ 2147483647 w 40"/>
              <a:gd name="T49" fmla="*/ 2147483647 h 93"/>
              <a:gd name="T50" fmla="*/ 2147483647 w 40"/>
              <a:gd name="T51" fmla="*/ 2147483647 h 93"/>
              <a:gd name="T52" fmla="*/ 2147483647 w 40"/>
              <a:gd name="T53" fmla="*/ 2147483647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346" name="Freeform 459"/>
          <p:cNvSpPr>
            <a:spLocks/>
          </p:cNvSpPr>
          <p:nvPr>
            <p:custDataLst>
              <p:tags r:id="rId297"/>
            </p:custDataLst>
          </p:nvPr>
        </p:nvSpPr>
        <p:spPr bwMode="auto">
          <a:xfrm>
            <a:off x="3838575" y="2047875"/>
            <a:ext cx="295275" cy="273050"/>
          </a:xfrm>
          <a:custGeom>
            <a:avLst/>
            <a:gdLst>
              <a:gd name="T0" fmla="*/ 2147483647 w 664"/>
              <a:gd name="T1" fmla="*/ 2147483647 h 518"/>
              <a:gd name="T2" fmla="*/ 2147483647 w 664"/>
              <a:gd name="T3" fmla="*/ 2147483647 h 518"/>
              <a:gd name="T4" fmla="*/ 2147483647 w 664"/>
              <a:gd name="T5" fmla="*/ 2147483647 h 518"/>
              <a:gd name="T6" fmla="*/ 2147483647 w 664"/>
              <a:gd name="T7" fmla="*/ 2147483647 h 518"/>
              <a:gd name="T8" fmla="*/ 2147483647 w 664"/>
              <a:gd name="T9" fmla="*/ 2147483647 h 518"/>
              <a:gd name="T10" fmla="*/ 2147483647 w 664"/>
              <a:gd name="T11" fmla="*/ 2147483647 h 518"/>
              <a:gd name="T12" fmla="*/ 2147483647 w 664"/>
              <a:gd name="T13" fmla="*/ 2147483647 h 518"/>
              <a:gd name="T14" fmla="*/ 2147483647 w 664"/>
              <a:gd name="T15" fmla="*/ 2147483647 h 518"/>
              <a:gd name="T16" fmla="*/ 2147483647 w 664"/>
              <a:gd name="T17" fmla="*/ 2147483647 h 518"/>
              <a:gd name="T18" fmla="*/ 2147483647 w 664"/>
              <a:gd name="T19" fmla="*/ 2147483647 h 518"/>
              <a:gd name="T20" fmla="*/ 2147483647 w 664"/>
              <a:gd name="T21" fmla="*/ 2147483647 h 518"/>
              <a:gd name="T22" fmla="*/ 2147483647 w 664"/>
              <a:gd name="T23" fmla="*/ 2147483647 h 518"/>
              <a:gd name="T24" fmla="*/ 2147483647 w 664"/>
              <a:gd name="T25" fmla="*/ 2147483647 h 518"/>
              <a:gd name="T26" fmla="*/ 2147483647 w 664"/>
              <a:gd name="T27" fmla="*/ 2147483647 h 518"/>
              <a:gd name="T28" fmla="*/ 2147483647 w 664"/>
              <a:gd name="T29" fmla="*/ 2147483647 h 518"/>
              <a:gd name="T30" fmla="*/ 2147483647 w 664"/>
              <a:gd name="T31" fmla="*/ 2147483647 h 518"/>
              <a:gd name="T32" fmla="*/ 2147483647 w 664"/>
              <a:gd name="T33" fmla="*/ 2147483647 h 518"/>
              <a:gd name="T34" fmla="*/ 2147483647 w 664"/>
              <a:gd name="T35" fmla="*/ 2147483647 h 518"/>
              <a:gd name="T36" fmla="*/ 2147483647 w 664"/>
              <a:gd name="T37" fmla="*/ 2147483647 h 518"/>
              <a:gd name="T38" fmla="*/ 2147483647 w 664"/>
              <a:gd name="T39" fmla="*/ 2147483647 h 518"/>
              <a:gd name="T40" fmla="*/ 2147483647 w 664"/>
              <a:gd name="T41" fmla="*/ 2147483647 h 518"/>
              <a:gd name="T42" fmla="*/ 2147483647 w 664"/>
              <a:gd name="T43" fmla="*/ 2147483647 h 518"/>
              <a:gd name="T44" fmla="*/ 2147483647 w 664"/>
              <a:gd name="T45" fmla="*/ 2147483647 h 518"/>
              <a:gd name="T46" fmla="*/ 2147483647 w 664"/>
              <a:gd name="T47" fmla="*/ 2147483647 h 518"/>
              <a:gd name="T48" fmla="*/ 2147483647 w 664"/>
              <a:gd name="T49" fmla="*/ 2147483647 h 518"/>
              <a:gd name="T50" fmla="*/ 2147483647 w 664"/>
              <a:gd name="T51" fmla="*/ 2147483647 h 518"/>
              <a:gd name="T52" fmla="*/ 2147483647 w 664"/>
              <a:gd name="T53" fmla="*/ 2147483647 h 518"/>
              <a:gd name="T54" fmla="*/ 2147483647 w 664"/>
              <a:gd name="T55" fmla="*/ 2147483647 h 518"/>
              <a:gd name="T56" fmla="*/ 2147483647 w 664"/>
              <a:gd name="T57" fmla="*/ 2147483647 h 518"/>
              <a:gd name="T58" fmla="*/ 2147483647 w 664"/>
              <a:gd name="T59" fmla="*/ 2147483647 h 518"/>
              <a:gd name="T60" fmla="*/ 2147483647 w 664"/>
              <a:gd name="T61" fmla="*/ 2147483647 h 518"/>
              <a:gd name="T62" fmla="*/ 2147483647 w 664"/>
              <a:gd name="T63" fmla="*/ 2147483647 h 518"/>
              <a:gd name="T64" fmla="*/ 2147483647 w 664"/>
              <a:gd name="T65" fmla="*/ 2147483647 h 518"/>
              <a:gd name="T66" fmla="*/ 2147483647 w 664"/>
              <a:gd name="T67" fmla="*/ 2147483647 h 518"/>
              <a:gd name="T68" fmla="*/ 2147483647 w 664"/>
              <a:gd name="T69" fmla="*/ 2147483647 h 518"/>
              <a:gd name="T70" fmla="*/ 2147483647 w 664"/>
              <a:gd name="T71" fmla="*/ 2147483647 h 518"/>
              <a:gd name="T72" fmla="*/ 2147483647 w 664"/>
              <a:gd name="T73" fmla="*/ 2147483647 h 518"/>
              <a:gd name="T74" fmla="*/ 2147483647 w 664"/>
              <a:gd name="T75" fmla="*/ 2147483647 h 518"/>
              <a:gd name="T76" fmla="*/ 2147483647 w 664"/>
              <a:gd name="T77" fmla="*/ 2147483647 h 518"/>
              <a:gd name="T78" fmla="*/ 2147483647 w 664"/>
              <a:gd name="T79" fmla="*/ 2147483647 h 518"/>
              <a:gd name="T80" fmla="*/ 2147483647 w 664"/>
              <a:gd name="T81" fmla="*/ 2147483647 h 518"/>
              <a:gd name="T82" fmla="*/ 2147483647 w 664"/>
              <a:gd name="T83" fmla="*/ 2147483647 h 518"/>
              <a:gd name="T84" fmla="*/ 2147483647 w 664"/>
              <a:gd name="T85" fmla="*/ 2147483647 h 518"/>
              <a:gd name="T86" fmla="*/ 2147483647 w 664"/>
              <a:gd name="T87" fmla="*/ 2147483647 h 518"/>
              <a:gd name="T88" fmla="*/ 2147483647 w 664"/>
              <a:gd name="T89" fmla="*/ 2147483647 h 518"/>
              <a:gd name="T90" fmla="*/ 2147483647 w 664"/>
              <a:gd name="T91" fmla="*/ 2147483647 h 518"/>
              <a:gd name="T92" fmla="*/ 2147483647 w 664"/>
              <a:gd name="T93" fmla="*/ 2147483647 h 518"/>
              <a:gd name="T94" fmla="*/ 2147483647 w 664"/>
              <a:gd name="T95" fmla="*/ 2147483647 h 518"/>
              <a:gd name="T96" fmla="*/ 2147483647 w 664"/>
              <a:gd name="T97" fmla="*/ 2147483647 h 518"/>
              <a:gd name="T98" fmla="*/ 2147483647 w 664"/>
              <a:gd name="T99" fmla="*/ 2147483647 h 518"/>
              <a:gd name="T100" fmla="*/ 2147483647 w 664"/>
              <a:gd name="T101" fmla="*/ 2147483647 h 518"/>
              <a:gd name="T102" fmla="*/ 2147483647 w 664"/>
              <a:gd name="T103" fmla="*/ 2147483647 h 518"/>
              <a:gd name="T104" fmla="*/ 2147483647 w 664"/>
              <a:gd name="T105" fmla="*/ 2147483647 h 518"/>
              <a:gd name="T106" fmla="*/ 2147483647 w 664"/>
              <a:gd name="T107" fmla="*/ 2147483647 h 518"/>
              <a:gd name="T108" fmla="*/ 2147483647 w 664"/>
              <a:gd name="T109" fmla="*/ 2147483647 h 518"/>
              <a:gd name="T110" fmla="*/ 2147483647 w 664"/>
              <a:gd name="T111" fmla="*/ 2147483647 h 518"/>
              <a:gd name="T112" fmla="*/ 2147483647 w 664"/>
              <a:gd name="T113" fmla="*/ 2147483647 h 518"/>
              <a:gd name="T114" fmla="*/ 2147483647 w 664"/>
              <a:gd name="T115" fmla="*/ 2147483647 h 518"/>
              <a:gd name="T116" fmla="*/ 2147483647 w 664"/>
              <a:gd name="T117" fmla="*/ 2147483647 h 518"/>
              <a:gd name="T118" fmla="*/ 2147483647 w 664"/>
              <a:gd name="T119" fmla="*/ 2147483647 h 518"/>
              <a:gd name="T120" fmla="*/ 2147483647 w 664"/>
              <a:gd name="T121" fmla="*/ 2147483647 h 518"/>
              <a:gd name="T122" fmla="*/ 2147483647 w 664"/>
              <a:gd name="T123" fmla="*/ 2147483647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347" name="Freeform 460"/>
          <p:cNvSpPr>
            <a:spLocks/>
          </p:cNvSpPr>
          <p:nvPr>
            <p:custDataLst>
              <p:tags r:id="rId298"/>
            </p:custDataLst>
          </p:nvPr>
        </p:nvSpPr>
        <p:spPr bwMode="auto">
          <a:xfrm>
            <a:off x="4919663" y="2282825"/>
            <a:ext cx="150812" cy="82550"/>
          </a:xfrm>
          <a:custGeom>
            <a:avLst/>
            <a:gdLst>
              <a:gd name="T0" fmla="*/ 2147483647 w 352"/>
              <a:gd name="T1" fmla="*/ 2147483647 h 153"/>
              <a:gd name="T2" fmla="*/ 2147483647 w 352"/>
              <a:gd name="T3" fmla="*/ 2147483647 h 153"/>
              <a:gd name="T4" fmla="*/ 2147483647 w 352"/>
              <a:gd name="T5" fmla="*/ 2147483647 h 153"/>
              <a:gd name="T6" fmla="*/ 2147483647 w 352"/>
              <a:gd name="T7" fmla="*/ 2147483647 h 153"/>
              <a:gd name="T8" fmla="*/ 2147483647 w 352"/>
              <a:gd name="T9" fmla="*/ 2147483647 h 153"/>
              <a:gd name="T10" fmla="*/ 2147483647 w 352"/>
              <a:gd name="T11" fmla="*/ 2147483647 h 153"/>
              <a:gd name="T12" fmla="*/ 2147483647 w 352"/>
              <a:gd name="T13" fmla="*/ 2147483647 h 153"/>
              <a:gd name="T14" fmla="*/ 2147483647 w 352"/>
              <a:gd name="T15" fmla="*/ 2147483647 h 153"/>
              <a:gd name="T16" fmla="*/ 2147483647 w 352"/>
              <a:gd name="T17" fmla="*/ 2147483647 h 153"/>
              <a:gd name="T18" fmla="*/ 2147483647 w 352"/>
              <a:gd name="T19" fmla="*/ 2147483647 h 153"/>
              <a:gd name="T20" fmla="*/ 2147483647 w 352"/>
              <a:gd name="T21" fmla="*/ 2147483647 h 153"/>
              <a:gd name="T22" fmla="*/ 2147483647 w 352"/>
              <a:gd name="T23" fmla="*/ 2147483647 h 153"/>
              <a:gd name="T24" fmla="*/ 2147483647 w 352"/>
              <a:gd name="T25" fmla="*/ 2147483647 h 153"/>
              <a:gd name="T26" fmla="*/ 2147483647 w 352"/>
              <a:gd name="T27" fmla="*/ 2147483647 h 153"/>
              <a:gd name="T28" fmla="*/ 2147483647 w 352"/>
              <a:gd name="T29" fmla="*/ 2147483647 h 153"/>
              <a:gd name="T30" fmla="*/ 2147483647 w 352"/>
              <a:gd name="T31" fmla="*/ 2147483647 h 153"/>
              <a:gd name="T32" fmla="*/ 2147483647 w 352"/>
              <a:gd name="T33" fmla="*/ 2147483647 h 153"/>
              <a:gd name="T34" fmla="*/ 2147483647 w 352"/>
              <a:gd name="T35" fmla="*/ 2147483647 h 153"/>
              <a:gd name="T36" fmla="*/ 2147483647 w 352"/>
              <a:gd name="T37" fmla="*/ 2147483647 h 153"/>
              <a:gd name="T38" fmla="*/ 2147483647 w 352"/>
              <a:gd name="T39" fmla="*/ 2147483647 h 153"/>
              <a:gd name="T40" fmla="*/ 2147483647 w 352"/>
              <a:gd name="T41" fmla="*/ 2147483647 h 153"/>
              <a:gd name="T42" fmla="*/ 2147483647 w 352"/>
              <a:gd name="T43" fmla="*/ 2147483647 h 153"/>
              <a:gd name="T44" fmla="*/ 2147483647 w 352"/>
              <a:gd name="T45" fmla="*/ 2147483647 h 153"/>
              <a:gd name="T46" fmla="*/ 2147483647 w 352"/>
              <a:gd name="T47" fmla="*/ 2147483647 h 153"/>
              <a:gd name="T48" fmla="*/ 2147483647 w 352"/>
              <a:gd name="T49" fmla="*/ 2147483647 h 153"/>
              <a:gd name="T50" fmla="*/ 2147483647 w 352"/>
              <a:gd name="T51" fmla="*/ 2147483647 h 153"/>
              <a:gd name="T52" fmla="*/ 2147483647 w 352"/>
              <a:gd name="T53" fmla="*/ 2147483647 h 153"/>
              <a:gd name="T54" fmla="*/ 0 w 352"/>
              <a:gd name="T55" fmla="*/ 0 h 153"/>
              <a:gd name="T56" fmla="*/ 2147483647 w 352"/>
              <a:gd name="T57" fmla="*/ 0 h 153"/>
              <a:gd name="T58" fmla="*/ 2147483647 w 352"/>
              <a:gd name="T59" fmla="*/ 2147483647 h 153"/>
              <a:gd name="T60" fmla="*/ 2147483647 w 352"/>
              <a:gd name="T61" fmla="*/ 2147483647 h 153"/>
              <a:gd name="T62" fmla="*/ 2147483647 w 352"/>
              <a:gd name="T63" fmla="*/ 2147483647 h 153"/>
              <a:gd name="T64" fmla="*/ 2147483647 w 352"/>
              <a:gd name="T65" fmla="*/ 2147483647 h 153"/>
              <a:gd name="T66" fmla="*/ 2147483647 w 352"/>
              <a:gd name="T67" fmla="*/ 2147483647 h 153"/>
              <a:gd name="T68" fmla="*/ 2147483647 w 352"/>
              <a:gd name="T69" fmla="*/ 2147483647 h 153"/>
              <a:gd name="T70" fmla="*/ 2147483647 w 352"/>
              <a:gd name="T71" fmla="*/ 2147483647 h 153"/>
              <a:gd name="T72" fmla="*/ 2147483647 w 352"/>
              <a:gd name="T73" fmla="*/ 2147483647 h 153"/>
              <a:gd name="T74" fmla="*/ 2147483647 w 352"/>
              <a:gd name="T75" fmla="*/ 2147483647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cmpd="sng">
            <a:solidFill>
              <a:srgbClr val="FFFFFF"/>
            </a:solidFill>
            <a:prstDash val="solid"/>
            <a:round/>
            <a:headEnd/>
            <a:tailEnd/>
          </a:ln>
        </p:spPr>
        <p:txBody>
          <a:bodyPr/>
          <a:lstStyle/>
          <a:p>
            <a:endParaRPr lang="en-AU"/>
          </a:p>
        </p:txBody>
      </p:sp>
      <p:sp>
        <p:nvSpPr>
          <p:cNvPr id="2348" name="Freeform 461"/>
          <p:cNvSpPr>
            <a:spLocks/>
          </p:cNvSpPr>
          <p:nvPr>
            <p:custDataLst>
              <p:tags r:id="rId299"/>
            </p:custDataLst>
          </p:nvPr>
        </p:nvSpPr>
        <p:spPr bwMode="auto">
          <a:xfrm>
            <a:off x="4468813" y="2343150"/>
            <a:ext cx="147637" cy="173038"/>
          </a:xfrm>
          <a:custGeom>
            <a:avLst/>
            <a:gdLst>
              <a:gd name="T0" fmla="*/ 2147483647 w 331"/>
              <a:gd name="T1" fmla="*/ 2147483647 h 327"/>
              <a:gd name="T2" fmla="*/ 2147483647 w 331"/>
              <a:gd name="T3" fmla="*/ 2147483647 h 327"/>
              <a:gd name="T4" fmla="*/ 2147483647 w 331"/>
              <a:gd name="T5" fmla="*/ 2147483647 h 327"/>
              <a:gd name="T6" fmla="*/ 2147483647 w 331"/>
              <a:gd name="T7" fmla="*/ 2147483647 h 327"/>
              <a:gd name="T8" fmla="*/ 2147483647 w 331"/>
              <a:gd name="T9" fmla="*/ 2147483647 h 327"/>
              <a:gd name="T10" fmla="*/ 2147483647 w 331"/>
              <a:gd name="T11" fmla="*/ 2147483647 h 327"/>
              <a:gd name="T12" fmla="*/ 2147483647 w 331"/>
              <a:gd name="T13" fmla="*/ 2147483647 h 327"/>
              <a:gd name="T14" fmla="*/ 2147483647 w 331"/>
              <a:gd name="T15" fmla="*/ 2147483647 h 327"/>
              <a:gd name="T16" fmla="*/ 2147483647 w 331"/>
              <a:gd name="T17" fmla="*/ 2147483647 h 327"/>
              <a:gd name="T18" fmla="*/ 2147483647 w 331"/>
              <a:gd name="T19" fmla="*/ 2147483647 h 327"/>
              <a:gd name="T20" fmla="*/ 2147483647 w 331"/>
              <a:gd name="T21" fmla="*/ 2147483647 h 327"/>
              <a:gd name="T22" fmla="*/ 2147483647 w 331"/>
              <a:gd name="T23" fmla="*/ 2147483647 h 327"/>
              <a:gd name="T24" fmla="*/ 2147483647 w 331"/>
              <a:gd name="T25" fmla="*/ 2147483647 h 327"/>
              <a:gd name="T26" fmla="*/ 2147483647 w 331"/>
              <a:gd name="T27" fmla="*/ 2147483647 h 327"/>
              <a:gd name="T28" fmla="*/ 2147483647 w 331"/>
              <a:gd name="T29" fmla="*/ 2147483647 h 327"/>
              <a:gd name="T30" fmla="*/ 2147483647 w 331"/>
              <a:gd name="T31" fmla="*/ 2147483647 h 327"/>
              <a:gd name="T32" fmla="*/ 2147483647 w 331"/>
              <a:gd name="T33" fmla="*/ 2147483647 h 327"/>
              <a:gd name="T34" fmla="*/ 2147483647 w 331"/>
              <a:gd name="T35" fmla="*/ 2147483647 h 327"/>
              <a:gd name="T36" fmla="*/ 2147483647 w 331"/>
              <a:gd name="T37" fmla="*/ 2147483647 h 327"/>
              <a:gd name="T38" fmla="*/ 2147483647 w 331"/>
              <a:gd name="T39" fmla="*/ 2147483647 h 327"/>
              <a:gd name="T40" fmla="*/ 2147483647 w 331"/>
              <a:gd name="T41" fmla="*/ 2147483647 h 327"/>
              <a:gd name="T42" fmla="*/ 2147483647 w 331"/>
              <a:gd name="T43" fmla="*/ 2147483647 h 327"/>
              <a:gd name="T44" fmla="*/ 2147483647 w 331"/>
              <a:gd name="T45" fmla="*/ 2147483647 h 327"/>
              <a:gd name="T46" fmla="*/ 2147483647 w 331"/>
              <a:gd name="T47" fmla="*/ 2147483647 h 327"/>
              <a:gd name="T48" fmla="*/ 2147483647 w 331"/>
              <a:gd name="T49" fmla="*/ 2147483647 h 327"/>
              <a:gd name="T50" fmla="*/ 2147483647 w 331"/>
              <a:gd name="T51" fmla="*/ 2147483647 h 327"/>
              <a:gd name="T52" fmla="*/ 2147483647 w 331"/>
              <a:gd name="T53" fmla="*/ 2147483647 h 327"/>
              <a:gd name="T54" fmla="*/ 2147483647 w 331"/>
              <a:gd name="T55" fmla="*/ 2147483647 h 327"/>
              <a:gd name="T56" fmla="*/ 2147483647 w 331"/>
              <a:gd name="T57" fmla="*/ 2147483647 h 327"/>
              <a:gd name="T58" fmla="*/ 2147483647 w 331"/>
              <a:gd name="T59" fmla="*/ 2147483647 h 327"/>
              <a:gd name="T60" fmla="*/ 2147483647 w 331"/>
              <a:gd name="T61" fmla="*/ 2147483647 h 327"/>
              <a:gd name="T62" fmla="*/ 2147483647 w 331"/>
              <a:gd name="T63" fmla="*/ 2147483647 h 327"/>
              <a:gd name="T64" fmla="*/ 2147483647 w 331"/>
              <a:gd name="T65" fmla="*/ 2147483647 h 327"/>
              <a:gd name="T66" fmla="*/ 2147483647 w 331"/>
              <a:gd name="T67" fmla="*/ 2147483647 h 327"/>
              <a:gd name="T68" fmla="*/ 2147483647 w 331"/>
              <a:gd name="T69" fmla="*/ 2147483647 h 327"/>
              <a:gd name="T70" fmla="*/ 0 w 331"/>
              <a:gd name="T71" fmla="*/ 2147483647 h 327"/>
              <a:gd name="T72" fmla="*/ 2147483647 w 331"/>
              <a:gd name="T73" fmla="*/ 2147483647 h 327"/>
              <a:gd name="T74" fmla="*/ 2147483647 w 331"/>
              <a:gd name="T75" fmla="*/ 2147483647 h 327"/>
              <a:gd name="T76" fmla="*/ 2147483647 w 331"/>
              <a:gd name="T77" fmla="*/ 2147483647 h 327"/>
              <a:gd name="T78" fmla="*/ 2147483647 w 331"/>
              <a:gd name="T79" fmla="*/ 2147483647 h 327"/>
              <a:gd name="T80" fmla="*/ 2147483647 w 331"/>
              <a:gd name="T81" fmla="*/ 2147483647 h 327"/>
              <a:gd name="T82" fmla="*/ 2147483647 w 331"/>
              <a:gd name="T83" fmla="*/ 2147483647 h 327"/>
              <a:gd name="T84" fmla="*/ 2147483647 w 331"/>
              <a:gd name="T85" fmla="*/ 2147483647 h 327"/>
              <a:gd name="T86" fmla="*/ 2147483647 w 331"/>
              <a:gd name="T87" fmla="*/ 2147483647 h 327"/>
              <a:gd name="T88" fmla="*/ 2147483647 w 331"/>
              <a:gd name="T89" fmla="*/ 2147483647 h 327"/>
              <a:gd name="T90" fmla="*/ 2147483647 w 331"/>
              <a:gd name="T91" fmla="*/ 2147483647 h 327"/>
              <a:gd name="T92" fmla="*/ 2147483647 w 331"/>
              <a:gd name="T93" fmla="*/ 2147483647 h 327"/>
              <a:gd name="T94" fmla="*/ 2147483647 w 331"/>
              <a:gd name="T95" fmla="*/ 2147483647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C0C0C0"/>
          </a:solidFill>
          <a:ln w="9525" cmpd="sng">
            <a:solidFill>
              <a:srgbClr val="FFFFFF"/>
            </a:solidFill>
            <a:prstDash val="solid"/>
            <a:round/>
            <a:headEnd/>
            <a:tailEnd/>
          </a:ln>
        </p:spPr>
        <p:txBody>
          <a:bodyPr/>
          <a:lstStyle/>
          <a:p>
            <a:endParaRPr lang="en-AU"/>
          </a:p>
        </p:txBody>
      </p:sp>
      <p:sp>
        <p:nvSpPr>
          <p:cNvPr id="2349" name="Freeform 462"/>
          <p:cNvSpPr>
            <a:spLocks/>
          </p:cNvSpPr>
          <p:nvPr>
            <p:custDataLst>
              <p:tags r:id="rId300"/>
            </p:custDataLst>
          </p:nvPr>
        </p:nvSpPr>
        <p:spPr bwMode="auto">
          <a:xfrm>
            <a:off x="4552950" y="2535238"/>
            <a:ext cx="69850" cy="57150"/>
          </a:xfrm>
          <a:custGeom>
            <a:avLst/>
            <a:gdLst>
              <a:gd name="T0" fmla="*/ 0 w 153"/>
              <a:gd name="T1" fmla="*/ 0 h 49"/>
              <a:gd name="T2" fmla="*/ 2147483647 w 153"/>
              <a:gd name="T3" fmla="*/ 2147483647 h 49"/>
              <a:gd name="T4" fmla="*/ 2147483647 w 153"/>
              <a:gd name="T5" fmla="*/ 2147483647 h 49"/>
              <a:gd name="T6" fmla="*/ 2147483647 w 153"/>
              <a:gd name="T7" fmla="*/ 2147483647 h 49"/>
              <a:gd name="T8" fmla="*/ 2147483647 w 153"/>
              <a:gd name="T9" fmla="*/ 2147483647 h 49"/>
              <a:gd name="T10" fmla="*/ 2147483647 w 153"/>
              <a:gd name="T11" fmla="*/ 2147483647 h 49"/>
              <a:gd name="T12" fmla="*/ 2147483647 w 153"/>
              <a:gd name="T13" fmla="*/ 2147483647 h 49"/>
              <a:gd name="T14" fmla="*/ 2147483647 w 153"/>
              <a:gd name="T15" fmla="*/ 2147483647 h 49"/>
              <a:gd name="T16" fmla="*/ 2147483647 w 153"/>
              <a:gd name="T17" fmla="*/ 0 h 49"/>
              <a:gd name="T18" fmla="*/ 2147483647 w 153"/>
              <a:gd name="T19" fmla="*/ 2147483647 h 49"/>
              <a:gd name="T20" fmla="*/ 2147483647 w 153"/>
              <a:gd name="T21" fmla="*/ 2147483647 h 49"/>
              <a:gd name="T22" fmla="*/ 2147483647 w 153"/>
              <a:gd name="T23" fmla="*/ 2147483647 h 49"/>
              <a:gd name="T24" fmla="*/ 2147483647 w 153"/>
              <a:gd name="T25" fmla="*/ 2147483647 h 49"/>
              <a:gd name="T26" fmla="*/ 2147483647 w 153"/>
              <a:gd name="T27" fmla="*/ 2147483647 h 49"/>
              <a:gd name="T28" fmla="*/ 2147483647 w 153"/>
              <a:gd name="T29" fmla="*/ 2147483647 h 49"/>
              <a:gd name="T30" fmla="*/ 2147483647 w 153"/>
              <a:gd name="T31" fmla="*/ 2147483647 h 49"/>
              <a:gd name="T32" fmla="*/ 2147483647 w 153"/>
              <a:gd name="T33" fmla="*/ 2147483647 h 49"/>
              <a:gd name="T34" fmla="*/ 2147483647 w 153"/>
              <a:gd name="T35" fmla="*/ 2147483647 h 49"/>
              <a:gd name="T36" fmla="*/ 2147483647 w 153"/>
              <a:gd name="T37" fmla="*/ 2147483647 h 49"/>
              <a:gd name="T38" fmla="*/ 2147483647 w 153"/>
              <a:gd name="T39" fmla="*/ 2147483647 h 49"/>
              <a:gd name="T40" fmla="*/ 2147483647 w 153"/>
              <a:gd name="T41" fmla="*/ 2147483647 h 49"/>
              <a:gd name="T42" fmla="*/ 2147483647 w 153"/>
              <a:gd name="T43" fmla="*/ 2147483647 h 49"/>
              <a:gd name="T44" fmla="*/ 2147483647 w 153"/>
              <a:gd name="T45" fmla="*/ 2147483647 h 49"/>
              <a:gd name="T46" fmla="*/ 2147483647 w 153"/>
              <a:gd name="T47" fmla="*/ 2147483647 h 49"/>
              <a:gd name="T48" fmla="*/ 0 w 153"/>
              <a:gd name="T49" fmla="*/ 2147483647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350" name="Freeform 463"/>
          <p:cNvSpPr>
            <a:spLocks/>
          </p:cNvSpPr>
          <p:nvPr>
            <p:custDataLst>
              <p:tags r:id="rId301"/>
            </p:custDataLst>
          </p:nvPr>
        </p:nvSpPr>
        <p:spPr bwMode="auto">
          <a:xfrm>
            <a:off x="3632200" y="3267075"/>
            <a:ext cx="187325" cy="158750"/>
          </a:xfrm>
          <a:custGeom>
            <a:avLst/>
            <a:gdLst>
              <a:gd name="T0" fmla="*/ 2147483647 w 426"/>
              <a:gd name="T1" fmla="*/ 2147483647 h 299"/>
              <a:gd name="T2" fmla="*/ 2147483647 w 426"/>
              <a:gd name="T3" fmla="*/ 2147483647 h 299"/>
              <a:gd name="T4" fmla="*/ 2147483647 w 426"/>
              <a:gd name="T5" fmla="*/ 2147483647 h 299"/>
              <a:gd name="T6" fmla="*/ 2147483647 w 426"/>
              <a:gd name="T7" fmla="*/ 2147483647 h 299"/>
              <a:gd name="T8" fmla="*/ 2147483647 w 426"/>
              <a:gd name="T9" fmla="*/ 2147483647 h 299"/>
              <a:gd name="T10" fmla="*/ 2147483647 w 426"/>
              <a:gd name="T11" fmla="*/ 2147483647 h 299"/>
              <a:gd name="T12" fmla="*/ 2147483647 w 426"/>
              <a:gd name="T13" fmla="*/ 2147483647 h 299"/>
              <a:gd name="T14" fmla="*/ 2147483647 w 426"/>
              <a:gd name="T15" fmla="*/ 2147483647 h 299"/>
              <a:gd name="T16" fmla="*/ 2147483647 w 426"/>
              <a:gd name="T17" fmla="*/ 2147483647 h 299"/>
              <a:gd name="T18" fmla="*/ 2147483647 w 426"/>
              <a:gd name="T19" fmla="*/ 2147483647 h 299"/>
              <a:gd name="T20" fmla="*/ 2147483647 w 426"/>
              <a:gd name="T21" fmla="*/ 2147483647 h 299"/>
              <a:gd name="T22" fmla="*/ 2147483647 w 426"/>
              <a:gd name="T23" fmla="*/ 2147483647 h 299"/>
              <a:gd name="T24" fmla="*/ 2147483647 w 426"/>
              <a:gd name="T25" fmla="*/ 2147483647 h 299"/>
              <a:gd name="T26" fmla="*/ 2147483647 w 426"/>
              <a:gd name="T27" fmla="*/ 2147483647 h 299"/>
              <a:gd name="T28" fmla="*/ 2147483647 w 426"/>
              <a:gd name="T29" fmla="*/ 2147483647 h 299"/>
              <a:gd name="T30" fmla="*/ 2147483647 w 426"/>
              <a:gd name="T31" fmla="*/ 2147483647 h 299"/>
              <a:gd name="T32" fmla="*/ 2147483647 w 426"/>
              <a:gd name="T33" fmla="*/ 2147483647 h 299"/>
              <a:gd name="T34" fmla="*/ 2147483647 w 426"/>
              <a:gd name="T35" fmla="*/ 2147483647 h 299"/>
              <a:gd name="T36" fmla="*/ 2147483647 w 426"/>
              <a:gd name="T37" fmla="*/ 2147483647 h 299"/>
              <a:gd name="T38" fmla="*/ 2147483647 w 426"/>
              <a:gd name="T39" fmla="*/ 2147483647 h 299"/>
              <a:gd name="T40" fmla="*/ 2147483647 w 426"/>
              <a:gd name="T41" fmla="*/ 2147483647 h 299"/>
              <a:gd name="T42" fmla="*/ 2147483647 w 426"/>
              <a:gd name="T43" fmla="*/ 2147483647 h 299"/>
              <a:gd name="T44" fmla="*/ 2147483647 w 426"/>
              <a:gd name="T45" fmla="*/ 2147483647 h 299"/>
              <a:gd name="T46" fmla="*/ 2147483647 w 426"/>
              <a:gd name="T47" fmla="*/ 2147483647 h 299"/>
              <a:gd name="T48" fmla="*/ 2147483647 w 426"/>
              <a:gd name="T49" fmla="*/ 2147483647 h 299"/>
              <a:gd name="T50" fmla="*/ 2147483647 w 426"/>
              <a:gd name="T51" fmla="*/ 2147483647 h 299"/>
              <a:gd name="T52" fmla="*/ 2147483647 w 426"/>
              <a:gd name="T53" fmla="*/ 2147483647 h 299"/>
              <a:gd name="T54" fmla="*/ 2147483647 w 426"/>
              <a:gd name="T55" fmla="*/ 2147483647 h 299"/>
              <a:gd name="T56" fmla="*/ 2147483647 w 426"/>
              <a:gd name="T57" fmla="*/ 2147483647 h 299"/>
              <a:gd name="T58" fmla="*/ 2147483647 w 426"/>
              <a:gd name="T59" fmla="*/ 2147483647 h 299"/>
              <a:gd name="T60" fmla="*/ 2147483647 w 426"/>
              <a:gd name="T61" fmla="*/ 2147483647 h 299"/>
              <a:gd name="T62" fmla="*/ 2147483647 w 426"/>
              <a:gd name="T63" fmla="*/ 2147483647 h 299"/>
              <a:gd name="T64" fmla="*/ 2147483647 w 426"/>
              <a:gd name="T65" fmla="*/ 2147483647 h 299"/>
              <a:gd name="T66" fmla="*/ 2147483647 w 426"/>
              <a:gd name="T67" fmla="*/ 2147483647 h 299"/>
              <a:gd name="T68" fmla="*/ 2147483647 w 426"/>
              <a:gd name="T69" fmla="*/ 2147483647 h 299"/>
              <a:gd name="T70" fmla="*/ 2147483647 w 426"/>
              <a:gd name="T71" fmla="*/ 2147483647 h 299"/>
              <a:gd name="T72" fmla="*/ 2147483647 w 426"/>
              <a:gd name="T73" fmla="*/ 2147483647 h 299"/>
              <a:gd name="T74" fmla="*/ 2147483647 w 426"/>
              <a:gd name="T75" fmla="*/ 2147483647 h 299"/>
              <a:gd name="T76" fmla="*/ 2147483647 w 426"/>
              <a:gd name="T77" fmla="*/ 2147483647 h 299"/>
              <a:gd name="T78" fmla="*/ 2147483647 w 426"/>
              <a:gd name="T79" fmla="*/ 2147483647 h 299"/>
              <a:gd name="T80" fmla="*/ 2147483647 w 426"/>
              <a:gd name="T81" fmla="*/ 2147483647 h 299"/>
              <a:gd name="T82" fmla="*/ 2147483647 w 426"/>
              <a:gd name="T83" fmla="*/ 2147483647 h 299"/>
              <a:gd name="T84" fmla="*/ 2147483647 w 426"/>
              <a:gd name="T85" fmla="*/ 2147483647 h 299"/>
              <a:gd name="T86" fmla="*/ 2147483647 w 426"/>
              <a:gd name="T87" fmla="*/ 2147483647 h 299"/>
              <a:gd name="T88" fmla="*/ 2147483647 w 426"/>
              <a:gd name="T89" fmla="*/ 2147483647 h 299"/>
              <a:gd name="T90" fmla="*/ 2147483647 w 426"/>
              <a:gd name="T91" fmla="*/ 2147483647 h 299"/>
              <a:gd name="T92" fmla="*/ 2147483647 w 426"/>
              <a:gd name="T93" fmla="*/ 2147483647 h 299"/>
              <a:gd name="T94" fmla="*/ 2147483647 w 426"/>
              <a:gd name="T95" fmla="*/ 2147483647 h 299"/>
              <a:gd name="T96" fmla="*/ 2147483647 w 426"/>
              <a:gd name="T97" fmla="*/ 2147483647 h 299"/>
              <a:gd name="T98" fmla="*/ 2147483647 w 426"/>
              <a:gd name="T99" fmla="*/ 2147483647 h 299"/>
              <a:gd name="T100" fmla="*/ 2147483647 w 426"/>
              <a:gd name="T101" fmla="*/ 2147483647 h 299"/>
              <a:gd name="T102" fmla="*/ 2147483647 w 426"/>
              <a:gd name="T103" fmla="*/ 2147483647 h 299"/>
              <a:gd name="T104" fmla="*/ 2147483647 w 426"/>
              <a:gd name="T105" fmla="*/ 2147483647 h 299"/>
              <a:gd name="T106" fmla="*/ 2147483647 w 426"/>
              <a:gd name="T107" fmla="*/ 2147483647 h 299"/>
              <a:gd name="T108" fmla="*/ 2147483647 w 426"/>
              <a:gd name="T109" fmla="*/ 2147483647 h 299"/>
              <a:gd name="T110" fmla="*/ 2147483647 w 426"/>
              <a:gd name="T111" fmla="*/ 2147483647 h 299"/>
              <a:gd name="T112" fmla="*/ 2147483647 w 426"/>
              <a:gd name="T113" fmla="*/ 2147483647 h 299"/>
              <a:gd name="T114" fmla="*/ 2147483647 w 426"/>
              <a:gd name="T115" fmla="*/ 2147483647 h 299"/>
              <a:gd name="T116" fmla="*/ 2147483647 w 426"/>
              <a:gd name="T117" fmla="*/ 2147483647 h 299"/>
              <a:gd name="T118" fmla="*/ 2147483647 w 426"/>
              <a:gd name="T119" fmla="*/ 2147483647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mpd="sng">
            <a:solidFill>
              <a:srgbClr val="FFFFFF"/>
            </a:solidFill>
            <a:prstDash val="solid"/>
            <a:round/>
            <a:headEnd/>
            <a:tailEnd/>
          </a:ln>
        </p:spPr>
        <p:txBody>
          <a:bodyPr/>
          <a:lstStyle/>
          <a:p>
            <a:endParaRPr lang="en-AU"/>
          </a:p>
        </p:txBody>
      </p:sp>
      <p:sp>
        <p:nvSpPr>
          <p:cNvPr id="2351" name="Freeform 464"/>
          <p:cNvSpPr>
            <a:spLocks/>
          </p:cNvSpPr>
          <p:nvPr>
            <p:custDataLst>
              <p:tags r:id="rId302"/>
            </p:custDataLst>
          </p:nvPr>
        </p:nvSpPr>
        <p:spPr bwMode="auto">
          <a:xfrm>
            <a:off x="5676900" y="2530475"/>
            <a:ext cx="692150" cy="874713"/>
          </a:xfrm>
          <a:custGeom>
            <a:avLst/>
            <a:gdLst>
              <a:gd name="T0" fmla="*/ 2147483647 w 1594"/>
              <a:gd name="T1" fmla="*/ 2147483647 h 1670"/>
              <a:gd name="T2" fmla="*/ 2147483647 w 1594"/>
              <a:gd name="T3" fmla="*/ 2147483647 h 1670"/>
              <a:gd name="T4" fmla="*/ 2147483647 w 1594"/>
              <a:gd name="T5" fmla="*/ 2147483647 h 1670"/>
              <a:gd name="T6" fmla="*/ 2147483647 w 1594"/>
              <a:gd name="T7" fmla="*/ 2147483647 h 1670"/>
              <a:gd name="T8" fmla="*/ 2147483647 w 1594"/>
              <a:gd name="T9" fmla="*/ 2147483647 h 1670"/>
              <a:gd name="T10" fmla="*/ 2147483647 w 1594"/>
              <a:gd name="T11" fmla="*/ 2147483647 h 1670"/>
              <a:gd name="T12" fmla="*/ 2147483647 w 1594"/>
              <a:gd name="T13" fmla="*/ 2147483647 h 1670"/>
              <a:gd name="T14" fmla="*/ 2147483647 w 1594"/>
              <a:gd name="T15" fmla="*/ 2147483647 h 1670"/>
              <a:gd name="T16" fmla="*/ 2147483647 w 1594"/>
              <a:gd name="T17" fmla="*/ 2147483647 h 1670"/>
              <a:gd name="T18" fmla="*/ 2147483647 w 1594"/>
              <a:gd name="T19" fmla="*/ 2147483647 h 1670"/>
              <a:gd name="T20" fmla="*/ 2147483647 w 1594"/>
              <a:gd name="T21" fmla="*/ 2147483647 h 1670"/>
              <a:gd name="T22" fmla="*/ 2147483647 w 1594"/>
              <a:gd name="T23" fmla="*/ 2147483647 h 1670"/>
              <a:gd name="T24" fmla="*/ 2147483647 w 1594"/>
              <a:gd name="T25" fmla="*/ 2147483647 h 1670"/>
              <a:gd name="T26" fmla="*/ 2147483647 w 1594"/>
              <a:gd name="T27" fmla="*/ 2147483647 h 1670"/>
              <a:gd name="T28" fmla="*/ 2147483647 w 1594"/>
              <a:gd name="T29" fmla="*/ 2147483647 h 1670"/>
              <a:gd name="T30" fmla="*/ 2147483647 w 1594"/>
              <a:gd name="T31" fmla="*/ 2147483647 h 1670"/>
              <a:gd name="T32" fmla="*/ 2147483647 w 1594"/>
              <a:gd name="T33" fmla="*/ 2147483647 h 1670"/>
              <a:gd name="T34" fmla="*/ 2147483647 w 1594"/>
              <a:gd name="T35" fmla="*/ 2147483647 h 1670"/>
              <a:gd name="T36" fmla="*/ 2147483647 w 1594"/>
              <a:gd name="T37" fmla="*/ 2147483647 h 1670"/>
              <a:gd name="T38" fmla="*/ 2147483647 w 1594"/>
              <a:gd name="T39" fmla="*/ 2147483647 h 1670"/>
              <a:gd name="T40" fmla="*/ 2147483647 w 1594"/>
              <a:gd name="T41" fmla="*/ 2147483647 h 1670"/>
              <a:gd name="T42" fmla="*/ 2147483647 w 1594"/>
              <a:gd name="T43" fmla="*/ 2147483647 h 1670"/>
              <a:gd name="T44" fmla="*/ 2147483647 w 1594"/>
              <a:gd name="T45" fmla="*/ 2147483647 h 1670"/>
              <a:gd name="T46" fmla="*/ 2147483647 w 1594"/>
              <a:gd name="T47" fmla="*/ 2147483647 h 1670"/>
              <a:gd name="T48" fmla="*/ 2147483647 w 1594"/>
              <a:gd name="T49" fmla="*/ 2147483647 h 1670"/>
              <a:gd name="T50" fmla="*/ 2147483647 w 1594"/>
              <a:gd name="T51" fmla="*/ 2147483647 h 1670"/>
              <a:gd name="T52" fmla="*/ 2147483647 w 1594"/>
              <a:gd name="T53" fmla="*/ 2147483647 h 1670"/>
              <a:gd name="T54" fmla="*/ 2147483647 w 1594"/>
              <a:gd name="T55" fmla="*/ 2147483647 h 1670"/>
              <a:gd name="T56" fmla="*/ 2147483647 w 1594"/>
              <a:gd name="T57" fmla="*/ 2147483647 h 1670"/>
              <a:gd name="T58" fmla="*/ 2147483647 w 1594"/>
              <a:gd name="T59" fmla="*/ 2147483647 h 1670"/>
              <a:gd name="T60" fmla="*/ 2147483647 w 1594"/>
              <a:gd name="T61" fmla="*/ 2147483647 h 1670"/>
              <a:gd name="T62" fmla="*/ 2147483647 w 1594"/>
              <a:gd name="T63" fmla="*/ 2147483647 h 1670"/>
              <a:gd name="T64" fmla="*/ 2147483647 w 1594"/>
              <a:gd name="T65" fmla="*/ 2147483647 h 1670"/>
              <a:gd name="T66" fmla="*/ 2147483647 w 1594"/>
              <a:gd name="T67" fmla="*/ 2147483647 h 1670"/>
              <a:gd name="T68" fmla="*/ 2147483647 w 1594"/>
              <a:gd name="T69" fmla="*/ 2147483647 h 1670"/>
              <a:gd name="T70" fmla="*/ 2147483647 w 1594"/>
              <a:gd name="T71" fmla="*/ 2147483647 h 1670"/>
              <a:gd name="T72" fmla="*/ 2147483647 w 1594"/>
              <a:gd name="T73" fmla="*/ 2147483647 h 1670"/>
              <a:gd name="T74" fmla="*/ 2147483647 w 1594"/>
              <a:gd name="T75" fmla="*/ 2147483647 h 1670"/>
              <a:gd name="T76" fmla="*/ 2147483647 w 1594"/>
              <a:gd name="T77" fmla="*/ 2147483647 h 1670"/>
              <a:gd name="T78" fmla="*/ 2147483647 w 1594"/>
              <a:gd name="T79" fmla="*/ 2147483647 h 1670"/>
              <a:gd name="T80" fmla="*/ 2147483647 w 1594"/>
              <a:gd name="T81" fmla="*/ 2147483647 h 1670"/>
              <a:gd name="T82" fmla="*/ 2147483647 w 1594"/>
              <a:gd name="T83" fmla="*/ 2147483647 h 1670"/>
              <a:gd name="T84" fmla="*/ 2147483647 w 1594"/>
              <a:gd name="T85" fmla="*/ 2147483647 h 1670"/>
              <a:gd name="T86" fmla="*/ 2147483647 w 1594"/>
              <a:gd name="T87" fmla="*/ 2147483647 h 1670"/>
              <a:gd name="T88" fmla="*/ 2147483647 w 1594"/>
              <a:gd name="T89" fmla="*/ 2147483647 h 1670"/>
              <a:gd name="T90" fmla="*/ 2147483647 w 1594"/>
              <a:gd name="T91" fmla="*/ 2147483647 h 1670"/>
              <a:gd name="T92" fmla="*/ 2147483647 w 1594"/>
              <a:gd name="T93" fmla="*/ 2147483647 h 1670"/>
              <a:gd name="T94" fmla="*/ 2147483647 w 1594"/>
              <a:gd name="T95" fmla="*/ 2147483647 h 1670"/>
              <a:gd name="T96" fmla="*/ 2147483647 w 1594"/>
              <a:gd name="T97" fmla="*/ 2147483647 h 1670"/>
              <a:gd name="T98" fmla="*/ 2147483647 w 1594"/>
              <a:gd name="T99" fmla="*/ 2147483647 h 1670"/>
              <a:gd name="T100" fmla="*/ 2147483647 w 1594"/>
              <a:gd name="T101" fmla="*/ 2147483647 h 1670"/>
              <a:gd name="T102" fmla="*/ 2147483647 w 1594"/>
              <a:gd name="T103" fmla="*/ 2147483647 h 1670"/>
              <a:gd name="T104" fmla="*/ 2147483647 w 1594"/>
              <a:gd name="T105" fmla="*/ 2147483647 h 1670"/>
              <a:gd name="T106" fmla="*/ 2147483647 w 1594"/>
              <a:gd name="T107" fmla="*/ 2147483647 h 1670"/>
              <a:gd name="T108" fmla="*/ 2147483647 w 1594"/>
              <a:gd name="T109" fmla="*/ 2147483647 h 1670"/>
              <a:gd name="T110" fmla="*/ 2147483647 w 1594"/>
              <a:gd name="T111" fmla="*/ 2147483647 h 1670"/>
              <a:gd name="T112" fmla="*/ 2147483647 w 1594"/>
              <a:gd name="T113" fmla="*/ 2147483647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FF0000"/>
          </a:solidFill>
          <a:ln w="9525" cmpd="sng">
            <a:solidFill>
              <a:srgbClr val="FFFFFF"/>
            </a:solidFill>
            <a:prstDash val="solid"/>
            <a:round/>
            <a:headEnd/>
            <a:tailEnd/>
          </a:ln>
        </p:spPr>
        <p:txBody>
          <a:bodyPr/>
          <a:lstStyle/>
          <a:p>
            <a:endParaRPr lang="en-AU"/>
          </a:p>
        </p:txBody>
      </p:sp>
      <p:sp>
        <p:nvSpPr>
          <p:cNvPr id="2352" name="Freeform 465"/>
          <p:cNvSpPr>
            <a:spLocks/>
          </p:cNvSpPr>
          <p:nvPr>
            <p:custDataLst>
              <p:tags r:id="rId303"/>
            </p:custDataLst>
          </p:nvPr>
        </p:nvSpPr>
        <p:spPr bwMode="auto">
          <a:xfrm>
            <a:off x="3798888" y="3325813"/>
            <a:ext cx="158750" cy="206375"/>
          </a:xfrm>
          <a:custGeom>
            <a:avLst/>
            <a:gdLst>
              <a:gd name="T0" fmla="*/ 2147483647 w 359"/>
              <a:gd name="T1" fmla="*/ 2147483647 h 394"/>
              <a:gd name="T2" fmla="*/ 2147483647 w 359"/>
              <a:gd name="T3" fmla="*/ 2147483647 h 394"/>
              <a:gd name="T4" fmla="*/ 2147483647 w 359"/>
              <a:gd name="T5" fmla="*/ 2147483647 h 394"/>
              <a:gd name="T6" fmla="*/ 2147483647 w 359"/>
              <a:gd name="T7" fmla="*/ 2147483647 h 394"/>
              <a:gd name="T8" fmla="*/ 2147483647 w 359"/>
              <a:gd name="T9" fmla="*/ 2147483647 h 394"/>
              <a:gd name="T10" fmla="*/ 2147483647 w 359"/>
              <a:gd name="T11" fmla="*/ 2147483647 h 394"/>
              <a:gd name="T12" fmla="*/ 2147483647 w 359"/>
              <a:gd name="T13" fmla="*/ 2147483647 h 394"/>
              <a:gd name="T14" fmla="*/ 0 w 359"/>
              <a:gd name="T15" fmla="*/ 2147483647 h 394"/>
              <a:gd name="T16" fmla="*/ 2147483647 w 359"/>
              <a:gd name="T17" fmla="*/ 2147483647 h 394"/>
              <a:gd name="T18" fmla="*/ 2147483647 w 359"/>
              <a:gd name="T19" fmla="*/ 2147483647 h 394"/>
              <a:gd name="T20" fmla="*/ 2147483647 w 359"/>
              <a:gd name="T21" fmla="*/ 2147483647 h 394"/>
              <a:gd name="T22" fmla="*/ 2147483647 w 359"/>
              <a:gd name="T23" fmla="*/ 2147483647 h 394"/>
              <a:gd name="T24" fmla="*/ 2147483647 w 359"/>
              <a:gd name="T25" fmla="*/ 2147483647 h 394"/>
              <a:gd name="T26" fmla="*/ 2147483647 w 359"/>
              <a:gd name="T27" fmla="*/ 2147483647 h 394"/>
              <a:gd name="T28" fmla="*/ 2147483647 w 359"/>
              <a:gd name="T29" fmla="*/ 2147483647 h 394"/>
              <a:gd name="T30" fmla="*/ 2147483647 w 359"/>
              <a:gd name="T31" fmla="*/ 2147483647 h 394"/>
              <a:gd name="T32" fmla="*/ 2147483647 w 359"/>
              <a:gd name="T33" fmla="*/ 2147483647 h 394"/>
              <a:gd name="T34" fmla="*/ 2147483647 w 359"/>
              <a:gd name="T35" fmla="*/ 2147483647 h 394"/>
              <a:gd name="T36" fmla="*/ 2147483647 w 359"/>
              <a:gd name="T37" fmla="*/ 0 h 394"/>
              <a:gd name="T38" fmla="*/ 2147483647 w 359"/>
              <a:gd name="T39" fmla="*/ 2147483647 h 394"/>
              <a:gd name="T40" fmla="*/ 2147483647 w 359"/>
              <a:gd name="T41" fmla="*/ 2147483647 h 394"/>
              <a:gd name="T42" fmla="*/ 2147483647 w 359"/>
              <a:gd name="T43" fmla="*/ 2147483647 h 394"/>
              <a:gd name="T44" fmla="*/ 2147483647 w 359"/>
              <a:gd name="T45" fmla="*/ 2147483647 h 394"/>
              <a:gd name="T46" fmla="*/ 2147483647 w 359"/>
              <a:gd name="T47" fmla="*/ 2147483647 h 394"/>
              <a:gd name="T48" fmla="*/ 2147483647 w 359"/>
              <a:gd name="T49" fmla="*/ 2147483647 h 394"/>
              <a:gd name="T50" fmla="*/ 2147483647 w 359"/>
              <a:gd name="T51" fmla="*/ 2147483647 h 394"/>
              <a:gd name="T52" fmla="*/ 2147483647 w 359"/>
              <a:gd name="T53" fmla="*/ 2147483647 h 394"/>
              <a:gd name="T54" fmla="*/ 2147483647 w 359"/>
              <a:gd name="T55" fmla="*/ 2147483647 h 394"/>
              <a:gd name="T56" fmla="*/ 2147483647 w 359"/>
              <a:gd name="T57" fmla="*/ 2147483647 h 394"/>
              <a:gd name="T58" fmla="*/ 2147483647 w 359"/>
              <a:gd name="T59" fmla="*/ 2147483647 h 394"/>
              <a:gd name="T60" fmla="*/ 2147483647 w 359"/>
              <a:gd name="T61" fmla="*/ 2147483647 h 394"/>
              <a:gd name="T62" fmla="*/ 2147483647 w 359"/>
              <a:gd name="T63" fmla="*/ 2147483647 h 394"/>
              <a:gd name="T64" fmla="*/ 2147483647 w 359"/>
              <a:gd name="T65" fmla="*/ 2147483647 h 394"/>
              <a:gd name="T66" fmla="*/ 2147483647 w 359"/>
              <a:gd name="T67" fmla="*/ 2147483647 h 394"/>
              <a:gd name="T68" fmla="*/ 2147483647 w 359"/>
              <a:gd name="T69" fmla="*/ 2147483647 h 394"/>
              <a:gd name="T70" fmla="*/ 2147483647 w 359"/>
              <a:gd name="T71" fmla="*/ 2147483647 h 394"/>
              <a:gd name="T72" fmla="*/ 2147483647 w 359"/>
              <a:gd name="T73" fmla="*/ 2147483647 h 394"/>
              <a:gd name="T74" fmla="*/ 2147483647 w 359"/>
              <a:gd name="T75" fmla="*/ 2147483647 h 394"/>
              <a:gd name="T76" fmla="*/ 2147483647 w 359"/>
              <a:gd name="T77" fmla="*/ 2147483647 h 394"/>
              <a:gd name="T78" fmla="*/ 2147483647 w 359"/>
              <a:gd name="T79" fmla="*/ 2147483647 h 394"/>
              <a:gd name="T80" fmla="*/ 2147483647 w 359"/>
              <a:gd name="T81" fmla="*/ 2147483647 h 394"/>
              <a:gd name="T82" fmla="*/ 2147483647 w 359"/>
              <a:gd name="T83" fmla="*/ 2147483647 h 394"/>
              <a:gd name="T84" fmla="*/ 2147483647 w 359"/>
              <a:gd name="T85" fmla="*/ 2147483647 h 394"/>
              <a:gd name="T86" fmla="*/ 2147483647 w 359"/>
              <a:gd name="T87" fmla="*/ 2147483647 h 394"/>
              <a:gd name="T88" fmla="*/ 2147483647 w 359"/>
              <a:gd name="T89" fmla="*/ 2147483647 h 394"/>
              <a:gd name="T90" fmla="*/ 2147483647 w 359"/>
              <a:gd name="T91" fmla="*/ 2147483647 h 394"/>
              <a:gd name="T92" fmla="*/ 2147483647 w 359"/>
              <a:gd name="T93" fmla="*/ 2147483647 h 394"/>
              <a:gd name="T94" fmla="*/ 2147483647 w 359"/>
              <a:gd name="T95" fmla="*/ 2147483647 h 394"/>
              <a:gd name="T96" fmla="*/ 2147483647 w 359"/>
              <a:gd name="T97" fmla="*/ 2147483647 h 394"/>
              <a:gd name="T98" fmla="*/ 2147483647 w 359"/>
              <a:gd name="T99" fmla="*/ 2147483647 h 394"/>
              <a:gd name="T100" fmla="*/ 2147483647 w 359"/>
              <a:gd name="T101" fmla="*/ 2147483647 h 394"/>
              <a:gd name="T102" fmla="*/ 2147483647 w 359"/>
              <a:gd name="T103" fmla="*/ 2147483647 h 394"/>
              <a:gd name="T104" fmla="*/ 2147483647 w 359"/>
              <a:gd name="T105" fmla="*/ 2147483647 h 394"/>
              <a:gd name="T106" fmla="*/ 2147483647 w 359"/>
              <a:gd name="T107" fmla="*/ 2147483647 h 394"/>
              <a:gd name="T108" fmla="*/ 2147483647 w 359"/>
              <a:gd name="T109" fmla="*/ 2147483647 h 394"/>
              <a:gd name="T110" fmla="*/ 2147483647 w 359"/>
              <a:gd name="T111" fmla="*/ 2147483647 h 394"/>
              <a:gd name="T112" fmla="*/ 2147483647 w 359"/>
              <a:gd name="T113" fmla="*/ 2147483647 h 394"/>
              <a:gd name="T114" fmla="*/ 2147483647 w 359"/>
              <a:gd name="T115" fmla="*/ 2147483647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cmpd="sng">
            <a:solidFill>
              <a:srgbClr val="FFFFFF"/>
            </a:solidFill>
            <a:prstDash val="solid"/>
            <a:round/>
            <a:headEnd/>
            <a:tailEnd/>
          </a:ln>
        </p:spPr>
        <p:txBody>
          <a:bodyPr/>
          <a:lstStyle/>
          <a:p>
            <a:endParaRPr lang="en-AU"/>
          </a:p>
        </p:txBody>
      </p:sp>
      <p:sp>
        <p:nvSpPr>
          <p:cNvPr id="2353" name="Freeform 466"/>
          <p:cNvSpPr>
            <a:spLocks/>
          </p:cNvSpPr>
          <p:nvPr>
            <p:custDataLst>
              <p:tags r:id="rId304"/>
            </p:custDataLst>
          </p:nvPr>
        </p:nvSpPr>
        <p:spPr bwMode="auto">
          <a:xfrm>
            <a:off x="4867275" y="3521075"/>
            <a:ext cx="192088" cy="271463"/>
          </a:xfrm>
          <a:custGeom>
            <a:avLst/>
            <a:gdLst>
              <a:gd name="T0" fmla="*/ 2147483647 w 449"/>
              <a:gd name="T1" fmla="*/ 2147483647 h 523"/>
              <a:gd name="T2" fmla="*/ 2147483647 w 449"/>
              <a:gd name="T3" fmla="*/ 2147483647 h 523"/>
              <a:gd name="T4" fmla="*/ 2147483647 w 449"/>
              <a:gd name="T5" fmla="*/ 2147483647 h 523"/>
              <a:gd name="T6" fmla="*/ 2147483647 w 449"/>
              <a:gd name="T7" fmla="*/ 2147483647 h 523"/>
              <a:gd name="T8" fmla="*/ 2147483647 w 449"/>
              <a:gd name="T9" fmla="*/ 2147483647 h 523"/>
              <a:gd name="T10" fmla="*/ 2147483647 w 449"/>
              <a:gd name="T11" fmla="*/ 2147483647 h 523"/>
              <a:gd name="T12" fmla="*/ 2147483647 w 449"/>
              <a:gd name="T13" fmla="*/ 2147483647 h 523"/>
              <a:gd name="T14" fmla="*/ 2147483647 w 449"/>
              <a:gd name="T15" fmla="*/ 2147483647 h 523"/>
              <a:gd name="T16" fmla="*/ 2147483647 w 449"/>
              <a:gd name="T17" fmla="*/ 2147483647 h 523"/>
              <a:gd name="T18" fmla="*/ 2147483647 w 449"/>
              <a:gd name="T19" fmla="*/ 2147483647 h 523"/>
              <a:gd name="T20" fmla="*/ 2147483647 w 449"/>
              <a:gd name="T21" fmla="*/ 2147483647 h 523"/>
              <a:gd name="T22" fmla="*/ 2147483647 w 449"/>
              <a:gd name="T23" fmla="*/ 2147483647 h 523"/>
              <a:gd name="T24" fmla="*/ 2147483647 w 449"/>
              <a:gd name="T25" fmla="*/ 2147483647 h 523"/>
              <a:gd name="T26" fmla="*/ 2147483647 w 449"/>
              <a:gd name="T27" fmla="*/ 2147483647 h 523"/>
              <a:gd name="T28" fmla="*/ 2147483647 w 449"/>
              <a:gd name="T29" fmla="*/ 2147483647 h 523"/>
              <a:gd name="T30" fmla="*/ 2147483647 w 449"/>
              <a:gd name="T31" fmla="*/ 2147483647 h 523"/>
              <a:gd name="T32" fmla="*/ 2147483647 w 449"/>
              <a:gd name="T33" fmla="*/ 2147483647 h 523"/>
              <a:gd name="T34" fmla="*/ 2147483647 w 449"/>
              <a:gd name="T35" fmla="*/ 2147483647 h 523"/>
              <a:gd name="T36" fmla="*/ 2147483647 w 449"/>
              <a:gd name="T37" fmla="*/ 2147483647 h 523"/>
              <a:gd name="T38" fmla="*/ 2147483647 w 449"/>
              <a:gd name="T39" fmla="*/ 2147483647 h 523"/>
              <a:gd name="T40" fmla="*/ 2147483647 w 449"/>
              <a:gd name="T41" fmla="*/ 2147483647 h 523"/>
              <a:gd name="T42" fmla="*/ 2147483647 w 449"/>
              <a:gd name="T43" fmla="*/ 2147483647 h 523"/>
              <a:gd name="T44" fmla="*/ 2147483647 w 449"/>
              <a:gd name="T45" fmla="*/ 2147483647 h 523"/>
              <a:gd name="T46" fmla="*/ 2147483647 w 449"/>
              <a:gd name="T47" fmla="*/ 2147483647 h 523"/>
              <a:gd name="T48" fmla="*/ 2147483647 w 449"/>
              <a:gd name="T49" fmla="*/ 2147483647 h 523"/>
              <a:gd name="T50" fmla="*/ 2147483647 w 449"/>
              <a:gd name="T51" fmla="*/ 0 h 523"/>
              <a:gd name="T52" fmla="*/ 2147483647 w 449"/>
              <a:gd name="T53" fmla="*/ 0 h 523"/>
              <a:gd name="T54" fmla="*/ 2147483647 w 449"/>
              <a:gd name="T55" fmla="*/ 0 h 523"/>
              <a:gd name="T56" fmla="*/ 2147483647 w 449"/>
              <a:gd name="T57" fmla="*/ 2147483647 h 523"/>
              <a:gd name="T58" fmla="*/ 2147483647 w 449"/>
              <a:gd name="T59" fmla="*/ 2147483647 h 523"/>
              <a:gd name="T60" fmla="*/ 2147483647 w 449"/>
              <a:gd name="T61" fmla="*/ 2147483647 h 523"/>
              <a:gd name="T62" fmla="*/ 2147483647 w 449"/>
              <a:gd name="T63" fmla="*/ 2147483647 h 523"/>
              <a:gd name="T64" fmla="*/ 2147483647 w 449"/>
              <a:gd name="T65" fmla="*/ 2147483647 h 523"/>
              <a:gd name="T66" fmla="*/ 2147483647 w 449"/>
              <a:gd name="T67" fmla="*/ 2147483647 h 523"/>
              <a:gd name="T68" fmla="*/ 2147483647 w 449"/>
              <a:gd name="T69" fmla="*/ 2147483647 h 523"/>
              <a:gd name="T70" fmla="*/ 2147483647 w 449"/>
              <a:gd name="T71" fmla="*/ 2147483647 h 523"/>
              <a:gd name="T72" fmla="*/ 2147483647 w 449"/>
              <a:gd name="T73" fmla="*/ 2147483647 h 523"/>
              <a:gd name="T74" fmla="*/ 2147483647 w 449"/>
              <a:gd name="T75" fmla="*/ 2147483647 h 523"/>
              <a:gd name="T76" fmla="*/ 2147483647 w 449"/>
              <a:gd name="T77" fmla="*/ 2147483647 h 523"/>
              <a:gd name="T78" fmla="*/ 2147483647 w 449"/>
              <a:gd name="T79" fmla="*/ 2147483647 h 523"/>
              <a:gd name="T80" fmla="*/ 2147483647 w 449"/>
              <a:gd name="T81" fmla="*/ 2147483647 h 523"/>
              <a:gd name="T82" fmla="*/ 2147483647 w 449"/>
              <a:gd name="T83" fmla="*/ 2147483647 h 523"/>
              <a:gd name="T84" fmla="*/ 2147483647 w 449"/>
              <a:gd name="T85" fmla="*/ 2147483647 h 523"/>
              <a:gd name="T86" fmla="*/ 2147483647 w 449"/>
              <a:gd name="T87" fmla="*/ 2147483647 h 523"/>
              <a:gd name="T88" fmla="*/ 2147483647 w 449"/>
              <a:gd name="T89" fmla="*/ 2147483647 h 523"/>
              <a:gd name="T90" fmla="*/ 2147483647 w 449"/>
              <a:gd name="T91" fmla="*/ 2147483647 h 523"/>
              <a:gd name="T92" fmla="*/ 2147483647 w 449"/>
              <a:gd name="T93" fmla="*/ 2147483647 h 523"/>
              <a:gd name="T94" fmla="*/ 2147483647 w 449"/>
              <a:gd name="T95" fmla="*/ 2147483647 h 523"/>
              <a:gd name="T96" fmla="*/ 2147483647 w 449"/>
              <a:gd name="T97" fmla="*/ 2147483647 h 523"/>
              <a:gd name="T98" fmla="*/ 2147483647 w 449"/>
              <a:gd name="T99" fmla="*/ 2147483647 h 523"/>
              <a:gd name="T100" fmla="*/ 2147483647 w 449"/>
              <a:gd name="T101" fmla="*/ 2147483647 h 523"/>
              <a:gd name="T102" fmla="*/ 2147483647 w 449"/>
              <a:gd name="T103" fmla="*/ 2147483647 h 523"/>
              <a:gd name="T104" fmla="*/ 2147483647 w 449"/>
              <a:gd name="T105" fmla="*/ 2147483647 h 523"/>
              <a:gd name="T106" fmla="*/ 2147483647 w 449"/>
              <a:gd name="T107" fmla="*/ 2147483647 h 523"/>
              <a:gd name="T108" fmla="*/ 2147483647 w 449"/>
              <a:gd name="T109" fmla="*/ 2147483647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C0C0C0"/>
          </a:solidFill>
          <a:ln w="9525" cmpd="sng">
            <a:solidFill>
              <a:srgbClr val="FFFFFF"/>
            </a:solidFill>
            <a:prstDash val="solid"/>
            <a:round/>
            <a:headEnd/>
            <a:tailEnd/>
          </a:ln>
        </p:spPr>
        <p:txBody>
          <a:bodyPr/>
          <a:lstStyle/>
          <a:p>
            <a:endParaRPr lang="en-AU"/>
          </a:p>
        </p:txBody>
      </p:sp>
      <p:sp>
        <p:nvSpPr>
          <p:cNvPr id="2354" name="Freeform 467"/>
          <p:cNvSpPr>
            <a:spLocks/>
          </p:cNvSpPr>
          <p:nvPr>
            <p:custDataLst>
              <p:tags r:id="rId305"/>
            </p:custDataLst>
          </p:nvPr>
        </p:nvSpPr>
        <p:spPr bwMode="auto">
          <a:xfrm>
            <a:off x="4849813" y="2606675"/>
            <a:ext cx="101600" cy="130175"/>
          </a:xfrm>
          <a:custGeom>
            <a:avLst/>
            <a:gdLst>
              <a:gd name="T0" fmla="*/ 2147483647 w 226"/>
              <a:gd name="T1" fmla="*/ 2147483647 h 246"/>
              <a:gd name="T2" fmla="*/ 2147483647 w 226"/>
              <a:gd name="T3" fmla="*/ 2147483647 h 246"/>
              <a:gd name="T4" fmla="*/ 2147483647 w 226"/>
              <a:gd name="T5" fmla="*/ 2147483647 h 246"/>
              <a:gd name="T6" fmla="*/ 2147483647 w 226"/>
              <a:gd name="T7" fmla="*/ 2147483647 h 246"/>
              <a:gd name="T8" fmla="*/ 2147483647 w 226"/>
              <a:gd name="T9" fmla="*/ 2147483647 h 246"/>
              <a:gd name="T10" fmla="*/ 2147483647 w 226"/>
              <a:gd name="T11" fmla="*/ 2147483647 h 246"/>
              <a:gd name="T12" fmla="*/ 2147483647 w 226"/>
              <a:gd name="T13" fmla="*/ 2147483647 h 246"/>
              <a:gd name="T14" fmla="*/ 2147483647 w 226"/>
              <a:gd name="T15" fmla="*/ 2147483647 h 246"/>
              <a:gd name="T16" fmla="*/ 2147483647 w 226"/>
              <a:gd name="T17" fmla="*/ 2147483647 h 246"/>
              <a:gd name="T18" fmla="*/ 2147483647 w 226"/>
              <a:gd name="T19" fmla="*/ 2147483647 h 246"/>
              <a:gd name="T20" fmla="*/ 2147483647 w 226"/>
              <a:gd name="T21" fmla="*/ 2147483647 h 246"/>
              <a:gd name="T22" fmla="*/ 2147483647 w 226"/>
              <a:gd name="T23" fmla="*/ 2147483647 h 246"/>
              <a:gd name="T24" fmla="*/ 2147483647 w 226"/>
              <a:gd name="T25" fmla="*/ 2147483647 h 246"/>
              <a:gd name="T26" fmla="*/ 2147483647 w 226"/>
              <a:gd name="T27" fmla="*/ 2147483647 h 246"/>
              <a:gd name="T28" fmla="*/ 2147483647 w 226"/>
              <a:gd name="T29" fmla="*/ 2147483647 h 246"/>
              <a:gd name="T30" fmla="*/ 2147483647 w 226"/>
              <a:gd name="T31" fmla="*/ 2147483647 h 246"/>
              <a:gd name="T32" fmla="*/ 2147483647 w 226"/>
              <a:gd name="T33" fmla="*/ 2147483647 h 246"/>
              <a:gd name="T34" fmla="*/ 2147483647 w 226"/>
              <a:gd name="T35" fmla="*/ 2147483647 h 246"/>
              <a:gd name="T36" fmla="*/ 2147483647 w 226"/>
              <a:gd name="T37" fmla="*/ 2147483647 h 246"/>
              <a:gd name="T38" fmla="*/ 2147483647 w 226"/>
              <a:gd name="T39" fmla="*/ 2147483647 h 246"/>
              <a:gd name="T40" fmla="*/ 2147483647 w 226"/>
              <a:gd name="T41" fmla="*/ 2147483647 h 246"/>
              <a:gd name="T42" fmla="*/ 2147483647 w 226"/>
              <a:gd name="T43" fmla="*/ 2147483647 h 246"/>
              <a:gd name="T44" fmla="*/ 2147483647 w 226"/>
              <a:gd name="T45" fmla="*/ 2147483647 h 246"/>
              <a:gd name="T46" fmla="*/ 2147483647 w 226"/>
              <a:gd name="T47" fmla="*/ 2147483647 h 246"/>
              <a:gd name="T48" fmla="*/ 2147483647 w 226"/>
              <a:gd name="T49" fmla="*/ 2147483647 h 246"/>
              <a:gd name="T50" fmla="*/ 2147483647 w 226"/>
              <a:gd name="T51" fmla="*/ 2147483647 h 246"/>
              <a:gd name="T52" fmla="*/ 2147483647 w 226"/>
              <a:gd name="T53" fmla="*/ 2147483647 h 246"/>
              <a:gd name="T54" fmla="*/ 2147483647 w 226"/>
              <a:gd name="T55" fmla="*/ 2147483647 h 246"/>
              <a:gd name="T56" fmla="*/ 2147483647 w 226"/>
              <a:gd name="T57" fmla="*/ 2147483647 h 246"/>
              <a:gd name="T58" fmla="*/ 2147483647 w 226"/>
              <a:gd name="T59" fmla="*/ 2147483647 h 246"/>
              <a:gd name="T60" fmla="*/ 2147483647 w 226"/>
              <a:gd name="T61" fmla="*/ 2147483647 h 246"/>
              <a:gd name="T62" fmla="*/ 2147483647 w 226"/>
              <a:gd name="T63" fmla="*/ 2147483647 h 246"/>
              <a:gd name="T64" fmla="*/ 2147483647 w 226"/>
              <a:gd name="T65" fmla="*/ 2147483647 h 246"/>
              <a:gd name="T66" fmla="*/ 2147483647 w 226"/>
              <a:gd name="T67" fmla="*/ 2147483647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cmpd="sng">
            <a:solidFill>
              <a:srgbClr val="FFFFFF"/>
            </a:solidFill>
            <a:prstDash val="solid"/>
            <a:round/>
            <a:headEnd/>
            <a:tailEnd/>
          </a:ln>
        </p:spPr>
        <p:txBody>
          <a:bodyPr/>
          <a:lstStyle/>
          <a:p>
            <a:endParaRPr lang="en-AU"/>
          </a:p>
        </p:txBody>
      </p:sp>
      <p:sp>
        <p:nvSpPr>
          <p:cNvPr id="2355" name="Freeform 468"/>
          <p:cNvSpPr>
            <a:spLocks/>
          </p:cNvSpPr>
          <p:nvPr>
            <p:custDataLst>
              <p:tags r:id="rId306"/>
            </p:custDataLst>
          </p:nvPr>
        </p:nvSpPr>
        <p:spPr bwMode="auto">
          <a:xfrm>
            <a:off x="5148263" y="2709863"/>
            <a:ext cx="22225" cy="55562"/>
          </a:xfrm>
          <a:custGeom>
            <a:avLst/>
            <a:gdLst>
              <a:gd name="T0" fmla="*/ 2147483647 w 60"/>
              <a:gd name="T1" fmla="*/ 0 h 81"/>
              <a:gd name="T2" fmla="*/ 2147483647 w 60"/>
              <a:gd name="T3" fmla="*/ 2147483647 h 81"/>
              <a:gd name="T4" fmla="*/ 2147483647 w 60"/>
              <a:gd name="T5" fmla="*/ 2147483647 h 81"/>
              <a:gd name="T6" fmla="*/ 2147483647 w 60"/>
              <a:gd name="T7" fmla="*/ 2147483647 h 81"/>
              <a:gd name="T8" fmla="*/ 2147483647 w 60"/>
              <a:gd name="T9" fmla="*/ 2147483647 h 81"/>
              <a:gd name="T10" fmla="*/ 2147483647 w 60"/>
              <a:gd name="T11" fmla="*/ 2147483647 h 81"/>
              <a:gd name="T12" fmla="*/ 2147483647 w 60"/>
              <a:gd name="T13" fmla="*/ 0 h 81"/>
              <a:gd name="T14" fmla="*/ 2147483647 w 60"/>
              <a:gd name="T15" fmla="*/ 2147483647 h 81"/>
              <a:gd name="T16" fmla="*/ 2147483647 w 60"/>
              <a:gd name="T17" fmla="*/ 2147483647 h 81"/>
              <a:gd name="T18" fmla="*/ 2147483647 w 60"/>
              <a:gd name="T19" fmla="*/ 2147483647 h 81"/>
              <a:gd name="T20" fmla="*/ 2147483647 w 60"/>
              <a:gd name="T21" fmla="*/ 2147483647 h 81"/>
              <a:gd name="T22" fmla="*/ 2147483647 w 60"/>
              <a:gd name="T23" fmla="*/ 2147483647 h 81"/>
              <a:gd name="T24" fmla="*/ 2147483647 w 60"/>
              <a:gd name="T25" fmla="*/ 2147483647 h 81"/>
              <a:gd name="T26" fmla="*/ 2147483647 w 60"/>
              <a:gd name="T27" fmla="*/ 2147483647 h 81"/>
              <a:gd name="T28" fmla="*/ 2147483647 w 60"/>
              <a:gd name="T29" fmla="*/ 2147483647 h 81"/>
              <a:gd name="T30" fmla="*/ 2147483647 w 60"/>
              <a:gd name="T31" fmla="*/ 2147483647 h 81"/>
              <a:gd name="T32" fmla="*/ 2147483647 w 60"/>
              <a:gd name="T33" fmla="*/ 2147483647 h 81"/>
              <a:gd name="T34" fmla="*/ 2147483647 w 60"/>
              <a:gd name="T35" fmla="*/ 2147483647 h 81"/>
              <a:gd name="T36" fmla="*/ 2147483647 w 60"/>
              <a:gd name="T37" fmla="*/ 2147483647 h 81"/>
              <a:gd name="T38" fmla="*/ 0 w 60"/>
              <a:gd name="T39" fmla="*/ 2147483647 h 81"/>
              <a:gd name="T40" fmla="*/ 2147483647 w 60"/>
              <a:gd name="T41" fmla="*/ 2147483647 h 81"/>
              <a:gd name="T42" fmla="*/ 2147483647 w 60"/>
              <a:gd name="T43" fmla="*/ 2147483647 h 81"/>
              <a:gd name="T44" fmla="*/ 2147483647 w 60"/>
              <a:gd name="T45" fmla="*/ 0 h 81"/>
              <a:gd name="T46" fmla="*/ 2147483647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cmpd="sng">
            <a:solidFill>
              <a:srgbClr val="FFFFFF"/>
            </a:solidFill>
            <a:prstDash val="solid"/>
            <a:round/>
            <a:headEnd/>
            <a:tailEnd/>
          </a:ln>
        </p:spPr>
        <p:txBody>
          <a:bodyPr/>
          <a:lstStyle/>
          <a:p>
            <a:endParaRPr lang="en-AU"/>
          </a:p>
        </p:txBody>
      </p:sp>
      <p:sp>
        <p:nvSpPr>
          <p:cNvPr id="2356" name="Freeform 469"/>
          <p:cNvSpPr>
            <a:spLocks/>
          </p:cNvSpPr>
          <p:nvPr>
            <p:custDataLst>
              <p:tags r:id="rId307"/>
            </p:custDataLst>
          </p:nvPr>
        </p:nvSpPr>
        <p:spPr bwMode="auto">
          <a:xfrm>
            <a:off x="4435475" y="1844675"/>
            <a:ext cx="161925" cy="66675"/>
          </a:xfrm>
          <a:custGeom>
            <a:avLst/>
            <a:gdLst>
              <a:gd name="T0" fmla="*/ 2147483647 w 370"/>
              <a:gd name="T1" fmla="*/ 2147483647 h 129"/>
              <a:gd name="T2" fmla="*/ 2147483647 w 370"/>
              <a:gd name="T3" fmla="*/ 2147483647 h 129"/>
              <a:gd name="T4" fmla="*/ 2147483647 w 370"/>
              <a:gd name="T5" fmla="*/ 2147483647 h 129"/>
              <a:gd name="T6" fmla="*/ 2147483647 w 370"/>
              <a:gd name="T7" fmla="*/ 2147483647 h 129"/>
              <a:gd name="T8" fmla="*/ 2147483647 w 370"/>
              <a:gd name="T9" fmla="*/ 2147483647 h 129"/>
              <a:gd name="T10" fmla="*/ 2147483647 w 370"/>
              <a:gd name="T11" fmla="*/ 2147483647 h 129"/>
              <a:gd name="T12" fmla="*/ 2147483647 w 370"/>
              <a:gd name="T13" fmla="*/ 2147483647 h 129"/>
              <a:gd name="T14" fmla="*/ 2147483647 w 370"/>
              <a:gd name="T15" fmla="*/ 2147483647 h 129"/>
              <a:gd name="T16" fmla="*/ 2147483647 w 370"/>
              <a:gd name="T17" fmla="*/ 2147483647 h 129"/>
              <a:gd name="T18" fmla="*/ 2147483647 w 370"/>
              <a:gd name="T19" fmla="*/ 2147483647 h 129"/>
              <a:gd name="T20" fmla="*/ 2147483647 w 370"/>
              <a:gd name="T21" fmla="*/ 2147483647 h 129"/>
              <a:gd name="T22" fmla="*/ 2147483647 w 370"/>
              <a:gd name="T23" fmla="*/ 2147483647 h 129"/>
              <a:gd name="T24" fmla="*/ 2147483647 w 370"/>
              <a:gd name="T25" fmla="*/ 2147483647 h 129"/>
              <a:gd name="T26" fmla="*/ 2147483647 w 370"/>
              <a:gd name="T27" fmla="*/ 0 h 129"/>
              <a:gd name="T28" fmla="*/ 2147483647 w 370"/>
              <a:gd name="T29" fmla="*/ 0 h 129"/>
              <a:gd name="T30" fmla="*/ 2147483647 w 370"/>
              <a:gd name="T31" fmla="*/ 2147483647 h 129"/>
              <a:gd name="T32" fmla="*/ 2147483647 w 370"/>
              <a:gd name="T33" fmla="*/ 2147483647 h 129"/>
              <a:gd name="T34" fmla="*/ 2147483647 w 370"/>
              <a:gd name="T35" fmla="*/ 2147483647 h 129"/>
              <a:gd name="T36" fmla="*/ 2147483647 w 370"/>
              <a:gd name="T37" fmla="*/ 2147483647 h 129"/>
              <a:gd name="T38" fmla="*/ 2147483647 w 370"/>
              <a:gd name="T39" fmla="*/ 2147483647 h 129"/>
              <a:gd name="T40" fmla="*/ 2147483647 w 370"/>
              <a:gd name="T41" fmla="*/ 2147483647 h 129"/>
              <a:gd name="T42" fmla="*/ 2147483647 w 370"/>
              <a:gd name="T43" fmla="*/ 2147483647 h 129"/>
              <a:gd name="T44" fmla="*/ 2147483647 w 370"/>
              <a:gd name="T45" fmla="*/ 2147483647 h 129"/>
              <a:gd name="T46" fmla="*/ 2147483647 w 370"/>
              <a:gd name="T47" fmla="*/ 2147483647 h 129"/>
              <a:gd name="T48" fmla="*/ 2147483647 w 370"/>
              <a:gd name="T49" fmla="*/ 2147483647 h 129"/>
              <a:gd name="T50" fmla="*/ 2147483647 w 370"/>
              <a:gd name="T51" fmla="*/ 2147483647 h 129"/>
              <a:gd name="T52" fmla="*/ 2147483647 w 370"/>
              <a:gd name="T53" fmla="*/ 2147483647 h 129"/>
              <a:gd name="T54" fmla="*/ 2147483647 w 370"/>
              <a:gd name="T55" fmla="*/ 2147483647 h 129"/>
              <a:gd name="T56" fmla="*/ 2147483647 w 370"/>
              <a:gd name="T57" fmla="*/ 2147483647 h 129"/>
              <a:gd name="T58" fmla="*/ 2147483647 w 370"/>
              <a:gd name="T59" fmla="*/ 2147483647 h 129"/>
              <a:gd name="T60" fmla="*/ 2147483647 w 370"/>
              <a:gd name="T61" fmla="*/ 2147483647 h 129"/>
              <a:gd name="T62" fmla="*/ 2147483647 w 370"/>
              <a:gd name="T63" fmla="*/ 2147483647 h 129"/>
              <a:gd name="T64" fmla="*/ 2147483647 w 370"/>
              <a:gd name="T65" fmla="*/ 2147483647 h 129"/>
              <a:gd name="T66" fmla="*/ 2147483647 w 370"/>
              <a:gd name="T67" fmla="*/ 2147483647 h 129"/>
              <a:gd name="T68" fmla="*/ 2147483647 w 370"/>
              <a:gd name="T69" fmla="*/ 2147483647 h 129"/>
              <a:gd name="T70" fmla="*/ 2147483647 w 370"/>
              <a:gd name="T71" fmla="*/ 2147483647 h 129"/>
              <a:gd name="T72" fmla="*/ 2147483647 w 370"/>
              <a:gd name="T73" fmla="*/ 2147483647 h 129"/>
              <a:gd name="T74" fmla="*/ 2147483647 w 370"/>
              <a:gd name="T75" fmla="*/ 2147483647 h 129"/>
              <a:gd name="T76" fmla="*/ 0 w 370"/>
              <a:gd name="T77" fmla="*/ 2147483647 h 129"/>
              <a:gd name="T78" fmla="*/ 0 w 370"/>
              <a:gd name="T79" fmla="*/ 2147483647 h 129"/>
              <a:gd name="T80" fmla="*/ 2147483647 w 370"/>
              <a:gd name="T81" fmla="*/ 2147483647 h 129"/>
              <a:gd name="T82" fmla="*/ 2147483647 w 370"/>
              <a:gd name="T83" fmla="*/ 2147483647 h 129"/>
              <a:gd name="T84" fmla="*/ 2147483647 w 370"/>
              <a:gd name="T85" fmla="*/ 2147483647 h 129"/>
              <a:gd name="T86" fmla="*/ 2147483647 w 370"/>
              <a:gd name="T87" fmla="*/ 2147483647 h 129"/>
              <a:gd name="T88" fmla="*/ 2147483647 w 370"/>
              <a:gd name="T89" fmla="*/ 2147483647 h 129"/>
              <a:gd name="T90" fmla="*/ 2147483647 w 370"/>
              <a:gd name="T91" fmla="*/ 2147483647 h 129"/>
              <a:gd name="T92" fmla="*/ 2147483647 w 370"/>
              <a:gd name="T93" fmla="*/ 2147483647 h 129"/>
              <a:gd name="T94" fmla="*/ 2147483647 w 370"/>
              <a:gd name="T95" fmla="*/ 2147483647 h 129"/>
              <a:gd name="T96" fmla="*/ 2147483647 w 370"/>
              <a:gd name="T97" fmla="*/ 2147483647 h 129"/>
              <a:gd name="T98" fmla="*/ 2147483647 w 370"/>
              <a:gd name="T99" fmla="*/ 2147483647 h 129"/>
              <a:gd name="T100" fmla="*/ 2147483647 w 370"/>
              <a:gd name="T101" fmla="*/ 2147483647 h 129"/>
              <a:gd name="T102" fmla="*/ 2147483647 w 370"/>
              <a:gd name="T103" fmla="*/ 2147483647 h 129"/>
              <a:gd name="T104" fmla="*/ 2147483647 w 370"/>
              <a:gd name="T105" fmla="*/ 2147483647 h 129"/>
              <a:gd name="T106" fmla="*/ 2147483647 w 370"/>
              <a:gd name="T107" fmla="*/ 2147483647 h 129"/>
              <a:gd name="T108" fmla="*/ 2147483647 w 370"/>
              <a:gd name="T109" fmla="*/ 2147483647 h 129"/>
              <a:gd name="T110" fmla="*/ 2147483647 w 370"/>
              <a:gd name="T111" fmla="*/ 2147483647 h 129"/>
              <a:gd name="T112" fmla="*/ 2147483647 w 370"/>
              <a:gd name="T113" fmla="*/ 2147483647 h 129"/>
              <a:gd name="T114" fmla="*/ 2147483647 w 370"/>
              <a:gd name="T115" fmla="*/ 2147483647 h 129"/>
              <a:gd name="T116" fmla="*/ 2147483647 w 370"/>
              <a:gd name="T117" fmla="*/ 2147483647 h 129"/>
              <a:gd name="T118" fmla="*/ 2147483647 w 370"/>
              <a:gd name="T119" fmla="*/ 2147483647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357" name="Freeform 470"/>
          <p:cNvSpPr>
            <a:spLocks/>
          </p:cNvSpPr>
          <p:nvPr>
            <p:custDataLst>
              <p:tags r:id="rId308"/>
            </p:custDataLst>
          </p:nvPr>
        </p:nvSpPr>
        <p:spPr bwMode="auto">
          <a:xfrm>
            <a:off x="4846638" y="2565400"/>
            <a:ext cx="30162" cy="57150"/>
          </a:xfrm>
          <a:custGeom>
            <a:avLst/>
            <a:gdLst>
              <a:gd name="T0" fmla="*/ 2147483647 w 80"/>
              <a:gd name="T1" fmla="*/ 2147483647 h 94"/>
              <a:gd name="T2" fmla="*/ 2147483647 w 80"/>
              <a:gd name="T3" fmla="*/ 0 h 94"/>
              <a:gd name="T4" fmla="*/ 2147483647 w 80"/>
              <a:gd name="T5" fmla="*/ 0 h 94"/>
              <a:gd name="T6" fmla="*/ 2147483647 w 80"/>
              <a:gd name="T7" fmla="*/ 2147483647 h 94"/>
              <a:gd name="T8" fmla="*/ 2147483647 w 80"/>
              <a:gd name="T9" fmla="*/ 2147483647 h 94"/>
              <a:gd name="T10" fmla="*/ 2147483647 w 80"/>
              <a:gd name="T11" fmla="*/ 2147483647 h 94"/>
              <a:gd name="T12" fmla="*/ 2147483647 w 80"/>
              <a:gd name="T13" fmla="*/ 2147483647 h 94"/>
              <a:gd name="T14" fmla="*/ 2147483647 w 80"/>
              <a:gd name="T15" fmla="*/ 2147483647 h 94"/>
              <a:gd name="T16" fmla="*/ 2147483647 w 80"/>
              <a:gd name="T17" fmla="*/ 2147483647 h 94"/>
              <a:gd name="T18" fmla="*/ 2147483647 w 80"/>
              <a:gd name="T19" fmla="*/ 2147483647 h 94"/>
              <a:gd name="T20" fmla="*/ 2147483647 w 80"/>
              <a:gd name="T21" fmla="*/ 2147483647 h 94"/>
              <a:gd name="T22" fmla="*/ 2147483647 w 80"/>
              <a:gd name="T23" fmla="*/ 2147483647 h 94"/>
              <a:gd name="T24" fmla="*/ 2147483647 w 80"/>
              <a:gd name="T25" fmla="*/ 2147483647 h 94"/>
              <a:gd name="T26" fmla="*/ 2147483647 w 80"/>
              <a:gd name="T27" fmla="*/ 2147483647 h 94"/>
              <a:gd name="T28" fmla="*/ 2147483647 w 80"/>
              <a:gd name="T29" fmla="*/ 2147483647 h 94"/>
              <a:gd name="T30" fmla="*/ 2147483647 w 80"/>
              <a:gd name="T31" fmla="*/ 2147483647 h 94"/>
              <a:gd name="T32" fmla="*/ 2147483647 w 80"/>
              <a:gd name="T33" fmla="*/ 2147483647 h 94"/>
              <a:gd name="T34" fmla="*/ 2147483647 w 80"/>
              <a:gd name="T35" fmla="*/ 2147483647 h 94"/>
              <a:gd name="T36" fmla="*/ 2147483647 w 80"/>
              <a:gd name="T37" fmla="*/ 2147483647 h 94"/>
              <a:gd name="T38" fmla="*/ 2147483647 w 80"/>
              <a:gd name="T39" fmla="*/ 2147483647 h 94"/>
              <a:gd name="T40" fmla="*/ 2147483647 w 80"/>
              <a:gd name="T41" fmla="*/ 2147483647 h 94"/>
              <a:gd name="T42" fmla="*/ 2147483647 w 80"/>
              <a:gd name="T43" fmla="*/ 2147483647 h 94"/>
              <a:gd name="T44" fmla="*/ 2147483647 w 80"/>
              <a:gd name="T45" fmla="*/ 2147483647 h 94"/>
              <a:gd name="T46" fmla="*/ 2147483647 w 80"/>
              <a:gd name="T47" fmla="*/ 2147483647 h 94"/>
              <a:gd name="T48" fmla="*/ 2147483647 w 80"/>
              <a:gd name="T49" fmla="*/ 2147483647 h 94"/>
              <a:gd name="T50" fmla="*/ 0 w 80"/>
              <a:gd name="T51" fmla="*/ 2147483647 h 94"/>
              <a:gd name="T52" fmla="*/ 2147483647 w 80"/>
              <a:gd name="T53" fmla="*/ 2147483647 h 94"/>
              <a:gd name="T54" fmla="*/ 2147483647 w 80"/>
              <a:gd name="T55" fmla="*/ 2147483647 h 94"/>
              <a:gd name="T56" fmla="*/ 2147483647 w 80"/>
              <a:gd name="T57" fmla="*/ 2147483647 h 94"/>
              <a:gd name="T58" fmla="*/ 2147483647 w 80"/>
              <a:gd name="T59" fmla="*/ 2147483647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mpd="sng">
            <a:solidFill>
              <a:srgbClr val="FFFFFF"/>
            </a:solidFill>
            <a:prstDash val="solid"/>
            <a:round/>
            <a:headEnd/>
            <a:tailEnd/>
          </a:ln>
        </p:spPr>
        <p:txBody>
          <a:bodyPr/>
          <a:lstStyle/>
          <a:p>
            <a:endParaRPr lang="en-AU"/>
          </a:p>
        </p:txBody>
      </p:sp>
      <p:sp>
        <p:nvSpPr>
          <p:cNvPr id="2358" name="Freeform 471"/>
          <p:cNvSpPr>
            <a:spLocks/>
          </p:cNvSpPr>
          <p:nvPr>
            <p:custDataLst>
              <p:tags r:id="rId309"/>
            </p:custDataLst>
          </p:nvPr>
        </p:nvSpPr>
        <p:spPr bwMode="auto">
          <a:xfrm>
            <a:off x="4662488" y="4576763"/>
            <a:ext cx="61912" cy="57150"/>
          </a:xfrm>
          <a:custGeom>
            <a:avLst/>
            <a:gdLst>
              <a:gd name="T0" fmla="*/ 2147483647 w 135"/>
              <a:gd name="T1" fmla="*/ 2147483647 h 98"/>
              <a:gd name="T2" fmla="*/ 2147483647 w 135"/>
              <a:gd name="T3" fmla="*/ 2147483647 h 98"/>
              <a:gd name="T4" fmla="*/ 2147483647 w 135"/>
              <a:gd name="T5" fmla="*/ 2147483647 h 98"/>
              <a:gd name="T6" fmla="*/ 2147483647 w 135"/>
              <a:gd name="T7" fmla="*/ 2147483647 h 98"/>
              <a:gd name="T8" fmla="*/ 2147483647 w 135"/>
              <a:gd name="T9" fmla="*/ 2147483647 h 98"/>
              <a:gd name="T10" fmla="*/ 2147483647 w 135"/>
              <a:gd name="T11" fmla="*/ 2147483647 h 98"/>
              <a:gd name="T12" fmla="*/ 2147483647 w 135"/>
              <a:gd name="T13" fmla="*/ 2147483647 h 98"/>
              <a:gd name="T14" fmla="*/ 2147483647 w 135"/>
              <a:gd name="T15" fmla="*/ 2147483647 h 98"/>
              <a:gd name="T16" fmla="*/ 2147483647 w 135"/>
              <a:gd name="T17" fmla="*/ 2147483647 h 98"/>
              <a:gd name="T18" fmla="*/ 2147483647 w 135"/>
              <a:gd name="T19" fmla="*/ 2147483647 h 98"/>
              <a:gd name="T20" fmla="*/ 2147483647 w 135"/>
              <a:gd name="T21" fmla="*/ 2147483647 h 98"/>
              <a:gd name="T22" fmla="*/ 2147483647 w 135"/>
              <a:gd name="T23" fmla="*/ 0 h 98"/>
              <a:gd name="T24" fmla="*/ 2147483647 w 135"/>
              <a:gd name="T25" fmla="*/ 0 h 98"/>
              <a:gd name="T26" fmla="*/ 2147483647 w 135"/>
              <a:gd name="T27" fmla="*/ 0 h 98"/>
              <a:gd name="T28" fmla="*/ 2147483647 w 135"/>
              <a:gd name="T29" fmla="*/ 2147483647 h 98"/>
              <a:gd name="T30" fmla="*/ 2147483647 w 135"/>
              <a:gd name="T31" fmla="*/ 2147483647 h 98"/>
              <a:gd name="T32" fmla="*/ 2147483647 w 135"/>
              <a:gd name="T33" fmla="*/ 2147483647 h 98"/>
              <a:gd name="T34" fmla="*/ 2147483647 w 135"/>
              <a:gd name="T35" fmla="*/ 2147483647 h 98"/>
              <a:gd name="T36" fmla="*/ 2147483647 w 135"/>
              <a:gd name="T37" fmla="*/ 2147483647 h 98"/>
              <a:gd name="T38" fmla="*/ 2147483647 w 135"/>
              <a:gd name="T39" fmla="*/ 2147483647 h 98"/>
              <a:gd name="T40" fmla="*/ 2147483647 w 135"/>
              <a:gd name="T41" fmla="*/ 2147483647 h 98"/>
              <a:gd name="T42" fmla="*/ 2147483647 w 135"/>
              <a:gd name="T43" fmla="*/ 2147483647 h 98"/>
              <a:gd name="T44" fmla="*/ 2147483647 w 135"/>
              <a:gd name="T45" fmla="*/ 2147483647 h 98"/>
              <a:gd name="T46" fmla="*/ 2147483647 w 135"/>
              <a:gd name="T47" fmla="*/ 2147483647 h 98"/>
              <a:gd name="T48" fmla="*/ 2147483647 w 135"/>
              <a:gd name="T49" fmla="*/ 2147483647 h 98"/>
              <a:gd name="T50" fmla="*/ 2147483647 w 135"/>
              <a:gd name="T51" fmla="*/ 2147483647 h 98"/>
              <a:gd name="T52" fmla="*/ 2147483647 w 135"/>
              <a:gd name="T53" fmla="*/ 2147483647 h 98"/>
              <a:gd name="T54" fmla="*/ 2147483647 w 135"/>
              <a:gd name="T55" fmla="*/ 2147483647 h 98"/>
              <a:gd name="T56" fmla="*/ 2147483647 w 135"/>
              <a:gd name="T57" fmla="*/ 2147483647 h 98"/>
              <a:gd name="T58" fmla="*/ 2147483647 w 135"/>
              <a:gd name="T59" fmla="*/ 2147483647 h 98"/>
              <a:gd name="T60" fmla="*/ 2147483647 w 135"/>
              <a:gd name="T61" fmla="*/ 2147483647 h 98"/>
              <a:gd name="T62" fmla="*/ 2147483647 w 135"/>
              <a:gd name="T63" fmla="*/ 2147483647 h 98"/>
              <a:gd name="T64" fmla="*/ 2147483647 w 135"/>
              <a:gd name="T65" fmla="*/ 2147483647 h 98"/>
              <a:gd name="T66" fmla="*/ 2147483647 w 135"/>
              <a:gd name="T67" fmla="*/ 2147483647 h 98"/>
              <a:gd name="T68" fmla="*/ 2147483647 w 135"/>
              <a:gd name="T69" fmla="*/ 2147483647 h 98"/>
              <a:gd name="T70" fmla="*/ 2147483647 w 135"/>
              <a:gd name="T71" fmla="*/ 2147483647 h 98"/>
              <a:gd name="T72" fmla="*/ 2147483647 w 135"/>
              <a:gd name="T73" fmla="*/ 2147483647 h 98"/>
              <a:gd name="T74" fmla="*/ 2147483647 w 135"/>
              <a:gd name="T75" fmla="*/ 2147483647 h 98"/>
              <a:gd name="T76" fmla="*/ 0 w 135"/>
              <a:gd name="T77" fmla="*/ 2147483647 h 98"/>
              <a:gd name="T78" fmla="*/ 0 w 135"/>
              <a:gd name="T79" fmla="*/ 2147483647 h 98"/>
              <a:gd name="T80" fmla="*/ 2147483647 w 135"/>
              <a:gd name="T81" fmla="*/ 214748364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AU"/>
          </a:p>
        </p:txBody>
      </p:sp>
      <p:sp>
        <p:nvSpPr>
          <p:cNvPr id="2359" name="Freeform 472"/>
          <p:cNvSpPr>
            <a:spLocks/>
          </p:cNvSpPr>
          <p:nvPr>
            <p:custDataLst>
              <p:tags r:id="rId310"/>
            </p:custDataLst>
          </p:nvPr>
        </p:nvSpPr>
        <p:spPr bwMode="auto">
          <a:xfrm>
            <a:off x="4433888" y="1892300"/>
            <a:ext cx="131762" cy="84138"/>
          </a:xfrm>
          <a:custGeom>
            <a:avLst/>
            <a:gdLst>
              <a:gd name="T0" fmla="*/ 2147483647 w 312"/>
              <a:gd name="T1" fmla="*/ 2147483647 h 155"/>
              <a:gd name="T2" fmla="*/ 2147483647 w 312"/>
              <a:gd name="T3" fmla="*/ 2147483647 h 155"/>
              <a:gd name="T4" fmla="*/ 2147483647 w 312"/>
              <a:gd name="T5" fmla="*/ 2147483647 h 155"/>
              <a:gd name="T6" fmla="*/ 2147483647 w 312"/>
              <a:gd name="T7" fmla="*/ 2147483647 h 155"/>
              <a:gd name="T8" fmla="*/ 2147483647 w 312"/>
              <a:gd name="T9" fmla="*/ 2147483647 h 155"/>
              <a:gd name="T10" fmla="*/ 2147483647 w 312"/>
              <a:gd name="T11" fmla="*/ 2147483647 h 155"/>
              <a:gd name="T12" fmla="*/ 2147483647 w 312"/>
              <a:gd name="T13" fmla="*/ 2147483647 h 155"/>
              <a:gd name="T14" fmla="*/ 2147483647 w 312"/>
              <a:gd name="T15" fmla="*/ 2147483647 h 155"/>
              <a:gd name="T16" fmla="*/ 2147483647 w 312"/>
              <a:gd name="T17" fmla="*/ 2147483647 h 155"/>
              <a:gd name="T18" fmla="*/ 2147483647 w 312"/>
              <a:gd name="T19" fmla="*/ 2147483647 h 155"/>
              <a:gd name="T20" fmla="*/ 2147483647 w 312"/>
              <a:gd name="T21" fmla="*/ 2147483647 h 155"/>
              <a:gd name="T22" fmla="*/ 2147483647 w 312"/>
              <a:gd name="T23" fmla="*/ 2147483647 h 155"/>
              <a:gd name="T24" fmla="*/ 2147483647 w 312"/>
              <a:gd name="T25" fmla="*/ 2147483647 h 155"/>
              <a:gd name="T26" fmla="*/ 2147483647 w 312"/>
              <a:gd name="T27" fmla="*/ 2147483647 h 155"/>
              <a:gd name="T28" fmla="*/ 2147483647 w 312"/>
              <a:gd name="T29" fmla="*/ 2147483647 h 155"/>
              <a:gd name="T30" fmla="*/ 2147483647 w 312"/>
              <a:gd name="T31" fmla="*/ 2147483647 h 155"/>
              <a:gd name="T32" fmla="*/ 2147483647 w 312"/>
              <a:gd name="T33" fmla="*/ 2147483647 h 155"/>
              <a:gd name="T34" fmla="*/ 2147483647 w 312"/>
              <a:gd name="T35" fmla="*/ 2147483647 h 155"/>
              <a:gd name="T36" fmla="*/ 2147483647 w 312"/>
              <a:gd name="T37" fmla="*/ 2147483647 h 155"/>
              <a:gd name="T38" fmla="*/ 2147483647 w 312"/>
              <a:gd name="T39" fmla="*/ 2147483647 h 155"/>
              <a:gd name="T40" fmla="*/ 2147483647 w 312"/>
              <a:gd name="T41" fmla="*/ 2147483647 h 155"/>
              <a:gd name="T42" fmla="*/ 2147483647 w 312"/>
              <a:gd name="T43" fmla="*/ 2147483647 h 155"/>
              <a:gd name="T44" fmla="*/ 2147483647 w 312"/>
              <a:gd name="T45" fmla="*/ 2147483647 h 155"/>
              <a:gd name="T46" fmla="*/ 2147483647 w 312"/>
              <a:gd name="T47" fmla="*/ 2147483647 h 155"/>
              <a:gd name="T48" fmla="*/ 2147483647 w 312"/>
              <a:gd name="T49" fmla="*/ 2147483647 h 155"/>
              <a:gd name="T50" fmla="*/ 2147483647 w 312"/>
              <a:gd name="T51" fmla="*/ 2147483647 h 155"/>
              <a:gd name="T52" fmla="*/ 2147483647 w 312"/>
              <a:gd name="T53" fmla="*/ 2147483647 h 155"/>
              <a:gd name="T54" fmla="*/ 2147483647 w 312"/>
              <a:gd name="T55" fmla="*/ 2147483647 h 155"/>
              <a:gd name="T56" fmla="*/ 2147483647 w 312"/>
              <a:gd name="T57" fmla="*/ 2147483647 h 155"/>
              <a:gd name="T58" fmla="*/ 2147483647 w 312"/>
              <a:gd name="T59" fmla="*/ 2147483647 h 155"/>
              <a:gd name="T60" fmla="*/ 2147483647 w 312"/>
              <a:gd name="T61" fmla="*/ 2147483647 h 155"/>
              <a:gd name="T62" fmla="*/ 2147483647 w 312"/>
              <a:gd name="T63" fmla="*/ 2147483647 h 155"/>
              <a:gd name="T64" fmla="*/ 2147483647 w 312"/>
              <a:gd name="T65" fmla="*/ 2147483647 h 155"/>
              <a:gd name="T66" fmla="*/ 2147483647 w 312"/>
              <a:gd name="T67" fmla="*/ 2147483647 h 155"/>
              <a:gd name="T68" fmla="*/ 2147483647 w 312"/>
              <a:gd name="T69" fmla="*/ 2147483647 h 155"/>
              <a:gd name="T70" fmla="*/ 2147483647 w 312"/>
              <a:gd name="T71" fmla="*/ 0 h 155"/>
              <a:gd name="T72" fmla="*/ 2147483647 w 312"/>
              <a:gd name="T73" fmla="*/ 2147483647 h 155"/>
              <a:gd name="T74" fmla="*/ 2147483647 w 312"/>
              <a:gd name="T75" fmla="*/ 2147483647 h 155"/>
              <a:gd name="T76" fmla="*/ 2147483647 w 312"/>
              <a:gd name="T77" fmla="*/ 2147483647 h 155"/>
              <a:gd name="T78" fmla="*/ 2147483647 w 312"/>
              <a:gd name="T79" fmla="*/ 2147483647 h 155"/>
              <a:gd name="T80" fmla="*/ 2147483647 w 312"/>
              <a:gd name="T81" fmla="*/ 2147483647 h 155"/>
              <a:gd name="T82" fmla="*/ 2147483647 w 312"/>
              <a:gd name="T83" fmla="*/ 2147483647 h 155"/>
              <a:gd name="T84" fmla="*/ 2147483647 w 312"/>
              <a:gd name="T85" fmla="*/ 2147483647 h 155"/>
              <a:gd name="T86" fmla="*/ 2147483647 w 312"/>
              <a:gd name="T87" fmla="*/ 2147483647 h 155"/>
              <a:gd name="T88" fmla="*/ 2147483647 w 312"/>
              <a:gd name="T89" fmla="*/ 2147483647 h 155"/>
              <a:gd name="T90" fmla="*/ 2147483647 w 312"/>
              <a:gd name="T91" fmla="*/ 2147483647 h 155"/>
              <a:gd name="T92" fmla="*/ 2147483647 w 312"/>
              <a:gd name="T93" fmla="*/ 2147483647 h 155"/>
              <a:gd name="T94" fmla="*/ 2147483647 w 312"/>
              <a:gd name="T95" fmla="*/ 2147483647 h 155"/>
              <a:gd name="T96" fmla="*/ 2147483647 w 312"/>
              <a:gd name="T97" fmla="*/ 2147483647 h 155"/>
              <a:gd name="T98" fmla="*/ 2147483647 w 312"/>
              <a:gd name="T99" fmla="*/ 2147483647 h 155"/>
              <a:gd name="T100" fmla="*/ 2147483647 w 312"/>
              <a:gd name="T101" fmla="*/ 2147483647 h 155"/>
              <a:gd name="T102" fmla="*/ 2147483647 w 312"/>
              <a:gd name="T103" fmla="*/ 2147483647 h 155"/>
              <a:gd name="T104" fmla="*/ 2147483647 w 312"/>
              <a:gd name="T105" fmla="*/ 2147483647 h 155"/>
              <a:gd name="T106" fmla="*/ 2147483647 w 312"/>
              <a:gd name="T107" fmla="*/ 2147483647 h 155"/>
              <a:gd name="T108" fmla="*/ 2147483647 w 312"/>
              <a:gd name="T109" fmla="*/ 2147483647 h 155"/>
              <a:gd name="T110" fmla="*/ 2147483647 w 312"/>
              <a:gd name="T111" fmla="*/ 2147483647 h 155"/>
              <a:gd name="T112" fmla="*/ 2147483647 w 312"/>
              <a:gd name="T113" fmla="*/ 2147483647 h 155"/>
              <a:gd name="T114" fmla="*/ 0 w 312"/>
              <a:gd name="T115" fmla="*/ 2147483647 h 155"/>
              <a:gd name="T116" fmla="*/ 2147483647 w 312"/>
              <a:gd name="T117" fmla="*/ 2147483647 h 155"/>
              <a:gd name="T118" fmla="*/ 2147483647 w 312"/>
              <a:gd name="T119" fmla="*/ 2147483647 h 155"/>
              <a:gd name="T120" fmla="*/ 2147483647 w 312"/>
              <a:gd name="T121" fmla="*/ 2147483647 h 155"/>
              <a:gd name="T122" fmla="*/ 2147483647 w 312"/>
              <a:gd name="T123" fmla="*/ 2147483647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360" name="Freeform 473"/>
          <p:cNvSpPr>
            <a:spLocks/>
          </p:cNvSpPr>
          <p:nvPr>
            <p:custDataLst>
              <p:tags r:id="rId311"/>
            </p:custDataLst>
          </p:nvPr>
        </p:nvSpPr>
        <p:spPr bwMode="auto">
          <a:xfrm>
            <a:off x="4140200" y="2078038"/>
            <a:ext cx="19050" cy="60325"/>
          </a:xfrm>
          <a:custGeom>
            <a:avLst/>
            <a:gdLst>
              <a:gd name="T0" fmla="*/ 0 w 46"/>
              <a:gd name="T1" fmla="*/ 2147483647 h 50"/>
              <a:gd name="T2" fmla="*/ 2147483647 w 46"/>
              <a:gd name="T3" fmla="*/ 2147483647 h 50"/>
              <a:gd name="T4" fmla="*/ 2147483647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0 h 50"/>
              <a:gd name="T16" fmla="*/ 2147483647 w 46"/>
              <a:gd name="T17" fmla="*/ 2147483647 h 50"/>
              <a:gd name="T18" fmla="*/ 2147483647 w 46"/>
              <a:gd name="T19" fmla="*/ 2147483647 h 50"/>
              <a:gd name="T20" fmla="*/ 2147483647 w 46"/>
              <a:gd name="T21" fmla="*/ 2147483647 h 50"/>
              <a:gd name="T22" fmla="*/ 2147483647 w 46"/>
              <a:gd name="T23" fmla="*/ 2147483647 h 50"/>
              <a:gd name="T24" fmla="*/ 2147483647 w 46"/>
              <a:gd name="T25" fmla="*/ 2147483647 h 50"/>
              <a:gd name="T26" fmla="*/ 2147483647 w 46"/>
              <a:gd name="T27" fmla="*/ 2147483647 h 50"/>
              <a:gd name="T28" fmla="*/ 0 w 46"/>
              <a:gd name="T29" fmla="*/ 2147483647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361" name="Freeform 474"/>
          <p:cNvSpPr>
            <a:spLocks/>
          </p:cNvSpPr>
          <p:nvPr>
            <p:custDataLst>
              <p:tags r:id="rId312"/>
            </p:custDataLst>
          </p:nvPr>
        </p:nvSpPr>
        <p:spPr bwMode="auto">
          <a:xfrm>
            <a:off x="4837113" y="3962400"/>
            <a:ext cx="69850" cy="241300"/>
          </a:xfrm>
          <a:custGeom>
            <a:avLst/>
            <a:gdLst>
              <a:gd name="T0" fmla="*/ 2147483647 w 166"/>
              <a:gd name="T1" fmla="*/ 2147483647 h 456"/>
              <a:gd name="T2" fmla="*/ 2147483647 w 166"/>
              <a:gd name="T3" fmla="*/ 2147483647 h 456"/>
              <a:gd name="T4" fmla="*/ 2147483647 w 166"/>
              <a:gd name="T5" fmla="*/ 2147483647 h 456"/>
              <a:gd name="T6" fmla="*/ 2147483647 w 166"/>
              <a:gd name="T7" fmla="*/ 2147483647 h 456"/>
              <a:gd name="T8" fmla="*/ 2147483647 w 166"/>
              <a:gd name="T9" fmla="*/ 2147483647 h 456"/>
              <a:gd name="T10" fmla="*/ 2147483647 w 166"/>
              <a:gd name="T11" fmla="*/ 2147483647 h 456"/>
              <a:gd name="T12" fmla="*/ 2147483647 w 166"/>
              <a:gd name="T13" fmla="*/ 2147483647 h 456"/>
              <a:gd name="T14" fmla="*/ 2147483647 w 166"/>
              <a:gd name="T15" fmla="*/ 2147483647 h 456"/>
              <a:gd name="T16" fmla="*/ 2147483647 w 166"/>
              <a:gd name="T17" fmla="*/ 2147483647 h 456"/>
              <a:gd name="T18" fmla="*/ 2147483647 w 166"/>
              <a:gd name="T19" fmla="*/ 2147483647 h 456"/>
              <a:gd name="T20" fmla="*/ 2147483647 w 166"/>
              <a:gd name="T21" fmla="*/ 2147483647 h 456"/>
              <a:gd name="T22" fmla="*/ 2147483647 w 166"/>
              <a:gd name="T23" fmla="*/ 2147483647 h 456"/>
              <a:gd name="T24" fmla="*/ 2147483647 w 166"/>
              <a:gd name="T25" fmla="*/ 2147483647 h 456"/>
              <a:gd name="T26" fmla="*/ 2147483647 w 166"/>
              <a:gd name="T27" fmla="*/ 2147483647 h 456"/>
              <a:gd name="T28" fmla="*/ 2147483647 w 166"/>
              <a:gd name="T29" fmla="*/ 2147483647 h 456"/>
              <a:gd name="T30" fmla="*/ 2147483647 w 166"/>
              <a:gd name="T31" fmla="*/ 2147483647 h 456"/>
              <a:gd name="T32" fmla="*/ 2147483647 w 166"/>
              <a:gd name="T33" fmla="*/ 2147483647 h 456"/>
              <a:gd name="T34" fmla="*/ 2147483647 w 166"/>
              <a:gd name="T35" fmla="*/ 2147483647 h 456"/>
              <a:gd name="T36" fmla="*/ 2147483647 w 166"/>
              <a:gd name="T37" fmla="*/ 2147483647 h 456"/>
              <a:gd name="T38" fmla="*/ 2147483647 w 166"/>
              <a:gd name="T39" fmla="*/ 2147483647 h 456"/>
              <a:gd name="T40" fmla="*/ 2147483647 w 166"/>
              <a:gd name="T41" fmla="*/ 2147483647 h 456"/>
              <a:gd name="T42" fmla="*/ 2147483647 w 166"/>
              <a:gd name="T43" fmla="*/ 2147483647 h 456"/>
              <a:gd name="T44" fmla="*/ 2147483647 w 166"/>
              <a:gd name="T45" fmla="*/ 2147483647 h 456"/>
              <a:gd name="T46" fmla="*/ 2147483647 w 166"/>
              <a:gd name="T47" fmla="*/ 2147483647 h 456"/>
              <a:gd name="T48" fmla="*/ 2147483647 w 166"/>
              <a:gd name="T49" fmla="*/ 2147483647 h 456"/>
              <a:gd name="T50" fmla="*/ 2147483647 w 166"/>
              <a:gd name="T51" fmla="*/ 2147483647 h 456"/>
              <a:gd name="T52" fmla="*/ 2147483647 w 166"/>
              <a:gd name="T53" fmla="*/ 2147483647 h 456"/>
              <a:gd name="T54" fmla="*/ 2147483647 w 166"/>
              <a:gd name="T55" fmla="*/ 2147483647 h 456"/>
              <a:gd name="T56" fmla="*/ 2147483647 w 166"/>
              <a:gd name="T57" fmla="*/ 2147483647 h 456"/>
              <a:gd name="T58" fmla="*/ 2147483647 w 166"/>
              <a:gd name="T59" fmla="*/ 2147483647 h 456"/>
              <a:gd name="T60" fmla="*/ 2147483647 w 166"/>
              <a:gd name="T61" fmla="*/ 2147483647 h 456"/>
              <a:gd name="T62" fmla="*/ 2147483647 w 166"/>
              <a:gd name="T63" fmla="*/ 2147483647 h 456"/>
              <a:gd name="T64" fmla="*/ 2147483647 w 166"/>
              <a:gd name="T65" fmla="*/ 2147483647 h 456"/>
              <a:gd name="T66" fmla="*/ 2147483647 w 166"/>
              <a:gd name="T67" fmla="*/ 2147483647 h 456"/>
              <a:gd name="T68" fmla="*/ 2147483647 w 166"/>
              <a:gd name="T69" fmla="*/ 2147483647 h 456"/>
              <a:gd name="T70" fmla="*/ 2147483647 w 166"/>
              <a:gd name="T71" fmla="*/ 2147483647 h 456"/>
              <a:gd name="T72" fmla="*/ 2147483647 w 166"/>
              <a:gd name="T73" fmla="*/ 2147483647 h 456"/>
              <a:gd name="T74" fmla="*/ 2147483647 w 166"/>
              <a:gd name="T75" fmla="*/ 2147483647 h 456"/>
              <a:gd name="T76" fmla="*/ 2147483647 w 166"/>
              <a:gd name="T77" fmla="*/ 2147483647 h 456"/>
              <a:gd name="T78" fmla="*/ 2147483647 w 166"/>
              <a:gd name="T79" fmla="*/ 2147483647 h 456"/>
              <a:gd name="T80" fmla="*/ 2147483647 w 166"/>
              <a:gd name="T81" fmla="*/ 2147483647 h 456"/>
              <a:gd name="T82" fmla="*/ 2147483647 w 166"/>
              <a:gd name="T83" fmla="*/ 2147483647 h 456"/>
              <a:gd name="T84" fmla="*/ 2147483647 w 166"/>
              <a:gd name="T85" fmla="*/ 2147483647 h 456"/>
              <a:gd name="T86" fmla="*/ 2147483647 w 166"/>
              <a:gd name="T87" fmla="*/ 2147483647 h 456"/>
              <a:gd name="T88" fmla="*/ 2147483647 w 166"/>
              <a:gd name="T89" fmla="*/ 2147483647 h 456"/>
              <a:gd name="T90" fmla="*/ 2147483647 w 166"/>
              <a:gd name="T91" fmla="*/ 2147483647 h 456"/>
              <a:gd name="T92" fmla="*/ 2147483647 w 166"/>
              <a:gd name="T93" fmla="*/ 2147483647 h 456"/>
              <a:gd name="T94" fmla="*/ 2147483647 w 166"/>
              <a:gd name="T95" fmla="*/ 2147483647 h 456"/>
              <a:gd name="T96" fmla="*/ 2147483647 w 166"/>
              <a:gd name="T97" fmla="*/ 2147483647 h 456"/>
              <a:gd name="T98" fmla="*/ 2147483647 w 166"/>
              <a:gd name="T99" fmla="*/ 2147483647 h 456"/>
              <a:gd name="T100" fmla="*/ 2147483647 w 166"/>
              <a:gd name="T101" fmla="*/ 2147483647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C0C0C0"/>
          </a:solidFill>
          <a:ln w="9525" cmpd="sng">
            <a:solidFill>
              <a:srgbClr val="FFFFFF"/>
            </a:solidFill>
            <a:prstDash val="solid"/>
            <a:round/>
            <a:headEnd/>
            <a:tailEnd/>
          </a:ln>
        </p:spPr>
        <p:txBody>
          <a:bodyPr/>
          <a:lstStyle/>
          <a:p>
            <a:endParaRPr lang="en-AU"/>
          </a:p>
        </p:txBody>
      </p:sp>
      <p:sp>
        <p:nvSpPr>
          <p:cNvPr id="2362" name="Freeform 475"/>
          <p:cNvSpPr>
            <a:spLocks/>
          </p:cNvSpPr>
          <p:nvPr>
            <p:custDataLst>
              <p:tags r:id="rId313"/>
            </p:custDataLst>
          </p:nvPr>
        </p:nvSpPr>
        <p:spPr bwMode="auto">
          <a:xfrm>
            <a:off x="4329113" y="2533650"/>
            <a:ext cx="14287" cy="57150"/>
          </a:xfrm>
          <a:custGeom>
            <a:avLst/>
            <a:gdLst>
              <a:gd name="T0" fmla="*/ 2147483647 w 27"/>
              <a:gd name="T1" fmla="*/ 0 h 19"/>
              <a:gd name="T2" fmla="*/ 2147483647 w 27"/>
              <a:gd name="T3" fmla="*/ 2147483647 h 19"/>
              <a:gd name="T4" fmla="*/ 2147483647 w 27"/>
              <a:gd name="T5" fmla="*/ 2147483647 h 19"/>
              <a:gd name="T6" fmla="*/ 2147483647 w 27"/>
              <a:gd name="T7" fmla="*/ 2147483647 h 19"/>
              <a:gd name="T8" fmla="*/ 0 w 27"/>
              <a:gd name="T9" fmla="*/ 2147483647 h 19"/>
              <a:gd name="T10" fmla="*/ 2147483647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AU"/>
          </a:p>
        </p:txBody>
      </p:sp>
      <p:sp>
        <p:nvSpPr>
          <p:cNvPr id="2363" name="Freeform 476"/>
          <p:cNvSpPr>
            <a:spLocks/>
          </p:cNvSpPr>
          <p:nvPr>
            <p:custDataLst>
              <p:tags r:id="rId314"/>
            </p:custDataLst>
          </p:nvPr>
        </p:nvSpPr>
        <p:spPr bwMode="auto">
          <a:xfrm>
            <a:off x="4648200" y="4154488"/>
            <a:ext cx="188913" cy="217487"/>
          </a:xfrm>
          <a:custGeom>
            <a:avLst/>
            <a:gdLst>
              <a:gd name="T0" fmla="*/ 2147483647 w 438"/>
              <a:gd name="T1" fmla="*/ 2147483647 h 406"/>
              <a:gd name="T2" fmla="*/ 2147483647 w 438"/>
              <a:gd name="T3" fmla="*/ 2147483647 h 406"/>
              <a:gd name="T4" fmla="*/ 2147483647 w 438"/>
              <a:gd name="T5" fmla="*/ 2147483647 h 406"/>
              <a:gd name="T6" fmla="*/ 2147483647 w 438"/>
              <a:gd name="T7" fmla="*/ 2147483647 h 406"/>
              <a:gd name="T8" fmla="*/ 2147483647 w 438"/>
              <a:gd name="T9" fmla="*/ 2147483647 h 406"/>
              <a:gd name="T10" fmla="*/ 2147483647 w 438"/>
              <a:gd name="T11" fmla="*/ 2147483647 h 406"/>
              <a:gd name="T12" fmla="*/ 2147483647 w 438"/>
              <a:gd name="T13" fmla="*/ 2147483647 h 406"/>
              <a:gd name="T14" fmla="*/ 2147483647 w 438"/>
              <a:gd name="T15" fmla="*/ 2147483647 h 406"/>
              <a:gd name="T16" fmla="*/ 2147483647 w 438"/>
              <a:gd name="T17" fmla="*/ 2147483647 h 406"/>
              <a:gd name="T18" fmla="*/ 2147483647 w 438"/>
              <a:gd name="T19" fmla="*/ 2147483647 h 406"/>
              <a:gd name="T20" fmla="*/ 2147483647 w 438"/>
              <a:gd name="T21" fmla="*/ 2147483647 h 406"/>
              <a:gd name="T22" fmla="*/ 2147483647 w 438"/>
              <a:gd name="T23" fmla="*/ 2147483647 h 406"/>
              <a:gd name="T24" fmla="*/ 2147483647 w 438"/>
              <a:gd name="T25" fmla="*/ 2147483647 h 406"/>
              <a:gd name="T26" fmla="*/ 2147483647 w 438"/>
              <a:gd name="T27" fmla="*/ 2147483647 h 406"/>
              <a:gd name="T28" fmla="*/ 2147483647 w 438"/>
              <a:gd name="T29" fmla="*/ 2147483647 h 406"/>
              <a:gd name="T30" fmla="*/ 2147483647 w 438"/>
              <a:gd name="T31" fmla="*/ 2147483647 h 406"/>
              <a:gd name="T32" fmla="*/ 2147483647 w 438"/>
              <a:gd name="T33" fmla="*/ 2147483647 h 406"/>
              <a:gd name="T34" fmla="*/ 2147483647 w 438"/>
              <a:gd name="T35" fmla="*/ 2147483647 h 406"/>
              <a:gd name="T36" fmla="*/ 2147483647 w 438"/>
              <a:gd name="T37" fmla="*/ 2147483647 h 406"/>
              <a:gd name="T38" fmla="*/ 2147483647 w 438"/>
              <a:gd name="T39" fmla="*/ 2147483647 h 406"/>
              <a:gd name="T40" fmla="*/ 2147483647 w 438"/>
              <a:gd name="T41" fmla="*/ 2147483647 h 406"/>
              <a:gd name="T42" fmla="*/ 2147483647 w 438"/>
              <a:gd name="T43" fmla="*/ 2147483647 h 406"/>
              <a:gd name="T44" fmla="*/ 2147483647 w 438"/>
              <a:gd name="T45" fmla="*/ 2147483647 h 406"/>
              <a:gd name="T46" fmla="*/ 2147483647 w 438"/>
              <a:gd name="T47" fmla="*/ 2147483647 h 406"/>
              <a:gd name="T48" fmla="*/ 2147483647 w 438"/>
              <a:gd name="T49" fmla="*/ 2147483647 h 406"/>
              <a:gd name="T50" fmla="*/ 2147483647 w 438"/>
              <a:gd name="T51" fmla="*/ 2147483647 h 406"/>
              <a:gd name="T52" fmla="*/ 2147483647 w 438"/>
              <a:gd name="T53" fmla="*/ 2147483647 h 406"/>
              <a:gd name="T54" fmla="*/ 2147483647 w 438"/>
              <a:gd name="T55" fmla="*/ 2147483647 h 406"/>
              <a:gd name="T56" fmla="*/ 2147483647 w 438"/>
              <a:gd name="T57" fmla="*/ 2147483647 h 406"/>
              <a:gd name="T58" fmla="*/ 2147483647 w 438"/>
              <a:gd name="T59" fmla="*/ 2147483647 h 406"/>
              <a:gd name="T60" fmla="*/ 2147483647 w 438"/>
              <a:gd name="T61" fmla="*/ 2147483647 h 406"/>
              <a:gd name="T62" fmla="*/ 2147483647 w 438"/>
              <a:gd name="T63" fmla="*/ 2147483647 h 406"/>
              <a:gd name="T64" fmla="*/ 0 w 438"/>
              <a:gd name="T65" fmla="*/ 2147483647 h 406"/>
              <a:gd name="T66" fmla="*/ 2147483647 w 438"/>
              <a:gd name="T67" fmla="*/ 2147483647 h 406"/>
              <a:gd name="T68" fmla="*/ 2147483647 w 438"/>
              <a:gd name="T69" fmla="*/ 2147483647 h 406"/>
              <a:gd name="T70" fmla="*/ 2147483647 w 438"/>
              <a:gd name="T71" fmla="*/ 2147483647 h 406"/>
              <a:gd name="T72" fmla="*/ 2147483647 w 438"/>
              <a:gd name="T73" fmla="*/ 2147483647 h 406"/>
              <a:gd name="T74" fmla="*/ 2147483647 w 438"/>
              <a:gd name="T75" fmla="*/ 2147483647 h 406"/>
              <a:gd name="T76" fmla="*/ 2147483647 w 438"/>
              <a:gd name="T77" fmla="*/ 2147483647 h 406"/>
              <a:gd name="T78" fmla="*/ 2147483647 w 438"/>
              <a:gd name="T79" fmla="*/ 2147483647 h 406"/>
              <a:gd name="T80" fmla="*/ 2147483647 w 438"/>
              <a:gd name="T81" fmla="*/ 2147483647 h 406"/>
              <a:gd name="T82" fmla="*/ 2147483647 w 438"/>
              <a:gd name="T83" fmla="*/ 2147483647 h 406"/>
              <a:gd name="T84" fmla="*/ 2147483647 w 438"/>
              <a:gd name="T85" fmla="*/ 2147483647 h 406"/>
              <a:gd name="T86" fmla="*/ 2147483647 w 438"/>
              <a:gd name="T87" fmla="*/ 2147483647 h 406"/>
              <a:gd name="T88" fmla="*/ 2147483647 w 438"/>
              <a:gd name="T89" fmla="*/ 2147483647 h 406"/>
              <a:gd name="T90" fmla="*/ 2147483647 w 438"/>
              <a:gd name="T91" fmla="*/ 2147483647 h 406"/>
              <a:gd name="T92" fmla="*/ 2147483647 w 438"/>
              <a:gd name="T93" fmla="*/ 2147483647 h 406"/>
              <a:gd name="T94" fmla="*/ 2147483647 w 438"/>
              <a:gd name="T95" fmla="*/ 2147483647 h 406"/>
              <a:gd name="T96" fmla="*/ 2147483647 w 438"/>
              <a:gd name="T97" fmla="*/ 2147483647 h 406"/>
              <a:gd name="T98" fmla="*/ 2147483647 w 438"/>
              <a:gd name="T99" fmla="*/ 2147483647 h 406"/>
              <a:gd name="T100" fmla="*/ 2147483647 w 438"/>
              <a:gd name="T101" fmla="*/ 2147483647 h 406"/>
              <a:gd name="T102" fmla="*/ 2147483647 w 438"/>
              <a:gd name="T103" fmla="*/ 2147483647 h 406"/>
              <a:gd name="T104" fmla="*/ 2147483647 w 438"/>
              <a:gd name="T105" fmla="*/ 2147483647 h 406"/>
              <a:gd name="T106" fmla="*/ 2147483647 w 438"/>
              <a:gd name="T107" fmla="*/ 2147483647 h 406"/>
              <a:gd name="T108" fmla="*/ 2147483647 w 438"/>
              <a:gd name="T109" fmla="*/ 2147483647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C0C0C0"/>
          </a:solidFill>
          <a:ln w="9525" cmpd="sng">
            <a:solidFill>
              <a:srgbClr val="FFFFFF"/>
            </a:solidFill>
            <a:prstDash val="solid"/>
            <a:round/>
            <a:headEnd/>
            <a:tailEnd/>
          </a:ln>
        </p:spPr>
        <p:txBody>
          <a:bodyPr/>
          <a:lstStyle/>
          <a:p>
            <a:endParaRPr lang="en-AU"/>
          </a:p>
        </p:txBody>
      </p:sp>
      <p:sp>
        <p:nvSpPr>
          <p:cNvPr id="2364" name="Freeform 477"/>
          <p:cNvSpPr>
            <a:spLocks/>
          </p:cNvSpPr>
          <p:nvPr>
            <p:custDataLst>
              <p:tags r:id="rId315"/>
            </p:custDataLst>
          </p:nvPr>
        </p:nvSpPr>
        <p:spPr bwMode="auto">
          <a:xfrm>
            <a:off x="4560888" y="3930650"/>
            <a:ext cx="293687" cy="300038"/>
          </a:xfrm>
          <a:custGeom>
            <a:avLst/>
            <a:gdLst>
              <a:gd name="T0" fmla="*/ 2147483647 w 678"/>
              <a:gd name="T1" fmla="*/ 2147483647 h 574"/>
              <a:gd name="T2" fmla="*/ 2147483647 w 678"/>
              <a:gd name="T3" fmla="*/ 2147483647 h 574"/>
              <a:gd name="T4" fmla="*/ 2147483647 w 678"/>
              <a:gd name="T5" fmla="*/ 2147483647 h 574"/>
              <a:gd name="T6" fmla="*/ 2147483647 w 678"/>
              <a:gd name="T7" fmla="*/ 2147483647 h 574"/>
              <a:gd name="T8" fmla="*/ 2147483647 w 678"/>
              <a:gd name="T9" fmla="*/ 2147483647 h 574"/>
              <a:gd name="T10" fmla="*/ 2147483647 w 678"/>
              <a:gd name="T11" fmla="*/ 2147483647 h 574"/>
              <a:gd name="T12" fmla="*/ 2147483647 w 678"/>
              <a:gd name="T13" fmla="*/ 2147483647 h 574"/>
              <a:gd name="T14" fmla="*/ 2147483647 w 678"/>
              <a:gd name="T15" fmla="*/ 2147483647 h 574"/>
              <a:gd name="T16" fmla="*/ 2147483647 w 678"/>
              <a:gd name="T17" fmla="*/ 2147483647 h 574"/>
              <a:gd name="T18" fmla="*/ 2147483647 w 678"/>
              <a:gd name="T19" fmla="*/ 2147483647 h 574"/>
              <a:gd name="T20" fmla="*/ 2147483647 w 678"/>
              <a:gd name="T21" fmla="*/ 2147483647 h 574"/>
              <a:gd name="T22" fmla="*/ 2147483647 w 678"/>
              <a:gd name="T23" fmla="*/ 2147483647 h 574"/>
              <a:gd name="T24" fmla="*/ 2147483647 w 678"/>
              <a:gd name="T25" fmla="*/ 2147483647 h 574"/>
              <a:gd name="T26" fmla="*/ 2147483647 w 678"/>
              <a:gd name="T27" fmla="*/ 2147483647 h 574"/>
              <a:gd name="T28" fmla="*/ 2147483647 w 678"/>
              <a:gd name="T29" fmla="*/ 2147483647 h 574"/>
              <a:gd name="T30" fmla="*/ 2147483647 w 678"/>
              <a:gd name="T31" fmla="*/ 2147483647 h 574"/>
              <a:gd name="T32" fmla="*/ 2147483647 w 678"/>
              <a:gd name="T33" fmla="*/ 2147483647 h 574"/>
              <a:gd name="T34" fmla="*/ 2147483647 w 678"/>
              <a:gd name="T35" fmla="*/ 2147483647 h 574"/>
              <a:gd name="T36" fmla="*/ 2147483647 w 678"/>
              <a:gd name="T37" fmla="*/ 2147483647 h 574"/>
              <a:gd name="T38" fmla="*/ 2147483647 w 678"/>
              <a:gd name="T39" fmla="*/ 2147483647 h 574"/>
              <a:gd name="T40" fmla="*/ 2147483647 w 678"/>
              <a:gd name="T41" fmla="*/ 2147483647 h 574"/>
              <a:gd name="T42" fmla="*/ 2147483647 w 678"/>
              <a:gd name="T43" fmla="*/ 2147483647 h 574"/>
              <a:gd name="T44" fmla="*/ 2147483647 w 678"/>
              <a:gd name="T45" fmla="*/ 2147483647 h 574"/>
              <a:gd name="T46" fmla="*/ 2147483647 w 678"/>
              <a:gd name="T47" fmla="*/ 2147483647 h 574"/>
              <a:gd name="T48" fmla="*/ 2147483647 w 678"/>
              <a:gd name="T49" fmla="*/ 2147483647 h 574"/>
              <a:gd name="T50" fmla="*/ 2147483647 w 678"/>
              <a:gd name="T51" fmla="*/ 2147483647 h 574"/>
              <a:gd name="T52" fmla="*/ 2147483647 w 678"/>
              <a:gd name="T53" fmla="*/ 2147483647 h 574"/>
              <a:gd name="T54" fmla="*/ 2147483647 w 678"/>
              <a:gd name="T55" fmla="*/ 2147483647 h 574"/>
              <a:gd name="T56" fmla="*/ 2147483647 w 678"/>
              <a:gd name="T57" fmla="*/ 2147483647 h 574"/>
              <a:gd name="T58" fmla="*/ 2147483647 w 678"/>
              <a:gd name="T59" fmla="*/ 2147483647 h 574"/>
              <a:gd name="T60" fmla="*/ 2147483647 w 678"/>
              <a:gd name="T61" fmla="*/ 2147483647 h 574"/>
              <a:gd name="T62" fmla="*/ 2147483647 w 678"/>
              <a:gd name="T63" fmla="*/ 2147483647 h 574"/>
              <a:gd name="T64" fmla="*/ 0 w 678"/>
              <a:gd name="T65" fmla="*/ 2147483647 h 574"/>
              <a:gd name="T66" fmla="*/ 2147483647 w 678"/>
              <a:gd name="T67" fmla="*/ 2147483647 h 574"/>
              <a:gd name="T68" fmla="*/ 2147483647 w 678"/>
              <a:gd name="T69" fmla="*/ 2147483647 h 574"/>
              <a:gd name="T70" fmla="*/ 2147483647 w 678"/>
              <a:gd name="T71" fmla="*/ 2147483647 h 574"/>
              <a:gd name="T72" fmla="*/ 2147483647 w 678"/>
              <a:gd name="T73" fmla="*/ 2147483647 h 574"/>
              <a:gd name="T74" fmla="*/ 2147483647 w 678"/>
              <a:gd name="T75" fmla="*/ 2147483647 h 574"/>
              <a:gd name="T76" fmla="*/ 2147483647 w 678"/>
              <a:gd name="T77" fmla="*/ 2147483647 h 574"/>
              <a:gd name="T78" fmla="*/ 2147483647 w 678"/>
              <a:gd name="T79" fmla="*/ 2147483647 h 574"/>
              <a:gd name="T80" fmla="*/ 2147483647 w 678"/>
              <a:gd name="T81" fmla="*/ 2147483647 h 574"/>
              <a:gd name="T82" fmla="*/ 2147483647 w 678"/>
              <a:gd name="T83" fmla="*/ 2147483647 h 574"/>
              <a:gd name="T84" fmla="*/ 2147483647 w 678"/>
              <a:gd name="T85" fmla="*/ 2147483647 h 574"/>
              <a:gd name="T86" fmla="*/ 2147483647 w 678"/>
              <a:gd name="T87" fmla="*/ 2147483647 h 574"/>
              <a:gd name="T88" fmla="*/ 2147483647 w 678"/>
              <a:gd name="T89" fmla="*/ 2147483647 h 574"/>
              <a:gd name="T90" fmla="*/ 2147483647 w 678"/>
              <a:gd name="T91" fmla="*/ 2147483647 h 574"/>
              <a:gd name="T92" fmla="*/ 2147483647 w 678"/>
              <a:gd name="T93" fmla="*/ 2147483647 h 574"/>
              <a:gd name="T94" fmla="*/ 2147483647 w 678"/>
              <a:gd name="T95" fmla="*/ 2147483647 h 574"/>
              <a:gd name="T96" fmla="*/ 2147483647 w 678"/>
              <a:gd name="T97" fmla="*/ 2147483647 h 574"/>
              <a:gd name="T98" fmla="*/ 2147483647 w 678"/>
              <a:gd name="T99" fmla="*/ 2147483647 h 574"/>
              <a:gd name="T100" fmla="*/ 2147483647 w 678"/>
              <a:gd name="T101" fmla="*/ 2147483647 h 574"/>
              <a:gd name="T102" fmla="*/ 2147483647 w 678"/>
              <a:gd name="T103" fmla="*/ 2147483647 h 574"/>
              <a:gd name="T104" fmla="*/ 2147483647 w 678"/>
              <a:gd name="T105" fmla="*/ 2147483647 h 574"/>
              <a:gd name="T106" fmla="*/ 2147483647 w 678"/>
              <a:gd name="T107" fmla="*/ 2147483647 h 574"/>
              <a:gd name="T108" fmla="*/ 2147483647 w 678"/>
              <a:gd name="T109" fmla="*/ 2147483647 h 574"/>
              <a:gd name="T110" fmla="*/ 2147483647 w 678"/>
              <a:gd name="T111" fmla="*/ 2147483647 h 574"/>
              <a:gd name="T112" fmla="*/ 2147483647 w 678"/>
              <a:gd name="T113" fmla="*/ 2147483647 h 574"/>
              <a:gd name="T114" fmla="*/ 2147483647 w 678"/>
              <a:gd name="T115" fmla="*/ 2147483647 h 574"/>
              <a:gd name="T116" fmla="*/ 2147483647 w 678"/>
              <a:gd name="T117" fmla="*/ 2147483647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0C0C0"/>
          </a:solidFill>
          <a:ln w="9525" cmpd="sng">
            <a:solidFill>
              <a:srgbClr val="FFFFFF"/>
            </a:solidFill>
            <a:prstDash val="solid"/>
            <a:round/>
            <a:headEnd/>
            <a:tailEnd/>
          </a:ln>
        </p:spPr>
        <p:txBody>
          <a:bodyPr/>
          <a:lstStyle/>
          <a:p>
            <a:endParaRPr lang="en-AU"/>
          </a:p>
        </p:txBody>
      </p:sp>
      <p:sp>
        <p:nvSpPr>
          <p:cNvPr id="2365" name="Freeform 478"/>
          <p:cNvSpPr>
            <a:spLocks/>
          </p:cNvSpPr>
          <p:nvPr>
            <p:custDataLst>
              <p:tags r:id="rId316"/>
            </p:custDataLst>
          </p:nvPr>
        </p:nvSpPr>
        <p:spPr bwMode="auto">
          <a:xfrm>
            <a:off x="4297363" y="4203700"/>
            <a:ext cx="350837" cy="381000"/>
          </a:xfrm>
          <a:custGeom>
            <a:avLst/>
            <a:gdLst>
              <a:gd name="T0" fmla="*/ 2147483647 w 810"/>
              <a:gd name="T1" fmla="*/ 2147483647 h 727"/>
              <a:gd name="T2" fmla="*/ 2147483647 w 810"/>
              <a:gd name="T3" fmla="*/ 2147483647 h 727"/>
              <a:gd name="T4" fmla="*/ 2147483647 w 810"/>
              <a:gd name="T5" fmla="*/ 2147483647 h 727"/>
              <a:gd name="T6" fmla="*/ 2147483647 w 810"/>
              <a:gd name="T7" fmla="*/ 2147483647 h 727"/>
              <a:gd name="T8" fmla="*/ 2147483647 w 810"/>
              <a:gd name="T9" fmla="*/ 2147483647 h 727"/>
              <a:gd name="T10" fmla="*/ 2147483647 w 810"/>
              <a:gd name="T11" fmla="*/ 2147483647 h 727"/>
              <a:gd name="T12" fmla="*/ 2147483647 w 810"/>
              <a:gd name="T13" fmla="*/ 2147483647 h 727"/>
              <a:gd name="T14" fmla="*/ 2147483647 w 810"/>
              <a:gd name="T15" fmla="*/ 2147483647 h 727"/>
              <a:gd name="T16" fmla="*/ 2147483647 w 810"/>
              <a:gd name="T17" fmla="*/ 0 h 727"/>
              <a:gd name="T18" fmla="*/ 2147483647 w 810"/>
              <a:gd name="T19" fmla="*/ 2147483647 h 727"/>
              <a:gd name="T20" fmla="*/ 2147483647 w 810"/>
              <a:gd name="T21" fmla="*/ 2147483647 h 727"/>
              <a:gd name="T22" fmla="*/ 0 w 810"/>
              <a:gd name="T23" fmla="*/ 2147483647 h 727"/>
              <a:gd name="T24" fmla="*/ 2147483647 w 810"/>
              <a:gd name="T25" fmla="*/ 2147483647 h 727"/>
              <a:gd name="T26" fmla="*/ 2147483647 w 810"/>
              <a:gd name="T27" fmla="*/ 2147483647 h 727"/>
              <a:gd name="T28" fmla="*/ 2147483647 w 810"/>
              <a:gd name="T29" fmla="*/ 2147483647 h 727"/>
              <a:gd name="T30" fmla="*/ 2147483647 w 810"/>
              <a:gd name="T31" fmla="*/ 2147483647 h 727"/>
              <a:gd name="T32" fmla="*/ 2147483647 w 810"/>
              <a:gd name="T33" fmla="*/ 2147483647 h 727"/>
              <a:gd name="T34" fmla="*/ 2147483647 w 810"/>
              <a:gd name="T35" fmla="*/ 2147483647 h 727"/>
              <a:gd name="T36" fmla="*/ 2147483647 w 810"/>
              <a:gd name="T37" fmla="*/ 2147483647 h 727"/>
              <a:gd name="T38" fmla="*/ 2147483647 w 810"/>
              <a:gd name="T39" fmla="*/ 2147483647 h 727"/>
              <a:gd name="T40" fmla="*/ 2147483647 w 810"/>
              <a:gd name="T41" fmla="*/ 2147483647 h 727"/>
              <a:gd name="T42" fmla="*/ 2147483647 w 810"/>
              <a:gd name="T43" fmla="*/ 2147483647 h 727"/>
              <a:gd name="T44" fmla="*/ 2147483647 w 810"/>
              <a:gd name="T45" fmla="*/ 2147483647 h 727"/>
              <a:gd name="T46" fmla="*/ 2147483647 w 810"/>
              <a:gd name="T47" fmla="*/ 2147483647 h 727"/>
              <a:gd name="T48" fmla="*/ 2147483647 w 810"/>
              <a:gd name="T49" fmla="*/ 2147483647 h 727"/>
              <a:gd name="T50" fmla="*/ 2147483647 w 810"/>
              <a:gd name="T51" fmla="*/ 2147483647 h 727"/>
              <a:gd name="T52" fmla="*/ 2147483647 w 810"/>
              <a:gd name="T53" fmla="*/ 2147483647 h 727"/>
              <a:gd name="T54" fmla="*/ 2147483647 w 810"/>
              <a:gd name="T55" fmla="*/ 2147483647 h 727"/>
              <a:gd name="T56" fmla="*/ 2147483647 w 810"/>
              <a:gd name="T57" fmla="*/ 2147483647 h 727"/>
              <a:gd name="T58" fmla="*/ 2147483647 w 810"/>
              <a:gd name="T59" fmla="*/ 2147483647 h 727"/>
              <a:gd name="T60" fmla="*/ 2147483647 w 810"/>
              <a:gd name="T61" fmla="*/ 2147483647 h 727"/>
              <a:gd name="T62" fmla="*/ 2147483647 w 810"/>
              <a:gd name="T63" fmla="*/ 2147483647 h 727"/>
              <a:gd name="T64" fmla="*/ 2147483647 w 810"/>
              <a:gd name="T65" fmla="*/ 2147483647 h 727"/>
              <a:gd name="T66" fmla="*/ 2147483647 w 810"/>
              <a:gd name="T67" fmla="*/ 2147483647 h 727"/>
              <a:gd name="T68" fmla="*/ 2147483647 w 810"/>
              <a:gd name="T69" fmla="*/ 2147483647 h 727"/>
              <a:gd name="T70" fmla="*/ 2147483647 w 810"/>
              <a:gd name="T71" fmla="*/ 2147483647 h 727"/>
              <a:gd name="T72" fmla="*/ 2147483647 w 810"/>
              <a:gd name="T73" fmla="*/ 2147483647 h 727"/>
              <a:gd name="T74" fmla="*/ 2147483647 w 810"/>
              <a:gd name="T75" fmla="*/ 2147483647 h 727"/>
              <a:gd name="T76" fmla="*/ 2147483647 w 810"/>
              <a:gd name="T77" fmla="*/ 2147483647 h 727"/>
              <a:gd name="T78" fmla="*/ 2147483647 w 810"/>
              <a:gd name="T79" fmla="*/ 2147483647 h 727"/>
              <a:gd name="T80" fmla="*/ 2147483647 w 810"/>
              <a:gd name="T81" fmla="*/ 2147483647 h 727"/>
              <a:gd name="T82" fmla="*/ 2147483647 w 810"/>
              <a:gd name="T83" fmla="*/ 2147483647 h 727"/>
              <a:gd name="T84" fmla="*/ 2147483647 w 810"/>
              <a:gd name="T85" fmla="*/ 2147483647 h 727"/>
              <a:gd name="T86" fmla="*/ 2147483647 w 810"/>
              <a:gd name="T87" fmla="*/ 2147483647 h 727"/>
              <a:gd name="T88" fmla="*/ 2147483647 w 810"/>
              <a:gd name="T89" fmla="*/ 2147483647 h 727"/>
              <a:gd name="T90" fmla="*/ 2147483647 w 810"/>
              <a:gd name="T91" fmla="*/ 2147483647 h 727"/>
              <a:gd name="T92" fmla="*/ 2147483647 w 810"/>
              <a:gd name="T93" fmla="*/ 2147483647 h 727"/>
              <a:gd name="T94" fmla="*/ 2147483647 w 810"/>
              <a:gd name="T95" fmla="*/ 2147483647 h 727"/>
              <a:gd name="T96" fmla="*/ 2147483647 w 810"/>
              <a:gd name="T97" fmla="*/ 2147483647 h 727"/>
              <a:gd name="T98" fmla="*/ 2147483647 w 810"/>
              <a:gd name="T99" fmla="*/ 2147483647 h 727"/>
              <a:gd name="T100" fmla="*/ 2147483647 w 810"/>
              <a:gd name="T101" fmla="*/ 2147483647 h 727"/>
              <a:gd name="T102" fmla="*/ 2147483647 w 810"/>
              <a:gd name="T103" fmla="*/ 2147483647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C0C0C0"/>
          </a:solidFill>
          <a:ln w="9525" cmpd="sng">
            <a:solidFill>
              <a:srgbClr val="FFFFFF"/>
            </a:solidFill>
            <a:prstDash val="solid"/>
            <a:round/>
            <a:headEnd/>
            <a:tailEnd/>
          </a:ln>
        </p:spPr>
        <p:txBody>
          <a:bodyPr/>
          <a:lstStyle/>
          <a:p>
            <a:endParaRPr lang="en-AU"/>
          </a:p>
        </p:txBody>
      </p:sp>
      <p:sp>
        <p:nvSpPr>
          <p:cNvPr id="2366" name="Freeform 479"/>
          <p:cNvSpPr>
            <a:spLocks/>
          </p:cNvSpPr>
          <p:nvPr>
            <p:custDataLst>
              <p:tags r:id="rId317"/>
            </p:custDataLst>
          </p:nvPr>
        </p:nvSpPr>
        <p:spPr bwMode="auto">
          <a:xfrm>
            <a:off x="3576638" y="3133725"/>
            <a:ext cx="161925" cy="141288"/>
          </a:xfrm>
          <a:custGeom>
            <a:avLst/>
            <a:gdLst>
              <a:gd name="T0" fmla="*/ 2147483647 w 365"/>
              <a:gd name="T1" fmla="*/ 2147483647 h 271"/>
              <a:gd name="T2" fmla="*/ 2147483647 w 365"/>
              <a:gd name="T3" fmla="*/ 2147483647 h 271"/>
              <a:gd name="T4" fmla="*/ 2147483647 w 365"/>
              <a:gd name="T5" fmla="*/ 2147483647 h 271"/>
              <a:gd name="T6" fmla="*/ 2147483647 w 365"/>
              <a:gd name="T7" fmla="*/ 2147483647 h 271"/>
              <a:gd name="T8" fmla="*/ 2147483647 w 365"/>
              <a:gd name="T9" fmla="*/ 2147483647 h 271"/>
              <a:gd name="T10" fmla="*/ 2147483647 w 365"/>
              <a:gd name="T11" fmla="*/ 2147483647 h 271"/>
              <a:gd name="T12" fmla="*/ 2147483647 w 365"/>
              <a:gd name="T13" fmla="*/ 2147483647 h 271"/>
              <a:gd name="T14" fmla="*/ 2147483647 w 365"/>
              <a:gd name="T15" fmla="*/ 2147483647 h 271"/>
              <a:gd name="T16" fmla="*/ 2147483647 w 365"/>
              <a:gd name="T17" fmla="*/ 2147483647 h 271"/>
              <a:gd name="T18" fmla="*/ 2147483647 w 365"/>
              <a:gd name="T19" fmla="*/ 2147483647 h 271"/>
              <a:gd name="T20" fmla="*/ 2147483647 w 365"/>
              <a:gd name="T21" fmla="*/ 2147483647 h 271"/>
              <a:gd name="T22" fmla="*/ 2147483647 w 365"/>
              <a:gd name="T23" fmla="*/ 2147483647 h 271"/>
              <a:gd name="T24" fmla="*/ 2147483647 w 365"/>
              <a:gd name="T25" fmla="*/ 2147483647 h 271"/>
              <a:gd name="T26" fmla="*/ 2147483647 w 365"/>
              <a:gd name="T27" fmla="*/ 2147483647 h 271"/>
              <a:gd name="T28" fmla="*/ 2147483647 w 365"/>
              <a:gd name="T29" fmla="*/ 2147483647 h 271"/>
              <a:gd name="T30" fmla="*/ 2147483647 w 365"/>
              <a:gd name="T31" fmla="*/ 2147483647 h 271"/>
              <a:gd name="T32" fmla="*/ 2147483647 w 365"/>
              <a:gd name="T33" fmla="*/ 2147483647 h 271"/>
              <a:gd name="T34" fmla="*/ 2147483647 w 365"/>
              <a:gd name="T35" fmla="*/ 2147483647 h 271"/>
              <a:gd name="T36" fmla="*/ 2147483647 w 365"/>
              <a:gd name="T37" fmla="*/ 2147483647 h 271"/>
              <a:gd name="T38" fmla="*/ 2147483647 w 365"/>
              <a:gd name="T39" fmla="*/ 2147483647 h 271"/>
              <a:gd name="T40" fmla="*/ 2147483647 w 365"/>
              <a:gd name="T41" fmla="*/ 2147483647 h 271"/>
              <a:gd name="T42" fmla="*/ 2147483647 w 365"/>
              <a:gd name="T43" fmla="*/ 2147483647 h 271"/>
              <a:gd name="T44" fmla="*/ 2147483647 w 365"/>
              <a:gd name="T45" fmla="*/ 2147483647 h 271"/>
              <a:gd name="T46" fmla="*/ 2147483647 w 365"/>
              <a:gd name="T47" fmla="*/ 2147483647 h 271"/>
              <a:gd name="T48" fmla="*/ 2147483647 w 365"/>
              <a:gd name="T49" fmla="*/ 2147483647 h 271"/>
              <a:gd name="T50" fmla="*/ 2147483647 w 365"/>
              <a:gd name="T51" fmla="*/ 2147483647 h 271"/>
              <a:gd name="T52" fmla="*/ 2147483647 w 365"/>
              <a:gd name="T53" fmla="*/ 2147483647 h 271"/>
              <a:gd name="T54" fmla="*/ 2147483647 w 365"/>
              <a:gd name="T55" fmla="*/ 2147483647 h 271"/>
              <a:gd name="T56" fmla="*/ 2147483647 w 365"/>
              <a:gd name="T57" fmla="*/ 2147483647 h 271"/>
              <a:gd name="T58" fmla="*/ 2147483647 w 365"/>
              <a:gd name="T59" fmla="*/ 2147483647 h 271"/>
              <a:gd name="T60" fmla="*/ 2147483647 w 365"/>
              <a:gd name="T61" fmla="*/ 2147483647 h 271"/>
              <a:gd name="T62" fmla="*/ 2147483647 w 365"/>
              <a:gd name="T63" fmla="*/ 2147483647 h 271"/>
              <a:gd name="T64" fmla="*/ 0 w 365"/>
              <a:gd name="T65" fmla="*/ 2147483647 h 271"/>
              <a:gd name="T66" fmla="*/ 2147483647 w 365"/>
              <a:gd name="T67" fmla="*/ 2147483647 h 271"/>
              <a:gd name="T68" fmla="*/ 2147483647 w 365"/>
              <a:gd name="T69" fmla="*/ 2147483647 h 271"/>
              <a:gd name="T70" fmla="*/ 2147483647 w 365"/>
              <a:gd name="T71" fmla="*/ 2147483647 h 271"/>
              <a:gd name="T72" fmla="*/ 2147483647 w 365"/>
              <a:gd name="T73" fmla="*/ 2147483647 h 271"/>
              <a:gd name="T74" fmla="*/ 2147483647 w 365"/>
              <a:gd name="T75" fmla="*/ 2147483647 h 271"/>
              <a:gd name="T76" fmla="*/ 2147483647 w 365"/>
              <a:gd name="T77" fmla="*/ 2147483647 h 271"/>
              <a:gd name="T78" fmla="*/ 2147483647 w 365"/>
              <a:gd name="T79" fmla="*/ 2147483647 h 271"/>
              <a:gd name="T80" fmla="*/ 2147483647 w 365"/>
              <a:gd name="T81" fmla="*/ 2147483647 h 271"/>
              <a:gd name="T82" fmla="*/ 2147483647 w 365"/>
              <a:gd name="T83" fmla="*/ 2147483647 h 271"/>
              <a:gd name="T84" fmla="*/ 2147483647 w 365"/>
              <a:gd name="T85" fmla="*/ 0 h 271"/>
              <a:gd name="T86" fmla="*/ 2147483647 w 365"/>
              <a:gd name="T87" fmla="*/ 2147483647 h 271"/>
              <a:gd name="T88" fmla="*/ 2147483647 w 365"/>
              <a:gd name="T89" fmla="*/ 2147483647 h 271"/>
              <a:gd name="T90" fmla="*/ 2147483647 w 365"/>
              <a:gd name="T91" fmla="*/ 2147483647 h 271"/>
              <a:gd name="T92" fmla="*/ 2147483647 w 365"/>
              <a:gd name="T93" fmla="*/ 2147483647 h 271"/>
              <a:gd name="T94" fmla="*/ 2147483647 w 365"/>
              <a:gd name="T95" fmla="*/ 2147483647 h 271"/>
              <a:gd name="T96" fmla="*/ 2147483647 w 365"/>
              <a:gd name="T97" fmla="*/ 2147483647 h 271"/>
              <a:gd name="T98" fmla="*/ 2147483647 w 365"/>
              <a:gd name="T99" fmla="*/ 2147483647 h 271"/>
              <a:gd name="T100" fmla="*/ 2147483647 w 365"/>
              <a:gd name="T101" fmla="*/ 2147483647 h 271"/>
              <a:gd name="T102" fmla="*/ 2147483647 w 365"/>
              <a:gd name="T103" fmla="*/ 2147483647 h 271"/>
              <a:gd name="T104" fmla="*/ 2147483647 w 365"/>
              <a:gd name="T105" fmla="*/ 2147483647 h 271"/>
              <a:gd name="T106" fmla="*/ 2147483647 w 365"/>
              <a:gd name="T107" fmla="*/ 2147483647 h 271"/>
              <a:gd name="T108" fmla="*/ 2147483647 w 365"/>
              <a:gd name="T109" fmla="*/ 2147483647 h 271"/>
              <a:gd name="T110" fmla="*/ 2147483647 w 365"/>
              <a:gd name="T111" fmla="*/ 2147483647 h 271"/>
              <a:gd name="T112" fmla="*/ 2147483647 w 365"/>
              <a:gd name="T113" fmla="*/ 2147483647 h 271"/>
              <a:gd name="T114" fmla="*/ 2147483647 w 365"/>
              <a:gd name="T115" fmla="*/ 2147483647 h 271"/>
              <a:gd name="T116" fmla="*/ 2147483647 w 365"/>
              <a:gd name="T117" fmla="*/ 2147483647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cmpd="sng">
            <a:solidFill>
              <a:srgbClr val="FFFFFF"/>
            </a:solidFill>
            <a:prstDash val="solid"/>
            <a:round/>
            <a:headEnd/>
            <a:tailEnd/>
          </a:ln>
        </p:spPr>
        <p:txBody>
          <a:bodyPr/>
          <a:lstStyle/>
          <a:p>
            <a:endParaRPr lang="en-AU"/>
          </a:p>
        </p:txBody>
      </p:sp>
      <p:sp>
        <p:nvSpPr>
          <p:cNvPr id="2367" name="Freeform 480"/>
          <p:cNvSpPr>
            <a:spLocks/>
          </p:cNvSpPr>
          <p:nvPr>
            <p:custDataLst>
              <p:tags r:id="rId318"/>
            </p:custDataLst>
          </p:nvPr>
        </p:nvSpPr>
        <p:spPr bwMode="auto">
          <a:xfrm>
            <a:off x="4749800" y="3695700"/>
            <a:ext cx="269875" cy="334963"/>
          </a:xfrm>
          <a:custGeom>
            <a:avLst/>
            <a:gdLst>
              <a:gd name="T0" fmla="*/ 2147483647 w 624"/>
              <a:gd name="T1" fmla="*/ 2147483647 h 640"/>
              <a:gd name="T2" fmla="*/ 2147483647 w 624"/>
              <a:gd name="T3" fmla="*/ 2147483647 h 640"/>
              <a:gd name="T4" fmla="*/ 2147483647 w 624"/>
              <a:gd name="T5" fmla="*/ 2147483647 h 640"/>
              <a:gd name="T6" fmla="*/ 2147483647 w 624"/>
              <a:gd name="T7" fmla="*/ 2147483647 h 640"/>
              <a:gd name="T8" fmla="*/ 2147483647 w 624"/>
              <a:gd name="T9" fmla="*/ 2147483647 h 640"/>
              <a:gd name="T10" fmla="*/ 2147483647 w 624"/>
              <a:gd name="T11" fmla="*/ 2147483647 h 640"/>
              <a:gd name="T12" fmla="*/ 2147483647 w 624"/>
              <a:gd name="T13" fmla="*/ 2147483647 h 640"/>
              <a:gd name="T14" fmla="*/ 2147483647 w 624"/>
              <a:gd name="T15" fmla="*/ 2147483647 h 640"/>
              <a:gd name="T16" fmla="*/ 2147483647 w 624"/>
              <a:gd name="T17" fmla="*/ 2147483647 h 640"/>
              <a:gd name="T18" fmla="*/ 2147483647 w 624"/>
              <a:gd name="T19" fmla="*/ 2147483647 h 640"/>
              <a:gd name="T20" fmla="*/ 2147483647 w 624"/>
              <a:gd name="T21" fmla="*/ 2147483647 h 640"/>
              <a:gd name="T22" fmla="*/ 2147483647 w 624"/>
              <a:gd name="T23" fmla="*/ 2147483647 h 640"/>
              <a:gd name="T24" fmla="*/ 2147483647 w 624"/>
              <a:gd name="T25" fmla="*/ 2147483647 h 640"/>
              <a:gd name="T26" fmla="*/ 2147483647 w 624"/>
              <a:gd name="T27" fmla="*/ 2147483647 h 640"/>
              <a:gd name="T28" fmla="*/ 2147483647 w 624"/>
              <a:gd name="T29" fmla="*/ 2147483647 h 640"/>
              <a:gd name="T30" fmla="*/ 2147483647 w 624"/>
              <a:gd name="T31" fmla="*/ 2147483647 h 640"/>
              <a:gd name="T32" fmla="*/ 2147483647 w 624"/>
              <a:gd name="T33" fmla="*/ 2147483647 h 640"/>
              <a:gd name="T34" fmla="*/ 2147483647 w 624"/>
              <a:gd name="T35" fmla="*/ 2147483647 h 640"/>
              <a:gd name="T36" fmla="*/ 2147483647 w 624"/>
              <a:gd name="T37" fmla="*/ 2147483647 h 640"/>
              <a:gd name="T38" fmla="*/ 2147483647 w 624"/>
              <a:gd name="T39" fmla="*/ 2147483647 h 640"/>
              <a:gd name="T40" fmla="*/ 2147483647 w 624"/>
              <a:gd name="T41" fmla="*/ 2147483647 h 640"/>
              <a:gd name="T42" fmla="*/ 2147483647 w 624"/>
              <a:gd name="T43" fmla="*/ 2147483647 h 640"/>
              <a:gd name="T44" fmla="*/ 2147483647 w 624"/>
              <a:gd name="T45" fmla="*/ 2147483647 h 640"/>
              <a:gd name="T46" fmla="*/ 2147483647 w 624"/>
              <a:gd name="T47" fmla="*/ 2147483647 h 640"/>
              <a:gd name="T48" fmla="*/ 2147483647 w 624"/>
              <a:gd name="T49" fmla="*/ 2147483647 h 640"/>
              <a:gd name="T50" fmla="*/ 2147483647 w 624"/>
              <a:gd name="T51" fmla="*/ 2147483647 h 640"/>
              <a:gd name="T52" fmla="*/ 2147483647 w 624"/>
              <a:gd name="T53" fmla="*/ 2147483647 h 640"/>
              <a:gd name="T54" fmla="*/ 2147483647 w 624"/>
              <a:gd name="T55" fmla="*/ 2147483647 h 640"/>
              <a:gd name="T56" fmla="*/ 2147483647 w 624"/>
              <a:gd name="T57" fmla="*/ 2147483647 h 640"/>
              <a:gd name="T58" fmla="*/ 2147483647 w 624"/>
              <a:gd name="T59" fmla="*/ 2147483647 h 640"/>
              <a:gd name="T60" fmla="*/ 2147483647 w 624"/>
              <a:gd name="T61" fmla="*/ 2147483647 h 640"/>
              <a:gd name="T62" fmla="*/ 2147483647 w 624"/>
              <a:gd name="T63" fmla="*/ 2147483647 h 640"/>
              <a:gd name="T64" fmla="*/ 2147483647 w 624"/>
              <a:gd name="T65" fmla="*/ 2147483647 h 640"/>
              <a:gd name="T66" fmla="*/ 2147483647 w 624"/>
              <a:gd name="T67" fmla="*/ 2147483647 h 640"/>
              <a:gd name="T68" fmla="*/ 2147483647 w 624"/>
              <a:gd name="T69" fmla="*/ 2147483647 h 640"/>
              <a:gd name="T70" fmla="*/ 2147483647 w 624"/>
              <a:gd name="T71" fmla="*/ 2147483647 h 640"/>
              <a:gd name="T72" fmla="*/ 2147483647 w 624"/>
              <a:gd name="T73" fmla="*/ 2147483647 h 640"/>
              <a:gd name="T74" fmla="*/ 2147483647 w 624"/>
              <a:gd name="T75" fmla="*/ 2147483647 h 640"/>
              <a:gd name="T76" fmla="*/ 2147483647 w 624"/>
              <a:gd name="T77" fmla="*/ 2147483647 h 640"/>
              <a:gd name="T78" fmla="*/ 2147483647 w 624"/>
              <a:gd name="T79" fmla="*/ 2147483647 h 640"/>
              <a:gd name="T80" fmla="*/ 2147483647 w 624"/>
              <a:gd name="T81" fmla="*/ 2147483647 h 640"/>
              <a:gd name="T82" fmla="*/ 2147483647 w 624"/>
              <a:gd name="T83" fmla="*/ 2147483647 h 640"/>
              <a:gd name="T84" fmla="*/ 2147483647 w 624"/>
              <a:gd name="T85" fmla="*/ 2147483647 h 640"/>
              <a:gd name="T86" fmla="*/ 2147483647 w 624"/>
              <a:gd name="T87" fmla="*/ 2147483647 h 640"/>
              <a:gd name="T88" fmla="*/ 2147483647 w 624"/>
              <a:gd name="T89" fmla="*/ 2147483647 h 640"/>
              <a:gd name="T90" fmla="*/ 0 w 624"/>
              <a:gd name="T91" fmla="*/ 2147483647 h 640"/>
              <a:gd name="T92" fmla="*/ 0 w 624"/>
              <a:gd name="T93" fmla="*/ 2147483647 h 640"/>
              <a:gd name="T94" fmla="*/ 2147483647 w 624"/>
              <a:gd name="T95" fmla="*/ 2147483647 h 640"/>
              <a:gd name="T96" fmla="*/ 2147483647 w 624"/>
              <a:gd name="T97" fmla="*/ 2147483647 h 640"/>
              <a:gd name="T98" fmla="*/ 2147483647 w 624"/>
              <a:gd name="T99" fmla="*/ 2147483647 h 640"/>
              <a:gd name="T100" fmla="*/ 2147483647 w 624"/>
              <a:gd name="T101" fmla="*/ 2147483647 h 640"/>
              <a:gd name="T102" fmla="*/ 2147483647 w 624"/>
              <a:gd name="T103" fmla="*/ 2147483647 h 640"/>
              <a:gd name="T104" fmla="*/ 2147483647 w 624"/>
              <a:gd name="T105" fmla="*/ 214748364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C0C0C0"/>
          </a:solidFill>
          <a:ln w="9525" cmpd="sng">
            <a:solidFill>
              <a:srgbClr val="FFFFFF"/>
            </a:solidFill>
            <a:prstDash val="solid"/>
            <a:round/>
            <a:headEnd/>
            <a:tailEnd/>
          </a:ln>
        </p:spPr>
        <p:txBody>
          <a:bodyPr/>
          <a:lstStyle/>
          <a:p>
            <a:endParaRPr lang="en-AU"/>
          </a:p>
        </p:txBody>
      </p:sp>
      <p:sp>
        <p:nvSpPr>
          <p:cNvPr id="2368" name="Freeform 481"/>
          <p:cNvSpPr>
            <a:spLocks/>
          </p:cNvSpPr>
          <p:nvPr>
            <p:custDataLst>
              <p:tags r:id="rId319"/>
            </p:custDataLst>
          </p:nvPr>
        </p:nvSpPr>
        <p:spPr bwMode="auto">
          <a:xfrm>
            <a:off x="7313613" y="2209800"/>
            <a:ext cx="19050" cy="57150"/>
          </a:xfrm>
          <a:custGeom>
            <a:avLst/>
            <a:gdLst>
              <a:gd name="T0" fmla="*/ 2147483647 w 52"/>
              <a:gd name="T1" fmla="*/ 2147483647 h 50"/>
              <a:gd name="T2" fmla="*/ 0 w 52"/>
              <a:gd name="T3" fmla="*/ 2147483647 h 50"/>
              <a:gd name="T4" fmla="*/ 2147483647 w 52"/>
              <a:gd name="T5" fmla="*/ 2147483647 h 50"/>
              <a:gd name="T6" fmla="*/ 2147483647 w 52"/>
              <a:gd name="T7" fmla="*/ 2147483647 h 50"/>
              <a:gd name="T8" fmla="*/ 2147483647 w 52"/>
              <a:gd name="T9" fmla="*/ 2147483647 h 50"/>
              <a:gd name="T10" fmla="*/ 2147483647 w 52"/>
              <a:gd name="T11" fmla="*/ 2147483647 h 50"/>
              <a:gd name="T12" fmla="*/ 2147483647 w 52"/>
              <a:gd name="T13" fmla="*/ 2147483647 h 50"/>
              <a:gd name="T14" fmla="*/ 2147483647 w 52"/>
              <a:gd name="T15" fmla="*/ 2147483647 h 50"/>
              <a:gd name="T16" fmla="*/ 2147483647 w 52"/>
              <a:gd name="T17" fmla="*/ 2147483647 h 50"/>
              <a:gd name="T18" fmla="*/ 2147483647 w 52"/>
              <a:gd name="T19" fmla="*/ 0 h 50"/>
              <a:gd name="T20" fmla="*/ 2147483647 w 52"/>
              <a:gd name="T21" fmla="*/ 2147483647 h 50"/>
              <a:gd name="T22" fmla="*/ 2147483647 w 52"/>
              <a:gd name="T23" fmla="*/ 2147483647 h 50"/>
              <a:gd name="T24" fmla="*/ 2147483647 w 52"/>
              <a:gd name="T25" fmla="*/ 2147483647 h 50"/>
              <a:gd name="T26" fmla="*/ 2147483647 w 52"/>
              <a:gd name="T27" fmla="*/ 2147483647 h 50"/>
              <a:gd name="T28" fmla="*/ 2147483647 w 52"/>
              <a:gd name="T29" fmla="*/ 2147483647 h 50"/>
              <a:gd name="T30" fmla="*/ 2147483647 w 52"/>
              <a:gd name="T31" fmla="*/ 2147483647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369" name="Freeform 482"/>
          <p:cNvSpPr>
            <a:spLocks/>
          </p:cNvSpPr>
          <p:nvPr>
            <p:custDataLst>
              <p:tags r:id="rId320"/>
            </p:custDataLst>
          </p:nvPr>
        </p:nvSpPr>
        <p:spPr bwMode="auto">
          <a:xfrm>
            <a:off x="7172325" y="2211388"/>
            <a:ext cx="141288" cy="125412"/>
          </a:xfrm>
          <a:custGeom>
            <a:avLst/>
            <a:gdLst>
              <a:gd name="T0" fmla="*/ 2147483647 w 320"/>
              <a:gd name="T1" fmla="*/ 2147483647 h 234"/>
              <a:gd name="T2" fmla="*/ 2147483647 w 320"/>
              <a:gd name="T3" fmla="*/ 2147483647 h 234"/>
              <a:gd name="T4" fmla="*/ 2147483647 w 320"/>
              <a:gd name="T5" fmla="*/ 2147483647 h 234"/>
              <a:gd name="T6" fmla="*/ 2147483647 w 320"/>
              <a:gd name="T7" fmla="*/ 2147483647 h 234"/>
              <a:gd name="T8" fmla="*/ 2147483647 w 320"/>
              <a:gd name="T9" fmla="*/ 2147483647 h 234"/>
              <a:gd name="T10" fmla="*/ 2147483647 w 320"/>
              <a:gd name="T11" fmla="*/ 2147483647 h 234"/>
              <a:gd name="T12" fmla="*/ 2147483647 w 320"/>
              <a:gd name="T13" fmla="*/ 2147483647 h 234"/>
              <a:gd name="T14" fmla="*/ 2147483647 w 320"/>
              <a:gd name="T15" fmla="*/ 2147483647 h 234"/>
              <a:gd name="T16" fmla="*/ 2147483647 w 320"/>
              <a:gd name="T17" fmla="*/ 2147483647 h 234"/>
              <a:gd name="T18" fmla="*/ 2147483647 w 320"/>
              <a:gd name="T19" fmla="*/ 2147483647 h 234"/>
              <a:gd name="T20" fmla="*/ 2147483647 w 320"/>
              <a:gd name="T21" fmla="*/ 2147483647 h 234"/>
              <a:gd name="T22" fmla="*/ 2147483647 w 320"/>
              <a:gd name="T23" fmla="*/ 2147483647 h 234"/>
              <a:gd name="T24" fmla="*/ 2147483647 w 320"/>
              <a:gd name="T25" fmla="*/ 2147483647 h 234"/>
              <a:gd name="T26" fmla="*/ 2147483647 w 320"/>
              <a:gd name="T27" fmla="*/ 2147483647 h 234"/>
              <a:gd name="T28" fmla="*/ 2147483647 w 320"/>
              <a:gd name="T29" fmla="*/ 2147483647 h 234"/>
              <a:gd name="T30" fmla="*/ 2147483647 w 320"/>
              <a:gd name="T31" fmla="*/ 2147483647 h 234"/>
              <a:gd name="T32" fmla="*/ 2147483647 w 320"/>
              <a:gd name="T33" fmla="*/ 2147483647 h 234"/>
              <a:gd name="T34" fmla="*/ 2147483647 w 320"/>
              <a:gd name="T35" fmla="*/ 2147483647 h 234"/>
              <a:gd name="T36" fmla="*/ 2147483647 w 320"/>
              <a:gd name="T37" fmla="*/ 2147483647 h 234"/>
              <a:gd name="T38" fmla="*/ 2147483647 w 320"/>
              <a:gd name="T39" fmla="*/ 2147483647 h 234"/>
              <a:gd name="T40" fmla="*/ 2147483647 w 320"/>
              <a:gd name="T41" fmla="*/ 2147483647 h 234"/>
              <a:gd name="T42" fmla="*/ 2147483647 w 320"/>
              <a:gd name="T43" fmla="*/ 2147483647 h 234"/>
              <a:gd name="T44" fmla="*/ 2147483647 w 320"/>
              <a:gd name="T45" fmla="*/ 0 h 234"/>
              <a:gd name="T46" fmla="*/ 2147483647 w 320"/>
              <a:gd name="T47" fmla="*/ 0 h 234"/>
              <a:gd name="T48" fmla="*/ 2147483647 w 320"/>
              <a:gd name="T49" fmla="*/ 2147483647 h 234"/>
              <a:gd name="T50" fmla="*/ 2147483647 w 320"/>
              <a:gd name="T51" fmla="*/ 2147483647 h 234"/>
              <a:gd name="T52" fmla="*/ 2147483647 w 320"/>
              <a:gd name="T53" fmla="*/ 2147483647 h 234"/>
              <a:gd name="T54" fmla="*/ 2147483647 w 320"/>
              <a:gd name="T55" fmla="*/ 2147483647 h 234"/>
              <a:gd name="T56" fmla="*/ 2147483647 w 320"/>
              <a:gd name="T57" fmla="*/ 2147483647 h 234"/>
              <a:gd name="T58" fmla="*/ 2147483647 w 320"/>
              <a:gd name="T59" fmla="*/ 2147483647 h 234"/>
              <a:gd name="T60" fmla="*/ 2147483647 w 320"/>
              <a:gd name="T61" fmla="*/ 2147483647 h 234"/>
              <a:gd name="T62" fmla="*/ 2147483647 w 320"/>
              <a:gd name="T63" fmla="*/ 2147483647 h 234"/>
              <a:gd name="T64" fmla="*/ 2147483647 w 320"/>
              <a:gd name="T65" fmla="*/ 2147483647 h 234"/>
              <a:gd name="T66" fmla="*/ 2147483647 w 320"/>
              <a:gd name="T67" fmla="*/ 2147483647 h 234"/>
              <a:gd name="T68" fmla="*/ 2147483647 w 320"/>
              <a:gd name="T69" fmla="*/ 2147483647 h 234"/>
              <a:gd name="T70" fmla="*/ 2147483647 w 320"/>
              <a:gd name="T71" fmla="*/ 2147483647 h 234"/>
              <a:gd name="T72" fmla="*/ 2147483647 w 320"/>
              <a:gd name="T73" fmla="*/ 2147483647 h 234"/>
              <a:gd name="T74" fmla="*/ 2147483647 w 320"/>
              <a:gd name="T75" fmla="*/ 2147483647 h 234"/>
              <a:gd name="T76" fmla="*/ 2147483647 w 320"/>
              <a:gd name="T77" fmla="*/ 2147483647 h 234"/>
              <a:gd name="T78" fmla="*/ 2147483647 w 320"/>
              <a:gd name="T79" fmla="*/ 2147483647 h 234"/>
              <a:gd name="T80" fmla="*/ 2147483647 w 320"/>
              <a:gd name="T81" fmla="*/ 2147483647 h 234"/>
              <a:gd name="T82" fmla="*/ 2147483647 w 320"/>
              <a:gd name="T83" fmla="*/ 2147483647 h 234"/>
              <a:gd name="T84" fmla="*/ 2147483647 w 320"/>
              <a:gd name="T85" fmla="*/ 2147483647 h 234"/>
              <a:gd name="T86" fmla="*/ 2147483647 w 320"/>
              <a:gd name="T87" fmla="*/ 2147483647 h 234"/>
              <a:gd name="T88" fmla="*/ 2147483647 w 320"/>
              <a:gd name="T89" fmla="*/ 2147483647 h 234"/>
              <a:gd name="T90" fmla="*/ 2147483647 w 320"/>
              <a:gd name="T91" fmla="*/ 2147483647 h 234"/>
              <a:gd name="T92" fmla="*/ 2147483647 w 320"/>
              <a:gd name="T93" fmla="*/ 2147483647 h 234"/>
              <a:gd name="T94" fmla="*/ 2147483647 w 320"/>
              <a:gd name="T95" fmla="*/ 2147483647 h 234"/>
              <a:gd name="T96" fmla="*/ 2147483647 w 320"/>
              <a:gd name="T97" fmla="*/ 2147483647 h 234"/>
              <a:gd name="T98" fmla="*/ 2147483647 w 320"/>
              <a:gd name="T99" fmla="*/ 2147483647 h 234"/>
              <a:gd name="T100" fmla="*/ 2147483647 w 320"/>
              <a:gd name="T101" fmla="*/ 2147483647 h 234"/>
              <a:gd name="T102" fmla="*/ 2147483647 w 320"/>
              <a:gd name="T103" fmla="*/ 2147483647 h 234"/>
              <a:gd name="T104" fmla="*/ 2147483647 w 320"/>
              <a:gd name="T105" fmla="*/ 2147483647 h 234"/>
              <a:gd name="T106" fmla="*/ 2147483647 w 320"/>
              <a:gd name="T107" fmla="*/ 2147483647 h 234"/>
              <a:gd name="T108" fmla="*/ 2147483647 w 320"/>
              <a:gd name="T109" fmla="*/ 2147483647 h 234"/>
              <a:gd name="T110" fmla="*/ 2147483647 w 320"/>
              <a:gd name="T111" fmla="*/ 2147483647 h 234"/>
              <a:gd name="T112" fmla="*/ 2147483647 w 320"/>
              <a:gd name="T113" fmla="*/ 2147483647 h 234"/>
              <a:gd name="T114" fmla="*/ 2147483647 w 320"/>
              <a:gd name="T115" fmla="*/ 2147483647 h 234"/>
              <a:gd name="T116" fmla="*/ 2147483647 w 320"/>
              <a:gd name="T117" fmla="*/ 2147483647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ED2A09"/>
          </a:solidFill>
          <a:ln w="9525" cap="flat" cmpd="sng">
            <a:solidFill>
              <a:srgbClr val="FFFFFF"/>
            </a:solidFill>
            <a:prstDash val="solid"/>
            <a:round/>
            <a:headEnd type="none" w="med" len="med"/>
            <a:tailEnd type="none" w="med" len="med"/>
          </a:ln>
          <a:effectLst/>
        </p:spPr>
        <p:txBody>
          <a:bodyPr/>
          <a:lstStyle/>
          <a:p>
            <a:endParaRPr lang="en-AU"/>
          </a:p>
        </p:txBody>
      </p:sp>
      <p:sp>
        <p:nvSpPr>
          <p:cNvPr id="2370" name="Freeform 483"/>
          <p:cNvSpPr>
            <a:spLocks/>
          </p:cNvSpPr>
          <p:nvPr>
            <p:custDataLst>
              <p:tags r:id="rId321"/>
            </p:custDataLst>
          </p:nvPr>
        </p:nvSpPr>
        <p:spPr bwMode="auto">
          <a:xfrm>
            <a:off x="7142163" y="2565400"/>
            <a:ext cx="52387" cy="57150"/>
          </a:xfrm>
          <a:custGeom>
            <a:avLst/>
            <a:gdLst>
              <a:gd name="T0" fmla="*/ 2147483647 w 125"/>
              <a:gd name="T1" fmla="*/ 2147483647 h 93"/>
              <a:gd name="T2" fmla="*/ 2147483647 w 125"/>
              <a:gd name="T3" fmla="*/ 2147483647 h 93"/>
              <a:gd name="T4" fmla="*/ 2147483647 w 125"/>
              <a:gd name="T5" fmla="*/ 2147483647 h 93"/>
              <a:gd name="T6" fmla="*/ 2147483647 w 125"/>
              <a:gd name="T7" fmla="*/ 2147483647 h 93"/>
              <a:gd name="T8" fmla="*/ 2147483647 w 125"/>
              <a:gd name="T9" fmla="*/ 2147483647 h 93"/>
              <a:gd name="T10" fmla="*/ 2147483647 w 125"/>
              <a:gd name="T11" fmla="*/ 2147483647 h 93"/>
              <a:gd name="T12" fmla="*/ 2147483647 w 125"/>
              <a:gd name="T13" fmla="*/ 2147483647 h 93"/>
              <a:gd name="T14" fmla="*/ 2147483647 w 125"/>
              <a:gd name="T15" fmla="*/ 2147483647 h 93"/>
              <a:gd name="T16" fmla="*/ 2147483647 w 125"/>
              <a:gd name="T17" fmla="*/ 2147483647 h 93"/>
              <a:gd name="T18" fmla="*/ 2147483647 w 125"/>
              <a:gd name="T19" fmla="*/ 2147483647 h 93"/>
              <a:gd name="T20" fmla="*/ 2147483647 w 125"/>
              <a:gd name="T21" fmla="*/ 0 h 93"/>
              <a:gd name="T22" fmla="*/ 2147483647 w 125"/>
              <a:gd name="T23" fmla="*/ 0 h 93"/>
              <a:gd name="T24" fmla="*/ 2147483647 w 125"/>
              <a:gd name="T25" fmla="*/ 2147483647 h 93"/>
              <a:gd name="T26" fmla="*/ 2147483647 w 125"/>
              <a:gd name="T27" fmla="*/ 2147483647 h 93"/>
              <a:gd name="T28" fmla="*/ 2147483647 w 125"/>
              <a:gd name="T29" fmla="*/ 2147483647 h 93"/>
              <a:gd name="T30" fmla="*/ 2147483647 w 125"/>
              <a:gd name="T31" fmla="*/ 2147483647 h 93"/>
              <a:gd name="T32" fmla="*/ 2147483647 w 125"/>
              <a:gd name="T33" fmla="*/ 2147483647 h 93"/>
              <a:gd name="T34" fmla="*/ 2147483647 w 125"/>
              <a:gd name="T35" fmla="*/ 2147483647 h 93"/>
              <a:gd name="T36" fmla="*/ 2147483647 w 125"/>
              <a:gd name="T37" fmla="*/ 2147483647 h 93"/>
              <a:gd name="T38" fmla="*/ 2147483647 w 125"/>
              <a:gd name="T39" fmla="*/ 2147483647 h 93"/>
              <a:gd name="T40" fmla="*/ 2147483647 w 125"/>
              <a:gd name="T41" fmla="*/ 2147483647 h 93"/>
              <a:gd name="T42" fmla="*/ 2147483647 w 125"/>
              <a:gd name="T43" fmla="*/ 2147483647 h 93"/>
              <a:gd name="T44" fmla="*/ 2147483647 w 125"/>
              <a:gd name="T45" fmla="*/ 2147483647 h 93"/>
              <a:gd name="T46" fmla="*/ 2147483647 w 125"/>
              <a:gd name="T47" fmla="*/ 2147483647 h 93"/>
              <a:gd name="T48" fmla="*/ 2147483647 w 125"/>
              <a:gd name="T49" fmla="*/ 2147483647 h 93"/>
              <a:gd name="T50" fmla="*/ 2147483647 w 125"/>
              <a:gd name="T51" fmla="*/ 2147483647 h 93"/>
              <a:gd name="T52" fmla="*/ 2147483647 w 125"/>
              <a:gd name="T53" fmla="*/ 2147483647 h 93"/>
              <a:gd name="T54" fmla="*/ 2147483647 w 125"/>
              <a:gd name="T55" fmla="*/ 2147483647 h 93"/>
              <a:gd name="T56" fmla="*/ 2147483647 w 125"/>
              <a:gd name="T57" fmla="*/ 2147483647 h 93"/>
              <a:gd name="T58" fmla="*/ 2147483647 w 125"/>
              <a:gd name="T59" fmla="*/ 2147483647 h 93"/>
              <a:gd name="T60" fmla="*/ 2147483647 w 125"/>
              <a:gd name="T61" fmla="*/ 2147483647 h 93"/>
              <a:gd name="T62" fmla="*/ 2147483647 w 125"/>
              <a:gd name="T63" fmla="*/ 2147483647 h 93"/>
              <a:gd name="T64" fmla="*/ 2147483647 w 125"/>
              <a:gd name="T65" fmla="*/ 2147483647 h 93"/>
              <a:gd name="T66" fmla="*/ 2147483647 w 125"/>
              <a:gd name="T67" fmla="*/ 2147483647 h 93"/>
              <a:gd name="T68" fmla="*/ 0 w 125"/>
              <a:gd name="T69" fmla="*/ 2147483647 h 93"/>
              <a:gd name="T70" fmla="*/ 0 w 125"/>
              <a:gd name="T71" fmla="*/ 2147483647 h 93"/>
              <a:gd name="T72" fmla="*/ 2147483647 w 125"/>
              <a:gd name="T73" fmla="*/ 2147483647 h 93"/>
              <a:gd name="T74" fmla="*/ 2147483647 w 125"/>
              <a:gd name="T75" fmla="*/ 2147483647 h 93"/>
              <a:gd name="T76" fmla="*/ 2147483647 w 125"/>
              <a:gd name="T77" fmla="*/ 2147483647 h 93"/>
              <a:gd name="T78" fmla="*/ 2147483647 w 125"/>
              <a:gd name="T79" fmla="*/ 2147483647 h 93"/>
              <a:gd name="T80" fmla="*/ 2147483647 w 125"/>
              <a:gd name="T81" fmla="*/ 2147483647 h 93"/>
              <a:gd name="T82" fmla="*/ 2147483647 w 125"/>
              <a:gd name="T83" fmla="*/ 2147483647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ED2A09"/>
          </a:solidFill>
          <a:ln w="9525" cap="flat" cmpd="sng">
            <a:solidFill>
              <a:srgbClr val="FFFFFF"/>
            </a:solidFill>
            <a:prstDash val="solid"/>
            <a:round/>
            <a:headEnd type="none" w="med" len="med"/>
            <a:tailEnd type="none" w="med" len="med"/>
          </a:ln>
          <a:effectLst/>
        </p:spPr>
        <p:txBody>
          <a:bodyPr/>
          <a:lstStyle/>
          <a:p>
            <a:endParaRPr lang="en-AU"/>
          </a:p>
        </p:txBody>
      </p:sp>
      <p:sp>
        <p:nvSpPr>
          <p:cNvPr id="2371" name="Freeform 484"/>
          <p:cNvSpPr>
            <a:spLocks/>
          </p:cNvSpPr>
          <p:nvPr>
            <p:custDataLst>
              <p:tags r:id="rId322"/>
            </p:custDataLst>
          </p:nvPr>
        </p:nvSpPr>
        <p:spPr bwMode="auto">
          <a:xfrm>
            <a:off x="7088188" y="2579688"/>
            <a:ext cx="60325" cy="84137"/>
          </a:xfrm>
          <a:custGeom>
            <a:avLst/>
            <a:gdLst>
              <a:gd name="T0" fmla="*/ 2147483647 w 133"/>
              <a:gd name="T1" fmla="*/ 2147483647 h 154"/>
              <a:gd name="T2" fmla="*/ 2147483647 w 133"/>
              <a:gd name="T3" fmla="*/ 2147483647 h 154"/>
              <a:gd name="T4" fmla="*/ 2147483647 w 133"/>
              <a:gd name="T5" fmla="*/ 2147483647 h 154"/>
              <a:gd name="T6" fmla="*/ 2147483647 w 133"/>
              <a:gd name="T7" fmla="*/ 2147483647 h 154"/>
              <a:gd name="T8" fmla="*/ 2147483647 w 133"/>
              <a:gd name="T9" fmla="*/ 2147483647 h 154"/>
              <a:gd name="T10" fmla="*/ 2147483647 w 133"/>
              <a:gd name="T11" fmla="*/ 2147483647 h 154"/>
              <a:gd name="T12" fmla="*/ 2147483647 w 133"/>
              <a:gd name="T13" fmla="*/ 0 h 154"/>
              <a:gd name="T14" fmla="*/ 2147483647 w 133"/>
              <a:gd name="T15" fmla="*/ 2147483647 h 154"/>
              <a:gd name="T16" fmla="*/ 2147483647 w 133"/>
              <a:gd name="T17" fmla="*/ 2147483647 h 154"/>
              <a:gd name="T18" fmla="*/ 2147483647 w 133"/>
              <a:gd name="T19" fmla="*/ 2147483647 h 154"/>
              <a:gd name="T20" fmla="*/ 2147483647 w 133"/>
              <a:gd name="T21" fmla="*/ 2147483647 h 154"/>
              <a:gd name="T22" fmla="*/ 2147483647 w 133"/>
              <a:gd name="T23" fmla="*/ 2147483647 h 154"/>
              <a:gd name="T24" fmla="*/ 2147483647 w 133"/>
              <a:gd name="T25" fmla="*/ 2147483647 h 154"/>
              <a:gd name="T26" fmla="*/ 2147483647 w 133"/>
              <a:gd name="T27" fmla="*/ 2147483647 h 154"/>
              <a:gd name="T28" fmla="*/ 2147483647 w 133"/>
              <a:gd name="T29" fmla="*/ 2147483647 h 154"/>
              <a:gd name="T30" fmla="*/ 2147483647 w 133"/>
              <a:gd name="T31" fmla="*/ 2147483647 h 154"/>
              <a:gd name="T32" fmla="*/ 2147483647 w 133"/>
              <a:gd name="T33" fmla="*/ 2147483647 h 154"/>
              <a:gd name="T34" fmla="*/ 2147483647 w 133"/>
              <a:gd name="T35" fmla="*/ 2147483647 h 154"/>
              <a:gd name="T36" fmla="*/ 2147483647 w 133"/>
              <a:gd name="T37" fmla="*/ 2147483647 h 154"/>
              <a:gd name="T38" fmla="*/ 2147483647 w 133"/>
              <a:gd name="T39" fmla="*/ 2147483647 h 154"/>
              <a:gd name="T40" fmla="*/ 2147483647 w 133"/>
              <a:gd name="T41" fmla="*/ 2147483647 h 154"/>
              <a:gd name="T42" fmla="*/ 2147483647 w 133"/>
              <a:gd name="T43" fmla="*/ 2147483647 h 154"/>
              <a:gd name="T44" fmla="*/ 2147483647 w 133"/>
              <a:gd name="T45" fmla="*/ 2147483647 h 154"/>
              <a:gd name="T46" fmla="*/ 2147483647 w 133"/>
              <a:gd name="T47" fmla="*/ 2147483647 h 154"/>
              <a:gd name="T48" fmla="*/ 2147483647 w 133"/>
              <a:gd name="T49" fmla="*/ 2147483647 h 154"/>
              <a:gd name="T50" fmla="*/ 2147483647 w 133"/>
              <a:gd name="T51" fmla="*/ 2147483647 h 154"/>
              <a:gd name="T52" fmla="*/ 2147483647 w 133"/>
              <a:gd name="T53" fmla="*/ 2147483647 h 154"/>
              <a:gd name="T54" fmla="*/ 2147483647 w 133"/>
              <a:gd name="T55" fmla="*/ 2147483647 h 154"/>
              <a:gd name="T56" fmla="*/ 2147483647 w 133"/>
              <a:gd name="T57" fmla="*/ 2147483647 h 154"/>
              <a:gd name="T58" fmla="*/ 2147483647 w 133"/>
              <a:gd name="T59" fmla="*/ 2147483647 h 154"/>
              <a:gd name="T60" fmla="*/ 2147483647 w 133"/>
              <a:gd name="T61" fmla="*/ 2147483647 h 154"/>
              <a:gd name="T62" fmla="*/ 2147483647 w 133"/>
              <a:gd name="T63" fmla="*/ 2147483647 h 154"/>
              <a:gd name="T64" fmla="*/ 2147483647 w 133"/>
              <a:gd name="T65" fmla="*/ 2147483647 h 154"/>
              <a:gd name="T66" fmla="*/ 2147483647 w 133"/>
              <a:gd name="T67" fmla="*/ 2147483647 h 154"/>
              <a:gd name="T68" fmla="*/ 2147483647 w 133"/>
              <a:gd name="T69" fmla="*/ 2147483647 h 154"/>
              <a:gd name="T70" fmla="*/ 2147483647 w 133"/>
              <a:gd name="T71" fmla="*/ 2147483647 h 154"/>
              <a:gd name="T72" fmla="*/ 2147483647 w 133"/>
              <a:gd name="T73" fmla="*/ 2147483647 h 154"/>
              <a:gd name="T74" fmla="*/ 2147483647 w 133"/>
              <a:gd name="T75" fmla="*/ 2147483647 h 154"/>
              <a:gd name="T76" fmla="*/ 2147483647 w 133"/>
              <a:gd name="T77" fmla="*/ 2147483647 h 154"/>
              <a:gd name="T78" fmla="*/ 2147483647 w 133"/>
              <a:gd name="T79" fmla="*/ 2147483647 h 154"/>
              <a:gd name="T80" fmla="*/ 2147483647 w 133"/>
              <a:gd name="T81" fmla="*/ 2147483647 h 154"/>
              <a:gd name="T82" fmla="*/ 2147483647 w 133"/>
              <a:gd name="T83" fmla="*/ 2147483647 h 154"/>
              <a:gd name="T84" fmla="*/ 2147483647 w 133"/>
              <a:gd name="T85" fmla="*/ 2147483647 h 154"/>
              <a:gd name="T86" fmla="*/ 2147483647 w 133"/>
              <a:gd name="T87" fmla="*/ 2147483647 h 154"/>
              <a:gd name="T88" fmla="*/ 2147483647 w 133"/>
              <a:gd name="T89" fmla="*/ 2147483647 h 154"/>
              <a:gd name="T90" fmla="*/ 2147483647 w 133"/>
              <a:gd name="T91" fmla="*/ 2147483647 h 154"/>
              <a:gd name="T92" fmla="*/ 2147483647 w 133"/>
              <a:gd name="T93" fmla="*/ 2147483647 h 154"/>
              <a:gd name="T94" fmla="*/ 2147483647 w 133"/>
              <a:gd name="T95" fmla="*/ 2147483647 h 154"/>
              <a:gd name="T96" fmla="*/ 2147483647 w 133"/>
              <a:gd name="T97" fmla="*/ 2147483647 h 154"/>
              <a:gd name="T98" fmla="*/ 2147483647 w 133"/>
              <a:gd name="T99" fmla="*/ 2147483647 h 154"/>
              <a:gd name="T100" fmla="*/ 2147483647 w 133"/>
              <a:gd name="T101" fmla="*/ 2147483647 h 154"/>
              <a:gd name="T102" fmla="*/ 0 w 133"/>
              <a:gd name="T103" fmla="*/ 2147483647 h 154"/>
              <a:gd name="T104" fmla="*/ 0 w 133"/>
              <a:gd name="T105" fmla="*/ 2147483647 h 154"/>
              <a:gd name="T106" fmla="*/ 2147483647 w 133"/>
              <a:gd name="T107" fmla="*/ 2147483647 h 154"/>
              <a:gd name="T108" fmla="*/ 2147483647 w 133"/>
              <a:gd name="T109" fmla="*/ 2147483647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ED2A09"/>
          </a:solidFill>
          <a:ln w="9525" cap="flat" cmpd="sng">
            <a:solidFill>
              <a:srgbClr val="FFFFFF"/>
            </a:solidFill>
            <a:prstDash val="solid"/>
            <a:round/>
            <a:headEnd type="none" w="med" len="med"/>
            <a:tailEnd type="none" w="med" len="med"/>
          </a:ln>
          <a:effectLst/>
        </p:spPr>
        <p:txBody>
          <a:bodyPr/>
          <a:lstStyle/>
          <a:p>
            <a:endParaRPr lang="en-AU"/>
          </a:p>
        </p:txBody>
      </p:sp>
      <p:sp>
        <p:nvSpPr>
          <p:cNvPr id="2372" name="Freeform 485"/>
          <p:cNvSpPr>
            <a:spLocks/>
          </p:cNvSpPr>
          <p:nvPr>
            <p:custDataLst>
              <p:tags r:id="rId323"/>
            </p:custDataLst>
          </p:nvPr>
        </p:nvSpPr>
        <p:spPr bwMode="auto">
          <a:xfrm>
            <a:off x="7104063" y="2341563"/>
            <a:ext cx="209550" cy="244475"/>
          </a:xfrm>
          <a:custGeom>
            <a:avLst/>
            <a:gdLst>
              <a:gd name="T0" fmla="*/ 2147483647 w 485"/>
              <a:gd name="T1" fmla="*/ 2147483647 h 468"/>
              <a:gd name="T2" fmla="*/ 2147483647 w 485"/>
              <a:gd name="T3" fmla="*/ 2147483647 h 468"/>
              <a:gd name="T4" fmla="*/ 2147483647 w 485"/>
              <a:gd name="T5" fmla="*/ 2147483647 h 468"/>
              <a:gd name="T6" fmla="*/ 2147483647 w 485"/>
              <a:gd name="T7" fmla="*/ 2147483647 h 468"/>
              <a:gd name="T8" fmla="*/ 2147483647 w 485"/>
              <a:gd name="T9" fmla="*/ 2147483647 h 468"/>
              <a:gd name="T10" fmla="*/ 2147483647 w 485"/>
              <a:gd name="T11" fmla="*/ 2147483647 h 468"/>
              <a:gd name="T12" fmla="*/ 2147483647 w 485"/>
              <a:gd name="T13" fmla="*/ 2147483647 h 468"/>
              <a:gd name="T14" fmla="*/ 2147483647 w 485"/>
              <a:gd name="T15" fmla="*/ 2147483647 h 468"/>
              <a:gd name="T16" fmla="*/ 2147483647 w 485"/>
              <a:gd name="T17" fmla="*/ 2147483647 h 468"/>
              <a:gd name="T18" fmla="*/ 2147483647 w 485"/>
              <a:gd name="T19" fmla="*/ 2147483647 h 468"/>
              <a:gd name="T20" fmla="*/ 2147483647 w 485"/>
              <a:gd name="T21" fmla="*/ 2147483647 h 468"/>
              <a:gd name="T22" fmla="*/ 2147483647 w 485"/>
              <a:gd name="T23" fmla="*/ 2147483647 h 468"/>
              <a:gd name="T24" fmla="*/ 2147483647 w 485"/>
              <a:gd name="T25" fmla="*/ 2147483647 h 468"/>
              <a:gd name="T26" fmla="*/ 2147483647 w 485"/>
              <a:gd name="T27" fmla="*/ 2147483647 h 468"/>
              <a:gd name="T28" fmla="*/ 2147483647 w 485"/>
              <a:gd name="T29" fmla="*/ 2147483647 h 468"/>
              <a:gd name="T30" fmla="*/ 2147483647 w 485"/>
              <a:gd name="T31" fmla="*/ 2147483647 h 468"/>
              <a:gd name="T32" fmla="*/ 2147483647 w 485"/>
              <a:gd name="T33" fmla="*/ 2147483647 h 468"/>
              <a:gd name="T34" fmla="*/ 2147483647 w 485"/>
              <a:gd name="T35" fmla="*/ 2147483647 h 468"/>
              <a:gd name="T36" fmla="*/ 2147483647 w 485"/>
              <a:gd name="T37" fmla="*/ 2147483647 h 468"/>
              <a:gd name="T38" fmla="*/ 2147483647 w 485"/>
              <a:gd name="T39" fmla="*/ 2147483647 h 468"/>
              <a:gd name="T40" fmla="*/ 2147483647 w 485"/>
              <a:gd name="T41" fmla="*/ 2147483647 h 468"/>
              <a:gd name="T42" fmla="*/ 2147483647 w 485"/>
              <a:gd name="T43" fmla="*/ 2147483647 h 468"/>
              <a:gd name="T44" fmla="*/ 2147483647 w 485"/>
              <a:gd name="T45" fmla="*/ 2147483647 h 468"/>
              <a:gd name="T46" fmla="*/ 2147483647 w 485"/>
              <a:gd name="T47" fmla="*/ 2147483647 h 468"/>
              <a:gd name="T48" fmla="*/ 2147483647 w 485"/>
              <a:gd name="T49" fmla="*/ 2147483647 h 468"/>
              <a:gd name="T50" fmla="*/ 2147483647 w 485"/>
              <a:gd name="T51" fmla="*/ 2147483647 h 468"/>
              <a:gd name="T52" fmla="*/ 2147483647 w 485"/>
              <a:gd name="T53" fmla="*/ 2147483647 h 468"/>
              <a:gd name="T54" fmla="*/ 2147483647 w 485"/>
              <a:gd name="T55" fmla="*/ 2147483647 h 468"/>
              <a:gd name="T56" fmla="*/ 2147483647 w 485"/>
              <a:gd name="T57" fmla="*/ 2147483647 h 468"/>
              <a:gd name="T58" fmla="*/ 2147483647 w 485"/>
              <a:gd name="T59" fmla="*/ 2147483647 h 468"/>
              <a:gd name="T60" fmla="*/ 2147483647 w 485"/>
              <a:gd name="T61" fmla="*/ 2147483647 h 468"/>
              <a:gd name="T62" fmla="*/ 2147483647 w 485"/>
              <a:gd name="T63" fmla="*/ 2147483647 h 468"/>
              <a:gd name="T64" fmla="*/ 2147483647 w 485"/>
              <a:gd name="T65" fmla="*/ 2147483647 h 468"/>
              <a:gd name="T66" fmla="*/ 2147483647 w 485"/>
              <a:gd name="T67" fmla="*/ 2147483647 h 468"/>
              <a:gd name="T68" fmla="*/ 2147483647 w 485"/>
              <a:gd name="T69" fmla="*/ 2147483647 h 468"/>
              <a:gd name="T70" fmla="*/ 2147483647 w 485"/>
              <a:gd name="T71" fmla="*/ 2147483647 h 468"/>
              <a:gd name="T72" fmla="*/ 2147483647 w 485"/>
              <a:gd name="T73" fmla="*/ 2147483647 h 468"/>
              <a:gd name="T74" fmla="*/ 2147483647 w 485"/>
              <a:gd name="T75" fmla="*/ 2147483647 h 468"/>
              <a:gd name="T76" fmla="*/ 2147483647 w 485"/>
              <a:gd name="T77" fmla="*/ 2147483647 h 468"/>
              <a:gd name="T78" fmla="*/ 2147483647 w 485"/>
              <a:gd name="T79" fmla="*/ 2147483647 h 468"/>
              <a:gd name="T80" fmla="*/ 2147483647 w 485"/>
              <a:gd name="T81" fmla="*/ 2147483647 h 468"/>
              <a:gd name="T82" fmla="*/ 2147483647 w 485"/>
              <a:gd name="T83" fmla="*/ 2147483647 h 468"/>
              <a:gd name="T84" fmla="*/ 2147483647 w 485"/>
              <a:gd name="T85" fmla="*/ 2147483647 h 468"/>
              <a:gd name="T86" fmla="*/ 2147483647 w 485"/>
              <a:gd name="T87" fmla="*/ 2147483647 h 468"/>
              <a:gd name="T88" fmla="*/ 2147483647 w 485"/>
              <a:gd name="T89" fmla="*/ 2147483647 h 468"/>
              <a:gd name="T90" fmla="*/ 2147483647 w 485"/>
              <a:gd name="T91" fmla="*/ 2147483647 h 468"/>
              <a:gd name="T92" fmla="*/ 2147483647 w 485"/>
              <a:gd name="T93" fmla="*/ 2147483647 h 468"/>
              <a:gd name="T94" fmla="*/ 2147483647 w 485"/>
              <a:gd name="T95" fmla="*/ 2147483647 h 468"/>
              <a:gd name="T96" fmla="*/ 2147483647 w 485"/>
              <a:gd name="T97" fmla="*/ 2147483647 h 468"/>
              <a:gd name="T98" fmla="*/ 2147483647 w 485"/>
              <a:gd name="T99" fmla="*/ 2147483647 h 468"/>
              <a:gd name="T100" fmla="*/ 2147483647 w 485"/>
              <a:gd name="T101" fmla="*/ 2147483647 h 468"/>
              <a:gd name="T102" fmla="*/ 2147483647 w 485"/>
              <a:gd name="T103" fmla="*/ 2147483647 h 468"/>
              <a:gd name="T104" fmla="*/ 2147483647 w 485"/>
              <a:gd name="T105" fmla="*/ 2147483647 h 468"/>
              <a:gd name="T106" fmla="*/ 2147483647 w 485"/>
              <a:gd name="T107" fmla="*/ 2147483647 h 468"/>
              <a:gd name="T108" fmla="*/ 2147483647 w 485"/>
              <a:gd name="T109" fmla="*/ 2147483647 h 468"/>
              <a:gd name="T110" fmla="*/ 2147483647 w 485"/>
              <a:gd name="T111" fmla="*/ 2147483647 h 468"/>
              <a:gd name="T112" fmla="*/ 2147483647 w 485"/>
              <a:gd name="T113" fmla="*/ 2147483647 h 468"/>
              <a:gd name="T114" fmla="*/ 0 w 485"/>
              <a:gd name="T115" fmla="*/ 2147483647 h 468"/>
              <a:gd name="T116" fmla="*/ 2147483647 w 485"/>
              <a:gd name="T117" fmla="*/ 2147483647 h 468"/>
              <a:gd name="T118" fmla="*/ 2147483647 w 485"/>
              <a:gd name="T119" fmla="*/ 2147483647 h 468"/>
              <a:gd name="T120" fmla="*/ 2147483647 w 485"/>
              <a:gd name="T121" fmla="*/ 2147483647 h 468"/>
              <a:gd name="T122" fmla="*/ 2147483647 w 485"/>
              <a:gd name="T123" fmla="*/ 2147483647 h 468"/>
              <a:gd name="T124" fmla="*/ 2147483647 w 485"/>
              <a:gd name="T125" fmla="*/ 2147483647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FF0000"/>
          </a:solidFill>
          <a:ln w="9525" cap="flat" cmpd="sng">
            <a:solidFill>
              <a:srgbClr val="FFFFFF"/>
            </a:solidFill>
            <a:prstDash val="solid"/>
            <a:round/>
            <a:headEnd type="none" w="med" len="med"/>
            <a:tailEnd type="none" w="med" len="med"/>
          </a:ln>
        </p:spPr>
        <p:txBody>
          <a:bodyPr/>
          <a:lstStyle/>
          <a:p>
            <a:endParaRPr lang="en-AU"/>
          </a:p>
        </p:txBody>
      </p:sp>
      <p:sp>
        <p:nvSpPr>
          <p:cNvPr id="2373" name="Freeform 486"/>
          <p:cNvSpPr>
            <a:spLocks/>
          </p:cNvSpPr>
          <p:nvPr>
            <p:custDataLst>
              <p:tags r:id="rId324"/>
            </p:custDataLst>
          </p:nvPr>
        </p:nvSpPr>
        <p:spPr bwMode="auto">
          <a:xfrm>
            <a:off x="4687888" y="1231900"/>
            <a:ext cx="107950" cy="60325"/>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2147483647 w 246"/>
              <a:gd name="T91" fmla="*/ 2147483647 h 42"/>
              <a:gd name="T92" fmla="*/ 0 w 246"/>
              <a:gd name="T93" fmla="*/ 2147483647 h 42"/>
              <a:gd name="T94" fmla="*/ 2147483647 w 246"/>
              <a:gd name="T95" fmla="*/ 2147483647 h 42"/>
              <a:gd name="T96" fmla="*/ 2147483647 w 246"/>
              <a:gd name="T97" fmla="*/ 2147483647 h 42"/>
              <a:gd name="T98" fmla="*/ 2147483647 w 246"/>
              <a:gd name="T99" fmla="*/ 2147483647 h 42"/>
              <a:gd name="T100" fmla="*/ 2147483647 w 246"/>
              <a:gd name="T101" fmla="*/ 2147483647 h 42"/>
              <a:gd name="T102" fmla="*/ 2147483647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374" name="Freeform 487"/>
          <p:cNvSpPr>
            <a:spLocks/>
          </p:cNvSpPr>
          <p:nvPr>
            <p:custDataLst>
              <p:tags r:id="rId325"/>
            </p:custDataLst>
          </p:nvPr>
        </p:nvSpPr>
        <p:spPr bwMode="auto">
          <a:xfrm>
            <a:off x="4830763" y="1214438"/>
            <a:ext cx="63500" cy="57150"/>
          </a:xfrm>
          <a:custGeom>
            <a:avLst/>
            <a:gdLst>
              <a:gd name="T0" fmla="*/ 2147483647 w 149"/>
              <a:gd name="T1" fmla="*/ 0 h 61"/>
              <a:gd name="T2" fmla="*/ 2147483647 w 149"/>
              <a:gd name="T3" fmla="*/ 2147483647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2147483647 w 149"/>
              <a:gd name="T57" fmla="*/ 2147483647 h 61"/>
              <a:gd name="T58" fmla="*/ 2147483647 w 149"/>
              <a:gd name="T59" fmla="*/ 2147483647 h 61"/>
              <a:gd name="T60" fmla="*/ 2147483647 w 149"/>
              <a:gd name="T61" fmla="*/ 2147483647 h 61"/>
              <a:gd name="T62" fmla="*/ 2147483647 w 149"/>
              <a:gd name="T63" fmla="*/ 2147483647 h 61"/>
              <a:gd name="T64" fmla="*/ 0 w 149"/>
              <a:gd name="T65" fmla="*/ 2147483647 h 61"/>
              <a:gd name="T66" fmla="*/ 0 w 149"/>
              <a:gd name="T67" fmla="*/ 2147483647 h 61"/>
              <a:gd name="T68" fmla="*/ 2147483647 w 149"/>
              <a:gd name="T69" fmla="*/ 2147483647 h 61"/>
              <a:gd name="T70" fmla="*/ 2147483647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375" name="Freeform 488"/>
          <p:cNvSpPr>
            <a:spLocks/>
          </p:cNvSpPr>
          <p:nvPr>
            <p:custDataLst>
              <p:tags r:id="rId326"/>
            </p:custDataLst>
          </p:nvPr>
        </p:nvSpPr>
        <p:spPr bwMode="auto">
          <a:xfrm>
            <a:off x="4867275" y="1222375"/>
            <a:ext cx="130175" cy="57150"/>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2147483647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2147483647 w 299"/>
              <a:gd name="T63" fmla="*/ 2147483647 h 74"/>
              <a:gd name="T64" fmla="*/ 2147483647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376" name="Freeform 489"/>
          <p:cNvSpPr>
            <a:spLocks/>
          </p:cNvSpPr>
          <p:nvPr>
            <p:custDataLst>
              <p:tags r:id="rId327"/>
            </p:custDataLst>
          </p:nvPr>
        </p:nvSpPr>
        <p:spPr bwMode="auto">
          <a:xfrm>
            <a:off x="5400675" y="1408113"/>
            <a:ext cx="41275" cy="57150"/>
          </a:xfrm>
          <a:custGeom>
            <a:avLst/>
            <a:gdLst>
              <a:gd name="T0" fmla="*/ 2147483647 w 100"/>
              <a:gd name="T1" fmla="*/ 0 h 42"/>
              <a:gd name="T2" fmla="*/ 2147483647 w 100"/>
              <a:gd name="T3" fmla="*/ 2147483647 h 42"/>
              <a:gd name="T4" fmla="*/ 2147483647 w 100"/>
              <a:gd name="T5" fmla="*/ 2147483647 h 42"/>
              <a:gd name="T6" fmla="*/ 2147483647 w 100"/>
              <a:gd name="T7" fmla="*/ 2147483647 h 42"/>
              <a:gd name="T8" fmla="*/ 2147483647 w 100"/>
              <a:gd name="T9" fmla="*/ 2147483647 h 42"/>
              <a:gd name="T10" fmla="*/ 2147483647 w 100"/>
              <a:gd name="T11" fmla="*/ 2147483647 h 42"/>
              <a:gd name="T12" fmla="*/ 2147483647 w 100"/>
              <a:gd name="T13" fmla="*/ 2147483647 h 42"/>
              <a:gd name="T14" fmla="*/ 2147483647 w 100"/>
              <a:gd name="T15" fmla="*/ 2147483647 h 42"/>
              <a:gd name="T16" fmla="*/ 2147483647 w 100"/>
              <a:gd name="T17" fmla="*/ 2147483647 h 42"/>
              <a:gd name="T18" fmla="*/ 2147483647 w 100"/>
              <a:gd name="T19" fmla="*/ 2147483647 h 42"/>
              <a:gd name="T20" fmla="*/ 2147483647 w 100"/>
              <a:gd name="T21" fmla="*/ 2147483647 h 42"/>
              <a:gd name="T22" fmla="*/ 2147483647 w 100"/>
              <a:gd name="T23" fmla="*/ 2147483647 h 42"/>
              <a:gd name="T24" fmla="*/ 2147483647 w 100"/>
              <a:gd name="T25" fmla="*/ 2147483647 h 42"/>
              <a:gd name="T26" fmla="*/ 2147483647 w 100"/>
              <a:gd name="T27" fmla="*/ 2147483647 h 42"/>
              <a:gd name="T28" fmla="*/ 0 w 100"/>
              <a:gd name="T29" fmla="*/ 2147483647 h 42"/>
              <a:gd name="T30" fmla="*/ 2147483647 w 100"/>
              <a:gd name="T31" fmla="*/ 2147483647 h 42"/>
              <a:gd name="T32" fmla="*/ 2147483647 w 100"/>
              <a:gd name="T33" fmla="*/ 2147483647 h 42"/>
              <a:gd name="T34" fmla="*/ 2147483647 w 100"/>
              <a:gd name="T35" fmla="*/ 2147483647 h 42"/>
              <a:gd name="T36" fmla="*/ 2147483647 w 100"/>
              <a:gd name="T37" fmla="*/ 2147483647 h 42"/>
              <a:gd name="T38" fmla="*/ 2147483647 w 100"/>
              <a:gd name="T39" fmla="*/ 2147483647 h 42"/>
              <a:gd name="T40" fmla="*/ 2147483647 w 100"/>
              <a:gd name="T41" fmla="*/ 2147483647 h 42"/>
              <a:gd name="T42" fmla="*/ 2147483647 w 100"/>
              <a:gd name="T43" fmla="*/ 2147483647 h 42"/>
              <a:gd name="T44" fmla="*/ 2147483647 w 100"/>
              <a:gd name="T45" fmla="*/ 2147483647 h 42"/>
              <a:gd name="T46" fmla="*/ 2147483647 w 100"/>
              <a:gd name="T47" fmla="*/ 2147483647 h 42"/>
              <a:gd name="T48" fmla="*/ 2147483647 w 100"/>
              <a:gd name="T49" fmla="*/ 2147483647 h 42"/>
              <a:gd name="T50" fmla="*/ 2147483647 w 100"/>
              <a:gd name="T51" fmla="*/ 0 h 42"/>
              <a:gd name="T52" fmla="*/ 2147483647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377" name="Freeform 490"/>
          <p:cNvSpPr>
            <a:spLocks/>
          </p:cNvSpPr>
          <p:nvPr>
            <p:custDataLst>
              <p:tags r:id="rId328"/>
            </p:custDataLst>
          </p:nvPr>
        </p:nvSpPr>
        <p:spPr bwMode="auto">
          <a:xfrm>
            <a:off x="5310188" y="1266825"/>
            <a:ext cx="15875" cy="58738"/>
          </a:xfrm>
          <a:custGeom>
            <a:avLst/>
            <a:gdLst>
              <a:gd name="T0" fmla="*/ 2147483647 w 40"/>
              <a:gd name="T1" fmla="*/ 2147483647 h 5"/>
              <a:gd name="T2" fmla="*/ 0 w 40"/>
              <a:gd name="T3" fmla="*/ 2147483647 h 5"/>
              <a:gd name="T4" fmla="*/ 2147483647 w 40"/>
              <a:gd name="T5" fmla="*/ 2147483647 h 5"/>
              <a:gd name="T6" fmla="*/ 2147483647 w 40"/>
              <a:gd name="T7" fmla="*/ 2147483647 h 5"/>
              <a:gd name="T8" fmla="*/ 2147483647 w 40"/>
              <a:gd name="T9" fmla="*/ 0 h 5"/>
              <a:gd name="T10" fmla="*/ 2147483647 w 40"/>
              <a:gd name="T11" fmla="*/ 0 h 5"/>
              <a:gd name="T12" fmla="*/ 2147483647 w 40"/>
              <a:gd name="T13" fmla="*/ 0 h 5"/>
              <a:gd name="T14" fmla="*/ 2147483647 w 40"/>
              <a:gd name="T15" fmla="*/ 2147483647 h 5"/>
              <a:gd name="T16" fmla="*/ 2147483647 w 40"/>
              <a:gd name="T17" fmla="*/ 2147483647 h 5"/>
              <a:gd name="T18" fmla="*/ 2147483647 w 40"/>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378" name="Freeform 491"/>
          <p:cNvSpPr>
            <a:spLocks/>
          </p:cNvSpPr>
          <p:nvPr>
            <p:custDataLst>
              <p:tags r:id="rId329"/>
            </p:custDataLst>
          </p:nvPr>
        </p:nvSpPr>
        <p:spPr bwMode="auto">
          <a:xfrm>
            <a:off x="5332413" y="1225550"/>
            <a:ext cx="14287" cy="60325"/>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0 w 33"/>
              <a:gd name="T17" fmla="*/ 2147483647 h 31"/>
              <a:gd name="T18" fmla="*/ 0 w 33"/>
              <a:gd name="T19" fmla="*/ 2147483647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379" name="Freeform 492"/>
          <p:cNvSpPr>
            <a:spLocks/>
          </p:cNvSpPr>
          <p:nvPr>
            <p:custDataLst>
              <p:tags r:id="rId330"/>
            </p:custDataLst>
          </p:nvPr>
        </p:nvSpPr>
        <p:spPr bwMode="auto">
          <a:xfrm>
            <a:off x="5476875" y="1341438"/>
            <a:ext cx="17463" cy="57150"/>
          </a:xfrm>
          <a:custGeom>
            <a:avLst/>
            <a:gdLst>
              <a:gd name="T0" fmla="*/ 2147483647 w 41"/>
              <a:gd name="T1" fmla="*/ 0 h 43"/>
              <a:gd name="T2" fmla="*/ 2147483647 w 41"/>
              <a:gd name="T3" fmla="*/ 2147483647 h 43"/>
              <a:gd name="T4" fmla="*/ 2147483647 w 41"/>
              <a:gd name="T5" fmla="*/ 2147483647 h 43"/>
              <a:gd name="T6" fmla="*/ 2147483647 w 41"/>
              <a:gd name="T7" fmla="*/ 2147483647 h 43"/>
              <a:gd name="T8" fmla="*/ 2147483647 w 41"/>
              <a:gd name="T9" fmla="*/ 2147483647 h 43"/>
              <a:gd name="T10" fmla="*/ 2147483647 w 41"/>
              <a:gd name="T11" fmla="*/ 2147483647 h 43"/>
              <a:gd name="T12" fmla="*/ 2147483647 w 41"/>
              <a:gd name="T13" fmla="*/ 2147483647 h 43"/>
              <a:gd name="T14" fmla="*/ 0 w 41"/>
              <a:gd name="T15" fmla="*/ 2147483647 h 43"/>
              <a:gd name="T16" fmla="*/ 2147483647 w 41"/>
              <a:gd name="T17" fmla="*/ 2147483647 h 43"/>
              <a:gd name="T18" fmla="*/ 2147483647 w 41"/>
              <a:gd name="T19" fmla="*/ 2147483647 h 43"/>
              <a:gd name="T20" fmla="*/ 2147483647 w 41"/>
              <a:gd name="T21" fmla="*/ 2147483647 h 43"/>
              <a:gd name="T22" fmla="*/ 2147483647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380" name="Freeform 493"/>
          <p:cNvSpPr>
            <a:spLocks/>
          </p:cNvSpPr>
          <p:nvPr>
            <p:custDataLst>
              <p:tags r:id="rId331"/>
            </p:custDataLst>
          </p:nvPr>
        </p:nvSpPr>
        <p:spPr bwMode="auto">
          <a:xfrm>
            <a:off x="5530850" y="1225550"/>
            <a:ext cx="93663" cy="60325"/>
          </a:xfrm>
          <a:custGeom>
            <a:avLst/>
            <a:gdLst>
              <a:gd name="T0" fmla="*/ 2147483647 w 213"/>
              <a:gd name="T1" fmla="*/ 0 h 62"/>
              <a:gd name="T2" fmla="*/ 2147483647 w 213"/>
              <a:gd name="T3" fmla="*/ 0 h 62"/>
              <a:gd name="T4" fmla="*/ 2147483647 w 213"/>
              <a:gd name="T5" fmla="*/ 2147483647 h 62"/>
              <a:gd name="T6" fmla="*/ 2147483647 w 213"/>
              <a:gd name="T7" fmla="*/ 2147483647 h 62"/>
              <a:gd name="T8" fmla="*/ 2147483647 w 213"/>
              <a:gd name="T9" fmla="*/ 2147483647 h 62"/>
              <a:gd name="T10" fmla="*/ 2147483647 w 213"/>
              <a:gd name="T11" fmla="*/ 2147483647 h 62"/>
              <a:gd name="T12" fmla="*/ 2147483647 w 213"/>
              <a:gd name="T13" fmla="*/ 2147483647 h 62"/>
              <a:gd name="T14" fmla="*/ 2147483647 w 213"/>
              <a:gd name="T15" fmla="*/ 2147483647 h 62"/>
              <a:gd name="T16" fmla="*/ 2147483647 w 213"/>
              <a:gd name="T17" fmla="*/ 2147483647 h 62"/>
              <a:gd name="T18" fmla="*/ 2147483647 w 213"/>
              <a:gd name="T19" fmla="*/ 2147483647 h 62"/>
              <a:gd name="T20" fmla="*/ 2147483647 w 213"/>
              <a:gd name="T21" fmla="*/ 2147483647 h 62"/>
              <a:gd name="T22" fmla="*/ 2147483647 w 213"/>
              <a:gd name="T23" fmla="*/ 2147483647 h 62"/>
              <a:gd name="T24" fmla="*/ 2147483647 w 213"/>
              <a:gd name="T25" fmla="*/ 2147483647 h 62"/>
              <a:gd name="T26" fmla="*/ 2147483647 w 213"/>
              <a:gd name="T27" fmla="*/ 2147483647 h 62"/>
              <a:gd name="T28" fmla="*/ 2147483647 w 213"/>
              <a:gd name="T29" fmla="*/ 2147483647 h 62"/>
              <a:gd name="T30" fmla="*/ 2147483647 w 213"/>
              <a:gd name="T31" fmla="*/ 2147483647 h 62"/>
              <a:gd name="T32" fmla="*/ 2147483647 w 213"/>
              <a:gd name="T33" fmla="*/ 2147483647 h 62"/>
              <a:gd name="T34" fmla="*/ 2147483647 w 213"/>
              <a:gd name="T35" fmla="*/ 2147483647 h 62"/>
              <a:gd name="T36" fmla="*/ 2147483647 w 213"/>
              <a:gd name="T37" fmla="*/ 2147483647 h 62"/>
              <a:gd name="T38" fmla="*/ 2147483647 w 213"/>
              <a:gd name="T39" fmla="*/ 2147483647 h 62"/>
              <a:gd name="T40" fmla="*/ 2147483647 w 213"/>
              <a:gd name="T41" fmla="*/ 2147483647 h 62"/>
              <a:gd name="T42" fmla="*/ 2147483647 w 213"/>
              <a:gd name="T43" fmla="*/ 2147483647 h 62"/>
              <a:gd name="T44" fmla="*/ 2147483647 w 213"/>
              <a:gd name="T45" fmla="*/ 2147483647 h 62"/>
              <a:gd name="T46" fmla="*/ 2147483647 w 213"/>
              <a:gd name="T47" fmla="*/ 2147483647 h 62"/>
              <a:gd name="T48" fmla="*/ 2147483647 w 213"/>
              <a:gd name="T49" fmla="*/ 2147483647 h 62"/>
              <a:gd name="T50" fmla="*/ 2147483647 w 213"/>
              <a:gd name="T51" fmla="*/ 2147483647 h 62"/>
              <a:gd name="T52" fmla="*/ 0 w 213"/>
              <a:gd name="T53" fmla="*/ 2147483647 h 62"/>
              <a:gd name="T54" fmla="*/ 2147483647 w 213"/>
              <a:gd name="T55" fmla="*/ 2147483647 h 62"/>
              <a:gd name="T56" fmla="*/ 2147483647 w 213"/>
              <a:gd name="T57" fmla="*/ 2147483647 h 62"/>
              <a:gd name="T58" fmla="*/ 2147483647 w 213"/>
              <a:gd name="T59" fmla="*/ 2147483647 h 62"/>
              <a:gd name="T60" fmla="*/ 2147483647 w 213"/>
              <a:gd name="T61" fmla="*/ 2147483647 h 62"/>
              <a:gd name="T62" fmla="*/ 2147483647 w 213"/>
              <a:gd name="T63" fmla="*/ 2147483647 h 62"/>
              <a:gd name="T64" fmla="*/ 2147483647 w 213"/>
              <a:gd name="T65" fmla="*/ 2147483647 h 62"/>
              <a:gd name="T66" fmla="*/ 2147483647 w 213"/>
              <a:gd name="T67" fmla="*/ 2147483647 h 62"/>
              <a:gd name="T68" fmla="*/ 2147483647 w 213"/>
              <a:gd name="T69" fmla="*/ 2147483647 h 62"/>
              <a:gd name="T70" fmla="*/ 2147483647 w 213"/>
              <a:gd name="T71" fmla="*/ 2147483647 h 62"/>
              <a:gd name="T72" fmla="*/ 2147483647 w 213"/>
              <a:gd name="T73" fmla="*/ 2147483647 h 62"/>
              <a:gd name="T74" fmla="*/ 2147483647 w 213"/>
              <a:gd name="T75" fmla="*/ 0 h 62"/>
              <a:gd name="T76" fmla="*/ 2147483647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381" name="Freeform 494"/>
          <p:cNvSpPr>
            <a:spLocks/>
          </p:cNvSpPr>
          <p:nvPr>
            <p:custDataLst>
              <p:tags r:id="rId332"/>
            </p:custDataLst>
          </p:nvPr>
        </p:nvSpPr>
        <p:spPr bwMode="auto">
          <a:xfrm>
            <a:off x="5591175" y="1250950"/>
            <a:ext cx="103188" cy="60325"/>
          </a:xfrm>
          <a:custGeom>
            <a:avLst/>
            <a:gdLst>
              <a:gd name="T0" fmla="*/ 2147483647 w 239"/>
              <a:gd name="T1" fmla="*/ 0 h 56"/>
              <a:gd name="T2" fmla="*/ 2147483647 w 239"/>
              <a:gd name="T3" fmla="*/ 2147483647 h 56"/>
              <a:gd name="T4" fmla="*/ 2147483647 w 239"/>
              <a:gd name="T5" fmla="*/ 2147483647 h 56"/>
              <a:gd name="T6" fmla="*/ 2147483647 w 239"/>
              <a:gd name="T7" fmla="*/ 2147483647 h 56"/>
              <a:gd name="T8" fmla="*/ 2147483647 w 239"/>
              <a:gd name="T9" fmla="*/ 2147483647 h 56"/>
              <a:gd name="T10" fmla="*/ 2147483647 w 239"/>
              <a:gd name="T11" fmla="*/ 2147483647 h 56"/>
              <a:gd name="T12" fmla="*/ 2147483647 w 239"/>
              <a:gd name="T13" fmla="*/ 2147483647 h 56"/>
              <a:gd name="T14" fmla="*/ 2147483647 w 239"/>
              <a:gd name="T15" fmla="*/ 2147483647 h 56"/>
              <a:gd name="T16" fmla="*/ 0 w 239"/>
              <a:gd name="T17" fmla="*/ 2147483647 h 56"/>
              <a:gd name="T18" fmla="*/ 2147483647 w 239"/>
              <a:gd name="T19" fmla="*/ 2147483647 h 56"/>
              <a:gd name="T20" fmla="*/ 2147483647 w 239"/>
              <a:gd name="T21" fmla="*/ 2147483647 h 56"/>
              <a:gd name="T22" fmla="*/ 2147483647 w 239"/>
              <a:gd name="T23" fmla="*/ 2147483647 h 56"/>
              <a:gd name="T24" fmla="*/ 2147483647 w 239"/>
              <a:gd name="T25" fmla="*/ 2147483647 h 56"/>
              <a:gd name="T26" fmla="*/ 2147483647 w 239"/>
              <a:gd name="T27" fmla="*/ 2147483647 h 56"/>
              <a:gd name="T28" fmla="*/ 2147483647 w 239"/>
              <a:gd name="T29" fmla="*/ 2147483647 h 56"/>
              <a:gd name="T30" fmla="*/ 2147483647 w 239"/>
              <a:gd name="T31" fmla="*/ 2147483647 h 56"/>
              <a:gd name="T32" fmla="*/ 2147483647 w 239"/>
              <a:gd name="T33" fmla="*/ 2147483647 h 56"/>
              <a:gd name="T34" fmla="*/ 2147483647 w 239"/>
              <a:gd name="T35" fmla="*/ 2147483647 h 56"/>
              <a:gd name="T36" fmla="*/ 2147483647 w 239"/>
              <a:gd name="T37" fmla="*/ 2147483647 h 56"/>
              <a:gd name="T38" fmla="*/ 2147483647 w 239"/>
              <a:gd name="T39" fmla="*/ 2147483647 h 56"/>
              <a:gd name="T40" fmla="*/ 2147483647 w 239"/>
              <a:gd name="T41" fmla="*/ 2147483647 h 56"/>
              <a:gd name="T42" fmla="*/ 2147483647 w 239"/>
              <a:gd name="T43" fmla="*/ 2147483647 h 56"/>
              <a:gd name="T44" fmla="*/ 2147483647 w 239"/>
              <a:gd name="T45" fmla="*/ 2147483647 h 56"/>
              <a:gd name="T46" fmla="*/ 2147483647 w 239"/>
              <a:gd name="T47" fmla="*/ 2147483647 h 56"/>
              <a:gd name="T48" fmla="*/ 2147483647 w 239"/>
              <a:gd name="T49" fmla="*/ 2147483647 h 56"/>
              <a:gd name="T50" fmla="*/ 2147483647 w 239"/>
              <a:gd name="T51" fmla="*/ 2147483647 h 56"/>
              <a:gd name="T52" fmla="*/ 2147483647 w 239"/>
              <a:gd name="T53" fmla="*/ 2147483647 h 56"/>
              <a:gd name="T54" fmla="*/ 2147483647 w 239"/>
              <a:gd name="T55" fmla="*/ 2147483647 h 56"/>
              <a:gd name="T56" fmla="*/ 2147483647 w 239"/>
              <a:gd name="T57" fmla="*/ 2147483647 h 56"/>
              <a:gd name="T58" fmla="*/ 2147483647 w 239"/>
              <a:gd name="T59" fmla="*/ 2147483647 h 56"/>
              <a:gd name="T60" fmla="*/ 2147483647 w 239"/>
              <a:gd name="T61" fmla="*/ 2147483647 h 56"/>
              <a:gd name="T62" fmla="*/ 2147483647 w 239"/>
              <a:gd name="T63" fmla="*/ 2147483647 h 56"/>
              <a:gd name="T64" fmla="*/ 2147483647 w 239"/>
              <a:gd name="T65" fmla="*/ 2147483647 h 56"/>
              <a:gd name="T66" fmla="*/ 2147483647 w 239"/>
              <a:gd name="T67" fmla="*/ 2147483647 h 56"/>
              <a:gd name="T68" fmla="*/ 2147483647 w 239"/>
              <a:gd name="T69" fmla="*/ 2147483647 h 56"/>
              <a:gd name="T70" fmla="*/ 2147483647 w 239"/>
              <a:gd name="T71" fmla="*/ 2147483647 h 56"/>
              <a:gd name="T72" fmla="*/ 2147483647 w 239"/>
              <a:gd name="T73" fmla="*/ 2147483647 h 56"/>
              <a:gd name="T74" fmla="*/ 2147483647 w 239"/>
              <a:gd name="T75" fmla="*/ 2147483647 h 56"/>
              <a:gd name="T76" fmla="*/ 2147483647 w 239"/>
              <a:gd name="T77" fmla="*/ 2147483647 h 56"/>
              <a:gd name="T78" fmla="*/ 2147483647 w 239"/>
              <a:gd name="T79" fmla="*/ 2147483647 h 56"/>
              <a:gd name="T80" fmla="*/ 2147483647 w 239"/>
              <a:gd name="T81" fmla="*/ 2147483647 h 56"/>
              <a:gd name="T82" fmla="*/ 2147483647 w 239"/>
              <a:gd name="T83" fmla="*/ 2147483647 h 56"/>
              <a:gd name="T84" fmla="*/ 2147483647 w 239"/>
              <a:gd name="T85" fmla="*/ 2147483647 h 56"/>
              <a:gd name="T86" fmla="*/ 2147483647 w 239"/>
              <a:gd name="T87" fmla="*/ 0 h 56"/>
              <a:gd name="T88" fmla="*/ 2147483647 w 239"/>
              <a:gd name="T89" fmla="*/ 2147483647 h 56"/>
              <a:gd name="T90" fmla="*/ 2147483647 w 239"/>
              <a:gd name="T91" fmla="*/ 2147483647 h 56"/>
              <a:gd name="T92" fmla="*/ 2147483647 w 239"/>
              <a:gd name="T93" fmla="*/ 2147483647 h 56"/>
              <a:gd name="T94" fmla="*/ 2147483647 w 239"/>
              <a:gd name="T95" fmla="*/ 2147483647 h 56"/>
              <a:gd name="T96" fmla="*/ 2147483647 w 239"/>
              <a:gd name="T97" fmla="*/ 2147483647 h 56"/>
              <a:gd name="T98" fmla="*/ 2147483647 w 239"/>
              <a:gd name="T99" fmla="*/ 2147483647 h 56"/>
              <a:gd name="T100" fmla="*/ 2147483647 w 239"/>
              <a:gd name="T101" fmla="*/ 2147483647 h 56"/>
              <a:gd name="T102" fmla="*/ 2147483647 w 239"/>
              <a:gd name="T103" fmla="*/ 2147483647 h 56"/>
              <a:gd name="T104" fmla="*/ 2147483647 w 239"/>
              <a:gd name="T105" fmla="*/ 2147483647 h 56"/>
              <a:gd name="T106" fmla="*/ 2147483647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382" name="Freeform 495"/>
          <p:cNvSpPr>
            <a:spLocks/>
          </p:cNvSpPr>
          <p:nvPr>
            <p:custDataLst>
              <p:tags r:id="rId333"/>
            </p:custDataLst>
          </p:nvPr>
        </p:nvSpPr>
        <p:spPr bwMode="auto">
          <a:xfrm>
            <a:off x="5708650" y="1265238"/>
            <a:ext cx="82550" cy="57150"/>
          </a:xfrm>
          <a:custGeom>
            <a:avLst/>
            <a:gdLst>
              <a:gd name="T0" fmla="*/ 2147483647 w 187"/>
              <a:gd name="T1" fmla="*/ 2147483647 h 80"/>
              <a:gd name="T2" fmla="*/ 2147483647 w 187"/>
              <a:gd name="T3" fmla="*/ 0 h 80"/>
              <a:gd name="T4" fmla="*/ 2147483647 w 187"/>
              <a:gd name="T5" fmla="*/ 2147483647 h 80"/>
              <a:gd name="T6" fmla="*/ 2147483647 w 187"/>
              <a:gd name="T7" fmla="*/ 2147483647 h 80"/>
              <a:gd name="T8" fmla="*/ 2147483647 w 187"/>
              <a:gd name="T9" fmla="*/ 2147483647 h 80"/>
              <a:gd name="T10" fmla="*/ 2147483647 w 187"/>
              <a:gd name="T11" fmla="*/ 2147483647 h 80"/>
              <a:gd name="T12" fmla="*/ 2147483647 w 187"/>
              <a:gd name="T13" fmla="*/ 2147483647 h 80"/>
              <a:gd name="T14" fmla="*/ 2147483647 w 187"/>
              <a:gd name="T15" fmla="*/ 2147483647 h 80"/>
              <a:gd name="T16" fmla="*/ 2147483647 w 187"/>
              <a:gd name="T17" fmla="*/ 2147483647 h 80"/>
              <a:gd name="T18" fmla="*/ 2147483647 w 187"/>
              <a:gd name="T19" fmla="*/ 2147483647 h 80"/>
              <a:gd name="T20" fmla="*/ 2147483647 w 187"/>
              <a:gd name="T21" fmla="*/ 2147483647 h 80"/>
              <a:gd name="T22" fmla="*/ 2147483647 w 187"/>
              <a:gd name="T23" fmla="*/ 2147483647 h 80"/>
              <a:gd name="T24" fmla="*/ 2147483647 w 187"/>
              <a:gd name="T25" fmla="*/ 2147483647 h 80"/>
              <a:gd name="T26" fmla="*/ 2147483647 w 187"/>
              <a:gd name="T27" fmla="*/ 2147483647 h 80"/>
              <a:gd name="T28" fmla="*/ 2147483647 w 187"/>
              <a:gd name="T29" fmla="*/ 2147483647 h 80"/>
              <a:gd name="T30" fmla="*/ 2147483647 w 187"/>
              <a:gd name="T31" fmla="*/ 2147483647 h 80"/>
              <a:gd name="T32" fmla="*/ 2147483647 w 187"/>
              <a:gd name="T33" fmla="*/ 2147483647 h 80"/>
              <a:gd name="T34" fmla="*/ 2147483647 w 187"/>
              <a:gd name="T35" fmla="*/ 2147483647 h 80"/>
              <a:gd name="T36" fmla="*/ 2147483647 w 187"/>
              <a:gd name="T37" fmla="*/ 2147483647 h 80"/>
              <a:gd name="T38" fmla="*/ 2147483647 w 187"/>
              <a:gd name="T39" fmla="*/ 2147483647 h 80"/>
              <a:gd name="T40" fmla="*/ 2147483647 w 187"/>
              <a:gd name="T41" fmla="*/ 2147483647 h 80"/>
              <a:gd name="T42" fmla="*/ 2147483647 w 187"/>
              <a:gd name="T43" fmla="*/ 2147483647 h 80"/>
              <a:gd name="T44" fmla="*/ 2147483647 w 187"/>
              <a:gd name="T45" fmla="*/ 2147483647 h 80"/>
              <a:gd name="T46" fmla="*/ 2147483647 w 187"/>
              <a:gd name="T47" fmla="*/ 2147483647 h 80"/>
              <a:gd name="T48" fmla="*/ 2147483647 w 187"/>
              <a:gd name="T49" fmla="*/ 2147483647 h 80"/>
              <a:gd name="T50" fmla="*/ 2147483647 w 187"/>
              <a:gd name="T51" fmla="*/ 2147483647 h 80"/>
              <a:gd name="T52" fmla="*/ 2147483647 w 187"/>
              <a:gd name="T53" fmla="*/ 2147483647 h 80"/>
              <a:gd name="T54" fmla="*/ 2147483647 w 187"/>
              <a:gd name="T55" fmla="*/ 2147483647 h 80"/>
              <a:gd name="T56" fmla="*/ 2147483647 w 187"/>
              <a:gd name="T57" fmla="*/ 2147483647 h 80"/>
              <a:gd name="T58" fmla="*/ 2147483647 w 187"/>
              <a:gd name="T59" fmla="*/ 2147483647 h 80"/>
              <a:gd name="T60" fmla="*/ 2147483647 w 187"/>
              <a:gd name="T61" fmla="*/ 2147483647 h 80"/>
              <a:gd name="T62" fmla="*/ 2147483647 w 187"/>
              <a:gd name="T63" fmla="*/ 2147483647 h 80"/>
              <a:gd name="T64" fmla="*/ 2147483647 w 187"/>
              <a:gd name="T65" fmla="*/ 2147483647 h 80"/>
              <a:gd name="T66" fmla="*/ 0 w 187"/>
              <a:gd name="T67" fmla="*/ 2147483647 h 80"/>
              <a:gd name="T68" fmla="*/ 2147483647 w 187"/>
              <a:gd name="T69" fmla="*/ 2147483647 h 80"/>
              <a:gd name="T70" fmla="*/ 2147483647 w 187"/>
              <a:gd name="T71" fmla="*/ 2147483647 h 80"/>
              <a:gd name="T72" fmla="*/ 2147483647 w 187"/>
              <a:gd name="T73" fmla="*/ 2147483647 h 80"/>
              <a:gd name="T74" fmla="*/ 2147483647 w 187"/>
              <a:gd name="T75" fmla="*/ 2147483647 h 80"/>
              <a:gd name="T76" fmla="*/ 2147483647 w 187"/>
              <a:gd name="T77" fmla="*/ 2147483647 h 80"/>
              <a:gd name="T78" fmla="*/ 2147483647 w 187"/>
              <a:gd name="T79" fmla="*/ 2147483647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383" name="Freeform 496"/>
          <p:cNvSpPr>
            <a:spLocks/>
          </p:cNvSpPr>
          <p:nvPr>
            <p:custDataLst>
              <p:tags r:id="rId334"/>
            </p:custDataLst>
          </p:nvPr>
        </p:nvSpPr>
        <p:spPr bwMode="auto">
          <a:xfrm>
            <a:off x="6235700" y="1390650"/>
            <a:ext cx="79375" cy="58738"/>
          </a:xfrm>
          <a:custGeom>
            <a:avLst/>
            <a:gdLst>
              <a:gd name="T0" fmla="*/ 2147483647 w 183"/>
              <a:gd name="T1" fmla="*/ 0 h 73"/>
              <a:gd name="T2" fmla="*/ 2147483647 w 183"/>
              <a:gd name="T3" fmla="*/ 0 h 73"/>
              <a:gd name="T4" fmla="*/ 2147483647 w 183"/>
              <a:gd name="T5" fmla="*/ 2147483647 h 73"/>
              <a:gd name="T6" fmla="*/ 2147483647 w 183"/>
              <a:gd name="T7" fmla="*/ 2147483647 h 73"/>
              <a:gd name="T8" fmla="*/ 2147483647 w 183"/>
              <a:gd name="T9" fmla="*/ 2147483647 h 73"/>
              <a:gd name="T10" fmla="*/ 2147483647 w 183"/>
              <a:gd name="T11" fmla="*/ 2147483647 h 73"/>
              <a:gd name="T12" fmla="*/ 2147483647 w 183"/>
              <a:gd name="T13" fmla="*/ 2147483647 h 73"/>
              <a:gd name="T14" fmla="*/ 2147483647 w 183"/>
              <a:gd name="T15" fmla="*/ 2147483647 h 73"/>
              <a:gd name="T16" fmla="*/ 2147483647 w 183"/>
              <a:gd name="T17" fmla="*/ 2147483647 h 73"/>
              <a:gd name="T18" fmla="*/ 2147483647 w 183"/>
              <a:gd name="T19" fmla="*/ 2147483647 h 73"/>
              <a:gd name="T20" fmla="*/ 2147483647 w 183"/>
              <a:gd name="T21" fmla="*/ 2147483647 h 73"/>
              <a:gd name="T22" fmla="*/ 2147483647 w 183"/>
              <a:gd name="T23" fmla="*/ 2147483647 h 73"/>
              <a:gd name="T24" fmla="*/ 2147483647 w 183"/>
              <a:gd name="T25" fmla="*/ 2147483647 h 73"/>
              <a:gd name="T26" fmla="*/ 2147483647 w 183"/>
              <a:gd name="T27" fmla="*/ 2147483647 h 73"/>
              <a:gd name="T28" fmla="*/ 2147483647 w 183"/>
              <a:gd name="T29" fmla="*/ 2147483647 h 73"/>
              <a:gd name="T30" fmla="*/ 2147483647 w 183"/>
              <a:gd name="T31" fmla="*/ 2147483647 h 73"/>
              <a:gd name="T32" fmla="*/ 2147483647 w 183"/>
              <a:gd name="T33" fmla="*/ 2147483647 h 73"/>
              <a:gd name="T34" fmla="*/ 2147483647 w 183"/>
              <a:gd name="T35" fmla="*/ 2147483647 h 73"/>
              <a:gd name="T36" fmla="*/ 2147483647 w 183"/>
              <a:gd name="T37" fmla="*/ 2147483647 h 73"/>
              <a:gd name="T38" fmla="*/ 2147483647 w 183"/>
              <a:gd name="T39" fmla="*/ 2147483647 h 73"/>
              <a:gd name="T40" fmla="*/ 2147483647 w 183"/>
              <a:gd name="T41" fmla="*/ 2147483647 h 73"/>
              <a:gd name="T42" fmla="*/ 2147483647 w 183"/>
              <a:gd name="T43" fmla="*/ 2147483647 h 73"/>
              <a:gd name="T44" fmla="*/ 2147483647 w 183"/>
              <a:gd name="T45" fmla="*/ 2147483647 h 73"/>
              <a:gd name="T46" fmla="*/ 2147483647 w 183"/>
              <a:gd name="T47" fmla="*/ 2147483647 h 73"/>
              <a:gd name="T48" fmla="*/ 2147483647 w 183"/>
              <a:gd name="T49" fmla="*/ 2147483647 h 73"/>
              <a:gd name="T50" fmla="*/ 0 w 183"/>
              <a:gd name="T51" fmla="*/ 2147483647 h 73"/>
              <a:gd name="T52" fmla="*/ 2147483647 w 183"/>
              <a:gd name="T53" fmla="*/ 2147483647 h 73"/>
              <a:gd name="T54" fmla="*/ 2147483647 w 183"/>
              <a:gd name="T55" fmla="*/ 2147483647 h 73"/>
              <a:gd name="T56" fmla="*/ 2147483647 w 183"/>
              <a:gd name="T57" fmla="*/ 2147483647 h 73"/>
              <a:gd name="T58" fmla="*/ 2147483647 w 183"/>
              <a:gd name="T59" fmla="*/ 2147483647 h 73"/>
              <a:gd name="T60" fmla="*/ 2147483647 w 183"/>
              <a:gd name="T61" fmla="*/ 2147483647 h 73"/>
              <a:gd name="T62" fmla="*/ 2147483647 w 183"/>
              <a:gd name="T63" fmla="*/ 0 h 73"/>
              <a:gd name="T64" fmla="*/ 2147483647 w 183"/>
              <a:gd name="T65" fmla="*/ 0 h 73"/>
              <a:gd name="T66" fmla="*/ 214748364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384" name="Freeform 497"/>
          <p:cNvSpPr>
            <a:spLocks/>
          </p:cNvSpPr>
          <p:nvPr>
            <p:custDataLst>
              <p:tags r:id="rId335"/>
            </p:custDataLst>
          </p:nvPr>
        </p:nvSpPr>
        <p:spPr bwMode="auto">
          <a:xfrm>
            <a:off x="6302375" y="1408113"/>
            <a:ext cx="33338" cy="57150"/>
          </a:xfrm>
          <a:custGeom>
            <a:avLst/>
            <a:gdLst>
              <a:gd name="T0" fmla="*/ 0 w 79"/>
              <a:gd name="T1" fmla="*/ 2147483647 h 42"/>
              <a:gd name="T2" fmla="*/ 2147483647 w 79"/>
              <a:gd name="T3" fmla="*/ 2147483647 h 42"/>
              <a:gd name="T4" fmla="*/ 2147483647 w 79"/>
              <a:gd name="T5" fmla="*/ 2147483647 h 42"/>
              <a:gd name="T6" fmla="*/ 2147483647 w 79"/>
              <a:gd name="T7" fmla="*/ 0 h 42"/>
              <a:gd name="T8" fmla="*/ 2147483647 w 79"/>
              <a:gd name="T9" fmla="*/ 0 h 42"/>
              <a:gd name="T10" fmla="*/ 2147483647 w 79"/>
              <a:gd name="T11" fmla="*/ 2147483647 h 42"/>
              <a:gd name="T12" fmla="*/ 2147483647 w 79"/>
              <a:gd name="T13" fmla="*/ 2147483647 h 42"/>
              <a:gd name="T14" fmla="*/ 2147483647 w 79"/>
              <a:gd name="T15" fmla="*/ 2147483647 h 42"/>
              <a:gd name="T16" fmla="*/ 2147483647 w 79"/>
              <a:gd name="T17" fmla="*/ 2147483647 h 42"/>
              <a:gd name="T18" fmla="*/ 2147483647 w 79"/>
              <a:gd name="T19" fmla="*/ 2147483647 h 42"/>
              <a:gd name="T20" fmla="*/ 2147483647 w 79"/>
              <a:gd name="T21" fmla="*/ 2147483647 h 42"/>
              <a:gd name="T22" fmla="*/ 2147483647 w 79"/>
              <a:gd name="T23" fmla="*/ 2147483647 h 42"/>
              <a:gd name="T24" fmla="*/ 2147483647 w 79"/>
              <a:gd name="T25" fmla="*/ 2147483647 h 42"/>
              <a:gd name="T26" fmla="*/ 2147483647 w 79"/>
              <a:gd name="T27" fmla="*/ 2147483647 h 42"/>
              <a:gd name="T28" fmla="*/ 2147483647 w 79"/>
              <a:gd name="T29" fmla="*/ 2147483647 h 42"/>
              <a:gd name="T30" fmla="*/ 2147483647 w 79"/>
              <a:gd name="T31" fmla="*/ 2147483647 h 42"/>
              <a:gd name="T32" fmla="*/ 2147483647 w 79"/>
              <a:gd name="T33" fmla="*/ 2147483647 h 42"/>
              <a:gd name="T34" fmla="*/ 2147483647 w 79"/>
              <a:gd name="T35" fmla="*/ 2147483647 h 42"/>
              <a:gd name="T36" fmla="*/ 2147483647 w 79"/>
              <a:gd name="T37" fmla="*/ 2147483647 h 42"/>
              <a:gd name="T38" fmla="*/ 2147483647 w 79"/>
              <a:gd name="T39" fmla="*/ 2147483647 h 42"/>
              <a:gd name="T40" fmla="*/ 2147483647 w 79"/>
              <a:gd name="T41" fmla="*/ 2147483647 h 42"/>
              <a:gd name="T42" fmla="*/ 2147483647 w 79"/>
              <a:gd name="T43" fmla="*/ 2147483647 h 42"/>
              <a:gd name="T44" fmla="*/ 2147483647 w 79"/>
              <a:gd name="T45" fmla="*/ 2147483647 h 42"/>
              <a:gd name="T46" fmla="*/ 0 w 79"/>
              <a:gd name="T47" fmla="*/ 2147483647 h 42"/>
              <a:gd name="T48" fmla="*/ 0 w 79"/>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385" name="Freeform 498"/>
          <p:cNvSpPr>
            <a:spLocks/>
          </p:cNvSpPr>
          <p:nvPr>
            <p:custDataLst>
              <p:tags r:id="rId336"/>
            </p:custDataLst>
          </p:nvPr>
        </p:nvSpPr>
        <p:spPr bwMode="auto">
          <a:xfrm>
            <a:off x="6332538" y="1419225"/>
            <a:ext cx="52387" cy="58738"/>
          </a:xfrm>
          <a:custGeom>
            <a:avLst/>
            <a:gdLst>
              <a:gd name="T0" fmla="*/ 2147483647 w 113"/>
              <a:gd name="T1" fmla="*/ 2147483647 h 52"/>
              <a:gd name="T2" fmla="*/ 2147483647 w 113"/>
              <a:gd name="T3" fmla="*/ 2147483647 h 52"/>
              <a:gd name="T4" fmla="*/ 2147483647 w 113"/>
              <a:gd name="T5" fmla="*/ 2147483647 h 52"/>
              <a:gd name="T6" fmla="*/ 2147483647 w 113"/>
              <a:gd name="T7" fmla="*/ 2147483647 h 52"/>
              <a:gd name="T8" fmla="*/ 2147483647 w 113"/>
              <a:gd name="T9" fmla="*/ 2147483647 h 52"/>
              <a:gd name="T10" fmla="*/ 2147483647 w 113"/>
              <a:gd name="T11" fmla="*/ 2147483647 h 52"/>
              <a:gd name="T12" fmla="*/ 2147483647 w 113"/>
              <a:gd name="T13" fmla="*/ 2147483647 h 52"/>
              <a:gd name="T14" fmla="*/ 2147483647 w 113"/>
              <a:gd name="T15" fmla="*/ 2147483647 h 52"/>
              <a:gd name="T16" fmla="*/ 2147483647 w 113"/>
              <a:gd name="T17" fmla="*/ 2147483647 h 52"/>
              <a:gd name="T18" fmla="*/ 2147483647 w 113"/>
              <a:gd name="T19" fmla="*/ 2147483647 h 52"/>
              <a:gd name="T20" fmla="*/ 2147483647 w 113"/>
              <a:gd name="T21" fmla="*/ 2147483647 h 52"/>
              <a:gd name="T22" fmla="*/ 2147483647 w 113"/>
              <a:gd name="T23" fmla="*/ 2147483647 h 52"/>
              <a:gd name="T24" fmla="*/ 2147483647 w 113"/>
              <a:gd name="T25" fmla="*/ 2147483647 h 52"/>
              <a:gd name="T26" fmla="*/ 2147483647 w 113"/>
              <a:gd name="T27" fmla="*/ 2147483647 h 52"/>
              <a:gd name="T28" fmla="*/ 2147483647 w 113"/>
              <a:gd name="T29" fmla="*/ 2147483647 h 52"/>
              <a:gd name="T30" fmla="*/ 2147483647 w 113"/>
              <a:gd name="T31" fmla="*/ 2147483647 h 52"/>
              <a:gd name="T32" fmla="*/ 2147483647 w 113"/>
              <a:gd name="T33" fmla="*/ 2147483647 h 52"/>
              <a:gd name="T34" fmla="*/ 2147483647 w 113"/>
              <a:gd name="T35" fmla="*/ 2147483647 h 52"/>
              <a:gd name="T36" fmla="*/ 0 w 113"/>
              <a:gd name="T37" fmla="*/ 2147483647 h 52"/>
              <a:gd name="T38" fmla="*/ 2147483647 w 113"/>
              <a:gd name="T39" fmla="*/ 2147483647 h 52"/>
              <a:gd name="T40" fmla="*/ 2147483647 w 113"/>
              <a:gd name="T41" fmla="*/ 2147483647 h 52"/>
              <a:gd name="T42" fmla="*/ 2147483647 w 113"/>
              <a:gd name="T43" fmla="*/ 2147483647 h 52"/>
              <a:gd name="T44" fmla="*/ 2147483647 w 113"/>
              <a:gd name="T45" fmla="*/ 2147483647 h 52"/>
              <a:gd name="T46" fmla="*/ 2147483647 w 113"/>
              <a:gd name="T47" fmla="*/ 2147483647 h 52"/>
              <a:gd name="T48" fmla="*/ 2147483647 w 113"/>
              <a:gd name="T49" fmla="*/ 2147483647 h 52"/>
              <a:gd name="T50" fmla="*/ 2147483647 w 113"/>
              <a:gd name="T51" fmla="*/ 2147483647 h 52"/>
              <a:gd name="T52" fmla="*/ 2147483647 w 113"/>
              <a:gd name="T53" fmla="*/ 0 h 52"/>
              <a:gd name="T54" fmla="*/ 2147483647 w 113"/>
              <a:gd name="T55" fmla="*/ 0 h 52"/>
              <a:gd name="T56" fmla="*/ 2147483647 w 113"/>
              <a:gd name="T57" fmla="*/ 2147483647 h 52"/>
              <a:gd name="T58" fmla="*/ 2147483647 w 113"/>
              <a:gd name="T59" fmla="*/ 2147483647 h 52"/>
              <a:gd name="T60" fmla="*/ 2147483647 w 113"/>
              <a:gd name="T61" fmla="*/ 2147483647 h 52"/>
              <a:gd name="T62" fmla="*/ 2147483647 w 113"/>
              <a:gd name="T63" fmla="*/ 2147483647 h 52"/>
              <a:gd name="T64" fmla="*/ 2147483647 w 113"/>
              <a:gd name="T65" fmla="*/ 2147483647 h 52"/>
              <a:gd name="T66" fmla="*/ 2147483647 w 113"/>
              <a:gd name="T67" fmla="*/ 2147483647 h 52"/>
              <a:gd name="T68" fmla="*/ 2147483647 w 113"/>
              <a:gd name="T69" fmla="*/ 2147483647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386" name="Freeform 499"/>
          <p:cNvSpPr>
            <a:spLocks/>
          </p:cNvSpPr>
          <p:nvPr>
            <p:custDataLst>
              <p:tags r:id="rId337"/>
            </p:custDataLst>
          </p:nvPr>
        </p:nvSpPr>
        <p:spPr bwMode="auto">
          <a:xfrm>
            <a:off x="6103938" y="1392238"/>
            <a:ext cx="61912" cy="58737"/>
          </a:xfrm>
          <a:custGeom>
            <a:avLst/>
            <a:gdLst>
              <a:gd name="T0" fmla="*/ 0 w 139"/>
              <a:gd name="T1" fmla="*/ 2147483647 h 40"/>
              <a:gd name="T2" fmla="*/ 2147483647 w 139"/>
              <a:gd name="T3" fmla="*/ 2147483647 h 40"/>
              <a:gd name="T4" fmla="*/ 2147483647 w 139"/>
              <a:gd name="T5" fmla="*/ 2147483647 h 40"/>
              <a:gd name="T6" fmla="*/ 2147483647 w 139"/>
              <a:gd name="T7" fmla="*/ 2147483647 h 40"/>
              <a:gd name="T8" fmla="*/ 2147483647 w 139"/>
              <a:gd name="T9" fmla="*/ 2147483647 h 40"/>
              <a:gd name="T10" fmla="*/ 2147483647 w 139"/>
              <a:gd name="T11" fmla="*/ 2147483647 h 40"/>
              <a:gd name="T12" fmla="*/ 2147483647 w 139"/>
              <a:gd name="T13" fmla="*/ 2147483647 h 40"/>
              <a:gd name="T14" fmla="*/ 2147483647 w 139"/>
              <a:gd name="T15" fmla="*/ 0 h 40"/>
              <a:gd name="T16" fmla="*/ 2147483647 w 139"/>
              <a:gd name="T17" fmla="*/ 2147483647 h 40"/>
              <a:gd name="T18" fmla="*/ 2147483647 w 139"/>
              <a:gd name="T19" fmla="*/ 2147483647 h 40"/>
              <a:gd name="T20" fmla="*/ 2147483647 w 139"/>
              <a:gd name="T21" fmla="*/ 2147483647 h 40"/>
              <a:gd name="T22" fmla="*/ 2147483647 w 139"/>
              <a:gd name="T23" fmla="*/ 2147483647 h 40"/>
              <a:gd name="T24" fmla="*/ 2147483647 w 139"/>
              <a:gd name="T25" fmla="*/ 2147483647 h 40"/>
              <a:gd name="T26" fmla="*/ 2147483647 w 139"/>
              <a:gd name="T27" fmla="*/ 2147483647 h 40"/>
              <a:gd name="T28" fmla="*/ 2147483647 w 139"/>
              <a:gd name="T29" fmla="*/ 2147483647 h 40"/>
              <a:gd name="T30" fmla="*/ 2147483647 w 139"/>
              <a:gd name="T31" fmla="*/ 2147483647 h 40"/>
              <a:gd name="T32" fmla="*/ 2147483647 w 139"/>
              <a:gd name="T33" fmla="*/ 2147483647 h 40"/>
              <a:gd name="T34" fmla="*/ 2147483647 w 139"/>
              <a:gd name="T35" fmla="*/ 2147483647 h 40"/>
              <a:gd name="T36" fmla="*/ 2147483647 w 139"/>
              <a:gd name="T37" fmla="*/ 2147483647 h 40"/>
              <a:gd name="T38" fmla="*/ 2147483647 w 139"/>
              <a:gd name="T39" fmla="*/ 2147483647 h 40"/>
              <a:gd name="T40" fmla="*/ 2147483647 w 139"/>
              <a:gd name="T41" fmla="*/ 2147483647 h 40"/>
              <a:gd name="T42" fmla="*/ 0 w 139"/>
              <a:gd name="T43" fmla="*/ 21474836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387" name="Freeform 500"/>
          <p:cNvSpPr>
            <a:spLocks/>
          </p:cNvSpPr>
          <p:nvPr>
            <p:custDataLst>
              <p:tags r:id="rId338"/>
            </p:custDataLst>
          </p:nvPr>
        </p:nvSpPr>
        <p:spPr bwMode="auto">
          <a:xfrm>
            <a:off x="6403975" y="1333500"/>
            <a:ext cx="139700" cy="57150"/>
          </a:xfrm>
          <a:custGeom>
            <a:avLst/>
            <a:gdLst>
              <a:gd name="T0" fmla="*/ 2147483647 w 325"/>
              <a:gd name="T1" fmla="*/ 2147483647 h 71"/>
              <a:gd name="T2" fmla="*/ 2147483647 w 325"/>
              <a:gd name="T3" fmla="*/ 2147483647 h 71"/>
              <a:gd name="T4" fmla="*/ 2147483647 w 325"/>
              <a:gd name="T5" fmla="*/ 0 h 71"/>
              <a:gd name="T6" fmla="*/ 2147483647 w 325"/>
              <a:gd name="T7" fmla="*/ 2147483647 h 71"/>
              <a:gd name="T8" fmla="*/ 2147483647 w 325"/>
              <a:gd name="T9" fmla="*/ 2147483647 h 71"/>
              <a:gd name="T10" fmla="*/ 2147483647 w 325"/>
              <a:gd name="T11" fmla="*/ 2147483647 h 71"/>
              <a:gd name="T12" fmla="*/ 2147483647 w 325"/>
              <a:gd name="T13" fmla="*/ 2147483647 h 71"/>
              <a:gd name="T14" fmla="*/ 2147483647 w 325"/>
              <a:gd name="T15" fmla="*/ 2147483647 h 71"/>
              <a:gd name="T16" fmla="*/ 2147483647 w 325"/>
              <a:gd name="T17" fmla="*/ 2147483647 h 71"/>
              <a:gd name="T18" fmla="*/ 2147483647 w 325"/>
              <a:gd name="T19" fmla="*/ 2147483647 h 71"/>
              <a:gd name="T20" fmla="*/ 2147483647 w 325"/>
              <a:gd name="T21" fmla="*/ 2147483647 h 71"/>
              <a:gd name="T22" fmla="*/ 2147483647 w 325"/>
              <a:gd name="T23" fmla="*/ 2147483647 h 71"/>
              <a:gd name="T24" fmla="*/ 2147483647 w 325"/>
              <a:gd name="T25" fmla="*/ 2147483647 h 71"/>
              <a:gd name="T26" fmla="*/ 2147483647 w 325"/>
              <a:gd name="T27" fmla="*/ 2147483647 h 71"/>
              <a:gd name="T28" fmla="*/ 2147483647 w 325"/>
              <a:gd name="T29" fmla="*/ 2147483647 h 71"/>
              <a:gd name="T30" fmla="*/ 2147483647 w 325"/>
              <a:gd name="T31" fmla="*/ 2147483647 h 71"/>
              <a:gd name="T32" fmla="*/ 2147483647 w 325"/>
              <a:gd name="T33" fmla="*/ 2147483647 h 71"/>
              <a:gd name="T34" fmla="*/ 2147483647 w 325"/>
              <a:gd name="T35" fmla="*/ 2147483647 h 71"/>
              <a:gd name="T36" fmla="*/ 2147483647 w 325"/>
              <a:gd name="T37" fmla="*/ 2147483647 h 71"/>
              <a:gd name="T38" fmla="*/ 2147483647 w 325"/>
              <a:gd name="T39" fmla="*/ 2147483647 h 71"/>
              <a:gd name="T40" fmla="*/ 2147483647 w 325"/>
              <a:gd name="T41" fmla="*/ 2147483647 h 71"/>
              <a:gd name="T42" fmla="*/ 2147483647 w 325"/>
              <a:gd name="T43" fmla="*/ 2147483647 h 71"/>
              <a:gd name="T44" fmla="*/ 2147483647 w 325"/>
              <a:gd name="T45" fmla="*/ 2147483647 h 71"/>
              <a:gd name="T46" fmla="*/ 2147483647 w 325"/>
              <a:gd name="T47" fmla="*/ 2147483647 h 71"/>
              <a:gd name="T48" fmla="*/ 2147483647 w 325"/>
              <a:gd name="T49" fmla="*/ 2147483647 h 71"/>
              <a:gd name="T50" fmla="*/ 2147483647 w 325"/>
              <a:gd name="T51" fmla="*/ 2147483647 h 71"/>
              <a:gd name="T52" fmla="*/ 2147483647 w 325"/>
              <a:gd name="T53" fmla="*/ 2147483647 h 71"/>
              <a:gd name="T54" fmla="*/ 2147483647 w 325"/>
              <a:gd name="T55" fmla="*/ 2147483647 h 71"/>
              <a:gd name="T56" fmla="*/ 2147483647 w 325"/>
              <a:gd name="T57" fmla="*/ 2147483647 h 71"/>
              <a:gd name="T58" fmla="*/ 2147483647 w 325"/>
              <a:gd name="T59" fmla="*/ 2147483647 h 71"/>
              <a:gd name="T60" fmla="*/ 2147483647 w 325"/>
              <a:gd name="T61" fmla="*/ 2147483647 h 71"/>
              <a:gd name="T62" fmla="*/ 0 w 325"/>
              <a:gd name="T63" fmla="*/ 2147483647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388" name="Freeform 501"/>
          <p:cNvSpPr>
            <a:spLocks/>
          </p:cNvSpPr>
          <p:nvPr>
            <p:custDataLst>
              <p:tags r:id="rId339"/>
            </p:custDataLst>
          </p:nvPr>
        </p:nvSpPr>
        <p:spPr bwMode="auto">
          <a:xfrm>
            <a:off x="6564313" y="1341438"/>
            <a:ext cx="95250" cy="57150"/>
          </a:xfrm>
          <a:custGeom>
            <a:avLst/>
            <a:gdLst>
              <a:gd name="T0" fmla="*/ 2147483647 w 220"/>
              <a:gd name="T1" fmla="*/ 2147483647 h 72"/>
              <a:gd name="T2" fmla="*/ 2147483647 w 220"/>
              <a:gd name="T3" fmla="*/ 2147483647 h 72"/>
              <a:gd name="T4" fmla="*/ 2147483647 w 220"/>
              <a:gd name="T5" fmla="*/ 2147483647 h 72"/>
              <a:gd name="T6" fmla="*/ 2147483647 w 220"/>
              <a:gd name="T7" fmla="*/ 2147483647 h 72"/>
              <a:gd name="T8" fmla="*/ 2147483647 w 220"/>
              <a:gd name="T9" fmla="*/ 2147483647 h 72"/>
              <a:gd name="T10" fmla="*/ 2147483647 w 220"/>
              <a:gd name="T11" fmla="*/ 2147483647 h 72"/>
              <a:gd name="T12" fmla="*/ 2147483647 w 220"/>
              <a:gd name="T13" fmla="*/ 2147483647 h 72"/>
              <a:gd name="T14" fmla="*/ 2147483647 w 220"/>
              <a:gd name="T15" fmla="*/ 2147483647 h 72"/>
              <a:gd name="T16" fmla="*/ 2147483647 w 220"/>
              <a:gd name="T17" fmla="*/ 2147483647 h 72"/>
              <a:gd name="T18" fmla="*/ 2147483647 w 220"/>
              <a:gd name="T19" fmla="*/ 2147483647 h 72"/>
              <a:gd name="T20" fmla="*/ 2147483647 w 220"/>
              <a:gd name="T21" fmla="*/ 2147483647 h 72"/>
              <a:gd name="T22" fmla="*/ 2147483647 w 220"/>
              <a:gd name="T23" fmla="*/ 2147483647 h 72"/>
              <a:gd name="T24" fmla="*/ 2147483647 w 220"/>
              <a:gd name="T25" fmla="*/ 2147483647 h 72"/>
              <a:gd name="T26" fmla="*/ 2147483647 w 220"/>
              <a:gd name="T27" fmla="*/ 2147483647 h 72"/>
              <a:gd name="T28" fmla="*/ 2147483647 w 220"/>
              <a:gd name="T29" fmla="*/ 0 h 72"/>
              <a:gd name="T30" fmla="*/ 2147483647 w 220"/>
              <a:gd name="T31" fmla="*/ 2147483647 h 72"/>
              <a:gd name="T32" fmla="*/ 2147483647 w 220"/>
              <a:gd name="T33" fmla="*/ 2147483647 h 72"/>
              <a:gd name="T34" fmla="*/ 2147483647 w 220"/>
              <a:gd name="T35" fmla="*/ 2147483647 h 72"/>
              <a:gd name="T36" fmla="*/ 2147483647 w 220"/>
              <a:gd name="T37" fmla="*/ 2147483647 h 72"/>
              <a:gd name="T38" fmla="*/ 2147483647 w 220"/>
              <a:gd name="T39" fmla="*/ 2147483647 h 72"/>
              <a:gd name="T40" fmla="*/ 2147483647 w 220"/>
              <a:gd name="T41" fmla="*/ 2147483647 h 72"/>
              <a:gd name="T42" fmla="*/ 2147483647 w 220"/>
              <a:gd name="T43" fmla="*/ 2147483647 h 72"/>
              <a:gd name="T44" fmla="*/ 2147483647 w 220"/>
              <a:gd name="T45" fmla="*/ 2147483647 h 72"/>
              <a:gd name="T46" fmla="*/ 2147483647 w 220"/>
              <a:gd name="T47" fmla="*/ 2147483647 h 72"/>
              <a:gd name="T48" fmla="*/ 2147483647 w 220"/>
              <a:gd name="T49" fmla="*/ 2147483647 h 72"/>
              <a:gd name="T50" fmla="*/ 2147483647 w 220"/>
              <a:gd name="T51" fmla="*/ 2147483647 h 72"/>
              <a:gd name="T52" fmla="*/ 2147483647 w 220"/>
              <a:gd name="T53" fmla="*/ 2147483647 h 72"/>
              <a:gd name="T54" fmla="*/ 2147483647 w 220"/>
              <a:gd name="T55" fmla="*/ 2147483647 h 72"/>
              <a:gd name="T56" fmla="*/ 2147483647 w 220"/>
              <a:gd name="T57" fmla="*/ 2147483647 h 72"/>
              <a:gd name="T58" fmla="*/ 2147483647 w 220"/>
              <a:gd name="T59" fmla="*/ 2147483647 h 72"/>
              <a:gd name="T60" fmla="*/ 2147483647 w 220"/>
              <a:gd name="T61" fmla="*/ 2147483647 h 72"/>
              <a:gd name="T62" fmla="*/ 2147483647 w 220"/>
              <a:gd name="T63" fmla="*/ 2147483647 h 72"/>
              <a:gd name="T64" fmla="*/ 2147483647 w 220"/>
              <a:gd name="T65" fmla="*/ 2147483647 h 72"/>
              <a:gd name="T66" fmla="*/ 2147483647 w 220"/>
              <a:gd name="T67" fmla="*/ 2147483647 h 72"/>
              <a:gd name="T68" fmla="*/ 2147483647 w 220"/>
              <a:gd name="T69" fmla="*/ 2147483647 h 72"/>
              <a:gd name="T70" fmla="*/ 2147483647 w 220"/>
              <a:gd name="T71" fmla="*/ 2147483647 h 72"/>
              <a:gd name="T72" fmla="*/ 2147483647 w 220"/>
              <a:gd name="T73" fmla="*/ 2147483647 h 72"/>
              <a:gd name="T74" fmla="*/ 2147483647 w 220"/>
              <a:gd name="T75" fmla="*/ 2147483647 h 72"/>
              <a:gd name="T76" fmla="*/ 2147483647 w 220"/>
              <a:gd name="T77" fmla="*/ 2147483647 h 72"/>
              <a:gd name="T78" fmla="*/ 2147483647 w 220"/>
              <a:gd name="T79" fmla="*/ 2147483647 h 72"/>
              <a:gd name="T80" fmla="*/ 2147483647 w 220"/>
              <a:gd name="T81" fmla="*/ 2147483647 h 72"/>
              <a:gd name="T82" fmla="*/ 2147483647 w 220"/>
              <a:gd name="T83" fmla="*/ 2147483647 h 72"/>
              <a:gd name="T84" fmla="*/ 2147483647 w 220"/>
              <a:gd name="T85" fmla="*/ 2147483647 h 72"/>
              <a:gd name="T86" fmla="*/ 2147483647 w 220"/>
              <a:gd name="T87" fmla="*/ 2147483647 h 72"/>
              <a:gd name="T88" fmla="*/ 2147483647 w 220"/>
              <a:gd name="T89" fmla="*/ 2147483647 h 72"/>
              <a:gd name="T90" fmla="*/ 2147483647 w 220"/>
              <a:gd name="T91" fmla="*/ 2147483647 h 72"/>
              <a:gd name="T92" fmla="*/ 2147483647 w 220"/>
              <a:gd name="T93" fmla="*/ 2147483647 h 72"/>
              <a:gd name="T94" fmla="*/ 2147483647 w 220"/>
              <a:gd name="T95" fmla="*/ 2147483647 h 72"/>
              <a:gd name="T96" fmla="*/ 2147483647 w 220"/>
              <a:gd name="T97" fmla="*/ 2147483647 h 72"/>
              <a:gd name="T98" fmla="*/ 2147483647 w 220"/>
              <a:gd name="T99" fmla="*/ 2147483647 h 72"/>
              <a:gd name="T100" fmla="*/ 2147483647 w 220"/>
              <a:gd name="T101" fmla="*/ 2147483647 h 72"/>
              <a:gd name="T102" fmla="*/ 2147483647 w 220"/>
              <a:gd name="T103" fmla="*/ 2147483647 h 72"/>
              <a:gd name="T104" fmla="*/ 0 w 220"/>
              <a:gd name="T105" fmla="*/ 2147483647 h 72"/>
              <a:gd name="T106" fmla="*/ 2147483647 w 220"/>
              <a:gd name="T107" fmla="*/ 2147483647 h 72"/>
              <a:gd name="T108" fmla="*/ 2147483647 w 220"/>
              <a:gd name="T109" fmla="*/ 2147483647 h 72"/>
              <a:gd name="T110" fmla="*/ 2147483647 w 220"/>
              <a:gd name="T111" fmla="*/ 2147483647 h 72"/>
              <a:gd name="T112" fmla="*/ 2147483647 w 220"/>
              <a:gd name="T113" fmla="*/ 2147483647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389" name="Freeform 502"/>
          <p:cNvSpPr>
            <a:spLocks/>
          </p:cNvSpPr>
          <p:nvPr>
            <p:custDataLst>
              <p:tags r:id="rId340"/>
            </p:custDataLst>
          </p:nvPr>
        </p:nvSpPr>
        <p:spPr bwMode="auto">
          <a:xfrm>
            <a:off x="6524625" y="1389063"/>
            <a:ext cx="63500" cy="58737"/>
          </a:xfrm>
          <a:custGeom>
            <a:avLst/>
            <a:gdLst>
              <a:gd name="T0" fmla="*/ 2147483647 w 146"/>
              <a:gd name="T1" fmla="*/ 2147483647 h 30"/>
              <a:gd name="T2" fmla="*/ 2147483647 w 146"/>
              <a:gd name="T3" fmla="*/ 2147483647 h 30"/>
              <a:gd name="T4" fmla="*/ 2147483647 w 146"/>
              <a:gd name="T5" fmla="*/ 2147483647 h 30"/>
              <a:gd name="T6" fmla="*/ 2147483647 w 146"/>
              <a:gd name="T7" fmla="*/ 2147483647 h 30"/>
              <a:gd name="T8" fmla="*/ 2147483647 w 146"/>
              <a:gd name="T9" fmla="*/ 2147483647 h 30"/>
              <a:gd name="T10" fmla="*/ 2147483647 w 146"/>
              <a:gd name="T11" fmla="*/ 2147483647 h 30"/>
              <a:gd name="T12" fmla="*/ 2147483647 w 146"/>
              <a:gd name="T13" fmla="*/ 2147483647 h 30"/>
              <a:gd name="T14" fmla="*/ 2147483647 w 146"/>
              <a:gd name="T15" fmla="*/ 2147483647 h 30"/>
              <a:gd name="T16" fmla="*/ 2147483647 w 146"/>
              <a:gd name="T17" fmla="*/ 2147483647 h 30"/>
              <a:gd name="T18" fmla="*/ 2147483647 w 146"/>
              <a:gd name="T19" fmla="*/ 2147483647 h 30"/>
              <a:gd name="T20" fmla="*/ 2147483647 w 146"/>
              <a:gd name="T21" fmla="*/ 2147483647 h 30"/>
              <a:gd name="T22" fmla="*/ 2147483647 w 146"/>
              <a:gd name="T23" fmla="*/ 2147483647 h 30"/>
              <a:gd name="T24" fmla="*/ 2147483647 w 146"/>
              <a:gd name="T25" fmla="*/ 2147483647 h 30"/>
              <a:gd name="T26" fmla="*/ 2147483647 w 146"/>
              <a:gd name="T27" fmla="*/ 2147483647 h 30"/>
              <a:gd name="T28" fmla="*/ 2147483647 w 146"/>
              <a:gd name="T29" fmla="*/ 2147483647 h 30"/>
              <a:gd name="T30" fmla="*/ 2147483647 w 146"/>
              <a:gd name="T31" fmla="*/ 2147483647 h 30"/>
              <a:gd name="T32" fmla="*/ 2147483647 w 146"/>
              <a:gd name="T33" fmla="*/ 2147483647 h 30"/>
              <a:gd name="T34" fmla="*/ 2147483647 w 146"/>
              <a:gd name="T35" fmla="*/ 0 h 30"/>
              <a:gd name="T36" fmla="*/ 2147483647 w 146"/>
              <a:gd name="T37" fmla="*/ 2147483647 h 30"/>
              <a:gd name="T38" fmla="*/ 2147483647 w 146"/>
              <a:gd name="T39" fmla="*/ 2147483647 h 30"/>
              <a:gd name="T40" fmla="*/ 2147483647 w 146"/>
              <a:gd name="T41" fmla="*/ 2147483647 h 30"/>
              <a:gd name="T42" fmla="*/ 0 w 146"/>
              <a:gd name="T43" fmla="*/ 2147483647 h 30"/>
              <a:gd name="T44" fmla="*/ 2147483647 w 146"/>
              <a:gd name="T45" fmla="*/ 2147483647 h 30"/>
              <a:gd name="T46" fmla="*/ 2147483647 w 146"/>
              <a:gd name="T47" fmla="*/ 2147483647 h 30"/>
              <a:gd name="T48" fmla="*/ 2147483647 w 146"/>
              <a:gd name="T49" fmla="*/ 2147483647 h 30"/>
              <a:gd name="T50" fmla="*/ 2147483647 w 146"/>
              <a:gd name="T51" fmla="*/ 2147483647 h 30"/>
              <a:gd name="T52" fmla="*/ 2147483647 w 146"/>
              <a:gd name="T53" fmla="*/ 2147483647 h 30"/>
              <a:gd name="T54" fmla="*/ 2147483647 w 146"/>
              <a:gd name="T55" fmla="*/ 2147483647 h 30"/>
              <a:gd name="T56" fmla="*/ 2147483647 w 146"/>
              <a:gd name="T57" fmla="*/ 2147483647 h 30"/>
              <a:gd name="T58" fmla="*/ 2147483647 w 146"/>
              <a:gd name="T59" fmla="*/ 2147483647 h 30"/>
              <a:gd name="T60" fmla="*/ 2147483647 w 146"/>
              <a:gd name="T61" fmla="*/ 2147483647 h 30"/>
              <a:gd name="T62" fmla="*/ 2147483647 w 146"/>
              <a:gd name="T63" fmla="*/ 2147483647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390" name="Freeform 503"/>
          <p:cNvSpPr>
            <a:spLocks/>
          </p:cNvSpPr>
          <p:nvPr>
            <p:custDataLst>
              <p:tags r:id="rId341"/>
            </p:custDataLst>
          </p:nvPr>
        </p:nvSpPr>
        <p:spPr bwMode="auto">
          <a:xfrm>
            <a:off x="6503988" y="1385888"/>
            <a:ext cx="20637" cy="58737"/>
          </a:xfrm>
          <a:custGeom>
            <a:avLst/>
            <a:gdLst>
              <a:gd name="T0" fmla="*/ 0 w 53"/>
              <a:gd name="T1" fmla="*/ 2147483647 h 9"/>
              <a:gd name="T2" fmla="*/ 2147483647 w 53"/>
              <a:gd name="T3" fmla="*/ 2147483647 h 9"/>
              <a:gd name="T4" fmla="*/ 2147483647 w 53"/>
              <a:gd name="T5" fmla="*/ 2147483647 h 9"/>
              <a:gd name="T6" fmla="*/ 2147483647 w 53"/>
              <a:gd name="T7" fmla="*/ 2147483647 h 9"/>
              <a:gd name="T8" fmla="*/ 2147483647 w 53"/>
              <a:gd name="T9" fmla="*/ 2147483647 h 9"/>
              <a:gd name="T10" fmla="*/ 2147483647 w 53"/>
              <a:gd name="T11" fmla="*/ 2147483647 h 9"/>
              <a:gd name="T12" fmla="*/ 2147483647 w 53"/>
              <a:gd name="T13" fmla="*/ 2147483647 h 9"/>
              <a:gd name="T14" fmla="*/ 2147483647 w 53"/>
              <a:gd name="T15" fmla="*/ 2147483647 h 9"/>
              <a:gd name="T16" fmla="*/ 2147483647 w 53"/>
              <a:gd name="T17" fmla="*/ 0 h 9"/>
              <a:gd name="T18" fmla="*/ 2147483647 w 53"/>
              <a:gd name="T19" fmla="*/ 0 h 9"/>
              <a:gd name="T20" fmla="*/ 2147483647 w 53"/>
              <a:gd name="T21" fmla="*/ 0 h 9"/>
              <a:gd name="T22" fmla="*/ 2147483647 w 53"/>
              <a:gd name="T23" fmla="*/ 2147483647 h 9"/>
              <a:gd name="T24" fmla="*/ 2147483647 w 53"/>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391" name="Line 504"/>
          <p:cNvSpPr>
            <a:spLocks noChangeShapeType="1"/>
          </p:cNvSpPr>
          <p:nvPr>
            <p:custDataLst>
              <p:tags r:id="rId342"/>
            </p:custDataLst>
          </p:nvPr>
        </p:nvSpPr>
        <p:spPr bwMode="auto">
          <a:xfrm flipV="1">
            <a:off x="6505575" y="1384300"/>
            <a:ext cx="0" cy="1588"/>
          </a:xfrm>
          <a:prstGeom prst="line">
            <a:avLst/>
          </a:prstGeom>
          <a:noFill/>
          <a:ln w="9525">
            <a:solidFill>
              <a:srgbClr val="FFFFFF"/>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392" name="Freeform 505"/>
          <p:cNvSpPr>
            <a:spLocks/>
          </p:cNvSpPr>
          <p:nvPr>
            <p:custDataLst>
              <p:tags r:id="rId343"/>
            </p:custDataLst>
          </p:nvPr>
        </p:nvSpPr>
        <p:spPr bwMode="auto">
          <a:xfrm>
            <a:off x="5675313" y="1312863"/>
            <a:ext cx="11112" cy="55562"/>
          </a:xfrm>
          <a:custGeom>
            <a:avLst/>
            <a:gdLst>
              <a:gd name="T0" fmla="*/ 0 w 26"/>
              <a:gd name="T1" fmla="*/ 2147483647 h 25"/>
              <a:gd name="T2" fmla="*/ 2147483647 w 26"/>
              <a:gd name="T3" fmla="*/ 2147483647 h 25"/>
              <a:gd name="T4" fmla="*/ 2147483647 w 26"/>
              <a:gd name="T5" fmla="*/ 2147483647 h 25"/>
              <a:gd name="T6" fmla="*/ 2147483647 w 26"/>
              <a:gd name="T7" fmla="*/ 2147483647 h 25"/>
              <a:gd name="T8" fmla="*/ 2147483647 w 26"/>
              <a:gd name="T9" fmla="*/ 2147483647 h 25"/>
              <a:gd name="T10" fmla="*/ 2147483647 w 26"/>
              <a:gd name="T11" fmla="*/ 2147483647 h 25"/>
              <a:gd name="T12" fmla="*/ 2147483647 w 26"/>
              <a:gd name="T13" fmla="*/ 0 h 25"/>
              <a:gd name="T14" fmla="*/ 2147483647 w 26"/>
              <a:gd name="T15" fmla="*/ 2147483647 h 25"/>
              <a:gd name="T16" fmla="*/ 2147483647 w 26"/>
              <a:gd name="T17" fmla="*/ 2147483647 h 25"/>
              <a:gd name="T18" fmla="*/ 2147483647 w 26"/>
              <a:gd name="T19" fmla="*/ 2147483647 h 25"/>
              <a:gd name="T20" fmla="*/ 0 w 26"/>
              <a:gd name="T21" fmla="*/ 2147483647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393" name="Freeform 506"/>
          <p:cNvSpPr>
            <a:spLocks/>
          </p:cNvSpPr>
          <p:nvPr>
            <p:custDataLst>
              <p:tags r:id="rId344"/>
            </p:custDataLst>
          </p:nvPr>
        </p:nvSpPr>
        <p:spPr bwMode="auto">
          <a:xfrm>
            <a:off x="6424613" y="1384300"/>
            <a:ext cx="9525" cy="57150"/>
          </a:xfrm>
          <a:custGeom>
            <a:avLst/>
            <a:gdLst>
              <a:gd name="T0" fmla="*/ 2147483647 w 33"/>
              <a:gd name="T1" fmla="*/ 2147483647 h 25"/>
              <a:gd name="T2" fmla="*/ 2147483647 w 33"/>
              <a:gd name="T3" fmla="*/ 2147483647 h 25"/>
              <a:gd name="T4" fmla="*/ 2147483647 w 33"/>
              <a:gd name="T5" fmla="*/ 0 h 25"/>
              <a:gd name="T6" fmla="*/ 0 w 33"/>
              <a:gd name="T7" fmla="*/ 0 h 25"/>
              <a:gd name="T8" fmla="*/ 2147483647 w 33"/>
              <a:gd name="T9" fmla="*/ 2147483647 h 25"/>
              <a:gd name="T10" fmla="*/ 2147483647 w 33"/>
              <a:gd name="T11" fmla="*/ 2147483647 h 25"/>
              <a:gd name="T12" fmla="*/ 2147483647 w 33"/>
              <a:gd name="T13" fmla="*/ 2147483647 h 25"/>
              <a:gd name="T14" fmla="*/ 2147483647 w 33"/>
              <a:gd name="T15" fmla="*/ 2147483647 h 25"/>
              <a:gd name="T16" fmla="*/ 2147483647 w 33"/>
              <a:gd name="T17" fmla="*/ 2147483647 h 25"/>
              <a:gd name="T18" fmla="*/ 2147483647 w 33"/>
              <a:gd name="T19" fmla="*/ 2147483647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394" name="Freeform 507"/>
          <p:cNvSpPr>
            <a:spLocks/>
          </p:cNvSpPr>
          <p:nvPr>
            <p:custDataLst>
              <p:tags r:id="rId345"/>
            </p:custDataLst>
          </p:nvPr>
        </p:nvSpPr>
        <p:spPr bwMode="auto">
          <a:xfrm>
            <a:off x="6378575" y="1347788"/>
            <a:ext cx="9525" cy="57150"/>
          </a:xfrm>
          <a:custGeom>
            <a:avLst/>
            <a:gdLst>
              <a:gd name="T0" fmla="*/ 0 w 20"/>
              <a:gd name="T1" fmla="*/ 0 h 18"/>
              <a:gd name="T2" fmla="*/ 2147483647 w 20"/>
              <a:gd name="T3" fmla="*/ 2147483647 h 18"/>
              <a:gd name="T4" fmla="*/ 2147483647 w 20"/>
              <a:gd name="T5" fmla="*/ 2147483647 h 18"/>
              <a:gd name="T6" fmla="*/ 2147483647 w 20"/>
              <a:gd name="T7" fmla="*/ 0 h 18"/>
              <a:gd name="T8" fmla="*/ 0 w 2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18">
                <a:moveTo>
                  <a:pt x="0" y="0"/>
                </a:moveTo>
                <a:lnTo>
                  <a:pt x="13" y="18"/>
                </a:lnTo>
                <a:lnTo>
                  <a:pt x="16" y="11"/>
                </a:lnTo>
                <a:lnTo>
                  <a:pt x="20"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395" name="Freeform 508"/>
          <p:cNvSpPr>
            <a:spLocks/>
          </p:cNvSpPr>
          <p:nvPr>
            <p:custDataLst>
              <p:tags r:id="rId346"/>
            </p:custDataLst>
          </p:nvPr>
        </p:nvSpPr>
        <p:spPr bwMode="auto">
          <a:xfrm>
            <a:off x="6878638" y="1917700"/>
            <a:ext cx="12700" cy="58738"/>
          </a:xfrm>
          <a:custGeom>
            <a:avLst/>
            <a:gdLst>
              <a:gd name="T0" fmla="*/ 0 w 33"/>
              <a:gd name="T1" fmla="*/ 2147483647 h 31"/>
              <a:gd name="T2" fmla="*/ 0 w 33"/>
              <a:gd name="T3" fmla="*/ 0 h 31"/>
              <a:gd name="T4" fmla="*/ 2147483647 w 33"/>
              <a:gd name="T5" fmla="*/ 0 h 31"/>
              <a:gd name="T6" fmla="*/ 2147483647 w 33"/>
              <a:gd name="T7" fmla="*/ 0 h 31"/>
              <a:gd name="T8" fmla="*/ 2147483647 w 33"/>
              <a:gd name="T9" fmla="*/ 0 h 31"/>
              <a:gd name="T10" fmla="*/ 2147483647 w 33"/>
              <a:gd name="T11" fmla="*/ 0 h 31"/>
              <a:gd name="T12" fmla="*/ 2147483647 w 33"/>
              <a:gd name="T13" fmla="*/ 2147483647 h 31"/>
              <a:gd name="T14" fmla="*/ 2147483647 w 33"/>
              <a:gd name="T15" fmla="*/ 2147483647 h 31"/>
              <a:gd name="T16" fmla="*/ 2147483647 w 33"/>
              <a:gd name="T17" fmla="*/ 2147483647 h 31"/>
              <a:gd name="T18" fmla="*/ 2147483647 w 33"/>
              <a:gd name="T19" fmla="*/ 2147483647 h 31"/>
              <a:gd name="T20" fmla="*/ 2147483647 w 33"/>
              <a:gd name="T21" fmla="*/ 2147483647 h 31"/>
              <a:gd name="T22" fmla="*/ 2147483647 w 33"/>
              <a:gd name="T23" fmla="*/ 2147483647 h 31"/>
              <a:gd name="T24" fmla="*/ 2147483647 w 33"/>
              <a:gd name="T25" fmla="*/ 2147483647 h 31"/>
              <a:gd name="T26" fmla="*/ 2147483647 w 33"/>
              <a:gd name="T27" fmla="*/ 2147483647 h 31"/>
              <a:gd name="T28" fmla="*/ 0 w 33"/>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396" name="Freeform 509"/>
          <p:cNvSpPr>
            <a:spLocks/>
          </p:cNvSpPr>
          <p:nvPr>
            <p:custDataLst>
              <p:tags r:id="rId347"/>
            </p:custDataLst>
          </p:nvPr>
        </p:nvSpPr>
        <p:spPr bwMode="auto">
          <a:xfrm>
            <a:off x="7172325" y="1439863"/>
            <a:ext cx="55563" cy="58737"/>
          </a:xfrm>
          <a:custGeom>
            <a:avLst/>
            <a:gdLst>
              <a:gd name="T0" fmla="*/ 2147483647 w 129"/>
              <a:gd name="T1" fmla="*/ 2147483647 h 56"/>
              <a:gd name="T2" fmla="*/ 2147483647 w 129"/>
              <a:gd name="T3" fmla="*/ 2147483647 h 56"/>
              <a:gd name="T4" fmla="*/ 2147483647 w 129"/>
              <a:gd name="T5" fmla="*/ 2147483647 h 56"/>
              <a:gd name="T6" fmla="*/ 0 w 129"/>
              <a:gd name="T7" fmla="*/ 2147483647 h 56"/>
              <a:gd name="T8" fmla="*/ 2147483647 w 129"/>
              <a:gd name="T9" fmla="*/ 2147483647 h 56"/>
              <a:gd name="T10" fmla="*/ 2147483647 w 129"/>
              <a:gd name="T11" fmla="*/ 2147483647 h 56"/>
              <a:gd name="T12" fmla="*/ 2147483647 w 129"/>
              <a:gd name="T13" fmla="*/ 2147483647 h 56"/>
              <a:gd name="T14" fmla="*/ 2147483647 w 129"/>
              <a:gd name="T15" fmla="*/ 2147483647 h 56"/>
              <a:gd name="T16" fmla="*/ 2147483647 w 129"/>
              <a:gd name="T17" fmla="*/ 2147483647 h 56"/>
              <a:gd name="T18" fmla="*/ 2147483647 w 129"/>
              <a:gd name="T19" fmla="*/ 2147483647 h 56"/>
              <a:gd name="T20" fmla="*/ 2147483647 w 129"/>
              <a:gd name="T21" fmla="*/ 2147483647 h 56"/>
              <a:gd name="T22" fmla="*/ 2147483647 w 129"/>
              <a:gd name="T23" fmla="*/ 2147483647 h 56"/>
              <a:gd name="T24" fmla="*/ 2147483647 w 129"/>
              <a:gd name="T25" fmla="*/ 0 h 56"/>
              <a:gd name="T26" fmla="*/ 2147483647 w 129"/>
              <a:gd name="T27" fmla="*/ 2147483647 h 56"/>
              <a:gd name="T28" fmla="*/ 2147483647 w 129"/>
              <a:gd name="T29" fmla="*/ 2147483647 h 56"/>
              <a:gd name="T30" fmla="*/ 2147483647 w 129"/>
              <a:gd name="T31" fmla="*/ 2147483647 h 56"/>
              <a:gd name="T32" fmla="*/ 2147483647 w 129"/>
              <a:gd name="T33" fmla="*/ 2147483647 h 56"/>
              <a:gd name="T34" fmla="*/ 2147483647 w 129"/>
              <a:gd name="T35" fmla="*/ 2147483647 h 56"/>
              <a:gd name="T36" fmla="*/ 2147483647 w 129"/>
              <a:gd name="T37" fmla="*/ 2147483647 h 56"/>
              <a:gd name="T38" fmla="*/ 2147483647 w 129"/>
              <a:gd name="T39" fmla="*/ 2147483647 h 56"/>
              <a:gd name="T40" fmla="*/ 2147483647 w 129"/>
              <a:gd name="T41" fmla="*/ 2147483647 h 56"/>
              <a:gd name="T42" fmla="*/ 2147483647 w 129"/>
              <a:gd name="T43" fmla="*/ 2147483647 h 56"/>
              <a:gd name="T44" fmla="*/ 2147483647 w 129"/>
              <a:gd name="T45" fmla="*/ 2147483647 h 56"/>
              <a:gd name="T46" fmla="*/ 2147483647 w 129"/>
              <a:gd name="T47" fmla="*/ 2147483647 h 56"/>
              <a:gd name="T48" fmla="*/ 2147483647 w 129"/>
              <a:gd name="T49" fmla="*/ 2147483647 h 56"/>
              <a:gd name="T50" fmla="*/ 2147483647 w 129"/>
              <a:gd name="T51" fmla="*/ 2147483647 h 56"/>
              <a:gd name="T52" fmla="*/ 2147483647 w 129"/>
              <a:gd name="T53" fmla="*/ 2147483647 h 56"/>
              <a:gd name="T54" fmla="*/ 2147483647 w 129"/>
              <a:gd name="T55" fmla="*/ 2147483647 h 56"/>
              <a:gd name="T56" fmla="*/ 2147483647 w 129"/>
              <a:gd name="T57" fmla="*/ 2147483647 h 56"/>
              <a:gd name="T58" fmla="*/ 2147483647 w 129"/>
              <a:gd name="T59" fmla="*/ 2147483647 h 56"/>
              <a:gd name="T60" fmla="*/ 2147483647 w 129"/>
              <a:gd name="T61" fmla="*/ 2147483647 h 56"/>
              <a:gd name="T62" fmla="*/ 2147483647 w 129"/>
              <a:gd name="T63" fmla="*/ 2147483647 h 56"/>
              <a:gd name="T64" fmla="*/ 2147483647 w 129"/>
              <a:gd name="T65" fmla="*/ 2147483647 h 56"/>
              <a:gd name="T66" fmla="*/ 2147483647 w 129"/>
              <a:gd name="T67" fmla="*/ 2147483647 h 56"/>
              <a:gd name="T68" fmla="*/ 2147483647 w 129"/>
              <a:gd name="T69" fmla="*/ 2147483647 h 56"/>
              <a:gd name="T70" fmla="*/ 2147483647 w 129"/>
              <a:gd name="T71" fmla="*/ 2147483647 h 56"/>
              <a:gd name="T72" fmla="*/ 2147483647 w 129"/>
              <a:gd name="T73" fmla="*/ 2147483647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397" name="Freeform 510"/>
          <p:cNvSpPr>
            <a:spLocks/>
          </p:cNvSpPr>
          <p:nvPr>
            <p:custDataLst>
              <p:tags r:id="rId348"/>
            </p:custDataLst>
          </p:nvPr>
        </p:nvSpPr>
        <p:spPr bwMode="auto">
          <a:xfrm>
            <a:off x="7308850" y="1792288"/>
            <a:ext cx="14288" cy="57150"/>
          </a:xfrm>
          <a:custGeom>
            <a:avLst/>
            <a:gdLst>
              <a:gd name="T0" fmla="*/ 2147483647 w 41"/>
              <a:gd name="T1" fmla="*/ 2147483647 h 42"/>
              <a:gd name="T2" fmla="*/ 0 w 41"/>
              <a:gd name="T3" fmla="*/ 2147483647 h 42"/>
              <a:gd name="T4" fmla="*/ 0 w 41"/>
              <a:gd name="T5" fmla="*/ 2147483647 h 42"/>
              <a:gd name="T6" fmla="*/ 2147483647 w 41"/>
              <a:gd name="T7" fmla="*/ 2147483647 h 42"/>
              <a:gd name="T8" fmla="*/ 2147483647 w 41"/>
              <a:gd name="T9" fmla="*/ 2147483647 h 42"/>
              <a:gd name="T10" fmla="*/ 2147483647 w 41"/>
              <a:gd name="T11" fmla="*/ 2147483647 h 42"/>
              <a:gd name="T12" fmla="*/ 2147483647 w 41"/>
              <a:gd name="T13" fmla="*/ 0 h 42"/>
              <a:gd name="T14" fmla="*/ 2147483647 w 41"/>
              <a:gd name="T15" fmla="*/ 2147483647 h 42"/>
              <a:gd name="T16" fmla="*/ 2147483647 w 41"/>
              <a:gd name="T17" fmla="*/ 2147483647 h 42"/>
              <a:gd name="T18" fmla="*/ 2147483647 w 41"/>
              <a:gd name="T19" fmla="*/ 2147483647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398" name="Freeform 511"/>
          <p:cNvSpPr>
            <a:spLocks/>
          </p:cNvSpPr>
          <p:nvPr>
            <p:custDataLst>
              <p:tags r:id="rId349"/>
            </p:custDataLst>
          </p:nvPr>
        </p:nvSpPr>
        <p:spPr bwMode="auto">
          <a:xfrm>
            <a:off x="7458075" y="1905000"/>
            <a:ext cx="42863" cy="60325"/>
          </a:xfrm>
          <a:custGeom>
            <a:avLst/>
            <a:gdLst>
              <a:gd name="T0" fmla="*/ 2147483647 w 93"/>
              <a:gd name="T1" fmla="*/ 2147483647 h 39"/>
              <a:gd name="T2" fmla="*/ 2147483647 w 93"/>
              <a:gd name="T3" fmla="*/ 2147483647 h 39"/>
              <a:gd name="T4" fmla="*/ 2147483647 w 93"/>
              <a:gd name="T5" fmla="*/ 2147483647 h 39"/>
              <a:gd name="T6" fmla="*/ 2147483647 w 93"/>
              <a:gd name="T7" fmla="*/ 2147483647 h 39"/>
              <a:gd name="T8" fmla="*/ 2147483647 w 93"/>
              <a:gd name="T9" fmla="*/ 2147483647 h 39"/>
              <a:gd name="T10" fmla="*/ 2147483647 w 93"/>
              <a:gd name="T11" fmla="*/ 2147483647 h 39"/>
              <a:gd name="T12" fmla="*/ 2147483647 w 93"/>
              <a:gd name="T13" fmla="*/ 2147483647 h 39"/>
              <a:gd name="T14" fmla="*/ 2147483647 w 93"/>
              <a:gd name="T15" fmla="*/ 2147483647 h 39"/>
              <a:gd name="T16" fmla="*/ 2147483647 w 93"/>
              <a:gd name="T17" fmla="*/ 2147483647 h 39"/>
              <a:gd name="T18" fmla="*/ 2147483647 w 93"/>
              <a:gd name="T19" fmla="*/ 2147483647 h 39"/>
              <a:gd name="T20" fmla="*/ 2147483647 w 93"/>
              <a:gd name="T21" fmla="*/ 2147483647 h 39"/>
              <a:gd name="T22" fmla="*/ 2147483647 w 93"/>
              <a:gd name="T23" fmla="*/ 2147483647 h 39"/>
              <a:gd name="T24" fmla="*/ 2147483647 w 93"/>
              <a:gd name="T25" fmla="*/ 2147483647 h 39"/>
              <a:gd name="T26" fmla="*/ 2147483647 w 93"/>
              <a:gd name="T27" fmla="*/ 2147483647 h 39"/>
              <a:gd name="T28" fmla="*/ 2147483647 w 93"/>
              <a:gd name="T29" fmla="*/ 2147483647 h 39"/>
              <a:gd name="T30" fmla="*/ 0 w 93"/>
              <a:gd name="T31" fmla="*/ 2147483647 h 39"/>
              <a:gd name="T32" fmla="*/ 2147483647 w 93"/>
              <a:gd name="T33" fmla="*/ 2147483647 h 39"/>
              <a:gd name="T34" fmla="*/ 2147483647 w 93"/>
              <a:gd name="T35" fmla="*/ 0 h 39"/>
              <a:gd name="T36" fmla="*/ 2147483647 w 93"/>
              <a:gd name="T37" fmla="*/ 0 h 39"/>
              <a:gd name="T38" fmla="*/ 2147483647 w 93"/>
              <a:gd name="T39" fmla="*/ 2147483647 h 39"/>
              <a:gd name="T40" fmla="*/ 2147483647 w 93"/>
              <a:gd name="T41" fmla="*/ 2147483647 h 39"/>
              <a:gd name="T42" fmla="*/ 2147483647 w 93"/>
              <a:gd name="T43" fmla="*/ 2147483647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399" name="Freeform 512"/>
          <p:cNvSpPr>
            <a:spLocks/>
          </p:cNvSpPr>
          <p:nvPr>
            <p:custDataLst>
              <p:tags r:id="rId350"/>
            </p:custDataLst>
          </p:nvPr>
        </p:nvSpPr>
        <p:spPr bwMode="auto">
          <a:xfrm>
            <a:off x="7508875" y="1920875"/>
            <a:ext cx="19050" cy="58738"/>
          </a:xfrm>
          <a:custGeom>
            <a:avLst/>
            <a:gdLst>
              <a:gd name="T0" fmla="*/ 2147483647 w 39"/>
              <a:gd name="T1" fmla="*/ 2147483647 h 19"/>
              <a:gd name="T2" fmla="*/ 2147483647 w 39"/>
              <a:gd name="T3" fmla="*/ 2147483647 h 19"/>
              <a:gd name="T4" fmla="*/ 2147483647 w 39"/>
              <a:gd name="T5" fmla="*/ 2147483647 h 19"/>
              <a:gd name="T6" fmla="*/ 2147483647 w 39"/>
              <a:gd name="T7" fmla="*/ 2147483647 h 19"/>
              <a:gd name="T8" fmla="*/ 2147483647 w 39"/>
              <a:gd name="T9" fmla="*/ 2147483647 h 19"/>
              <a:gd name="T10" fmla="*/ 2147483647 w 39"/>
              <a:gd name="T11" fmla="*/ 2147483647 h 19"/>
              <a:gd name="T12" fmla="*/ 0 w 39"/>
              <a:gd name="T13" fmla="*/ 2147483647 h 19"/>
              <a:gd name="T14" fmla="*/ 0 w 39"/>
              <a:gd name="T15" fmla="*/ 0 h 19"/>
              <a:gd name="T16" fmla="*/ 2147483647 w 39"/>
              <a:gd name="T17" fmla="*/ 2147483647 h 19"/>
              <a:gd name="T18" fmla="*/ 2147483647 w 39"/>
              <a:gd name="T19" fmla="*/ 2147483647 h 19"/>
              <a:gd name="T20" fmla="*/ 2147483647 w 39"/>
              <a:gd name="T21" fmla="*/ 2147483647 h 19"/>
              <a:gd name="T22" fmla="*/ 2147483647 w 39"/>
              <a:gd name="T23" fmla="*/ 2147483647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400" name="Freeform 513"/>
          <p:cNvSpPr>
            <a:spLocks/>
          </p:cNvSpPr>
          <p:nvPr>
            <p:custDataLst>
              <p:tags r:id="rId351"/>
            </p:custDataLst>
          </p:nvPr>
        </p:nvSpPr>
        <p:spPr bwMode="auto">
          <a:xfrm>
            <a:off x="7373938" y="2047875"/>
            <a:ext cx="14287" cy="57150"/>
          </a:xfrm>
          <a:custGeom>
            <a:avLst/>
            <a:gdLst>
              <a:gd name="T0" fmla="*/ 0 w 26"/>
              <a:gd name="T1" fmla="*/ 2147483647 h 36"/>
              <a:gd name="T2" fmla="*/ 2147483647 w 26"/>
              <a:gd name="T3" fmla="*/ 2147483647 h 36"/>
              <a:gd name="T4" fmla="*/ 2147483647 w 26"/>
              <a:gd name="T5" fmla="*/ 2147483647 h 36"/>
              <a:gd name="T6" fmla="*/ 2147483647 w 26"/>
              <a:gd name="T7" fmla="*/ 2147483647 h 36"/>
              <a:gd name="T8" fmla="*/ 2147483647 w 26"/>
              <a:gd name="T9" fmla="*/ 0 h 36"/>
              <a:gd name="T10" fmla="*/ 2147483647 w 26"/>
              <a:gd name="T11" fmla="*/ 2147483647 h 36"/>
              <a:gd name="T12" fmla="*/ 2147483647 w 26"/>
              <a:gd name="T13" fmla="*/ 2147483647 h 36"/>
              <a:gd name="T14" fmla="*/ 2147483647 w 26"/>
              <a:gd name="T15" fmla="*/ 2147483647 h 36"/>
              <a:gd name="T16" fmla="*/ 2147483647 w 26"/>
              <a:gd name="T17" fmla="*/ 2147483647 h 36"/>
              <a:gd name="T18" fmla="*/ 2147483647 w 26"/>
              <a:gd name="T19" fmla="*/ 2147483647 h 36"/>
              <a:gd name="T20" fmla="*/ 2147483647 w 26"/>
              <a:gd name="T21" fmla="*/ 2147483647 h 36"/>
              <a:gd name="T22" fmla="*/ 2147483647 w 26"/>
              <a:gd name="T23" fmla="*/ 2147483647 h 36"/>
              <a:gd name="T24" fmla="*/ 2147483647 w 26"/>
              <a:gd name="T25" fmla="*/ 2147483647 h 36"/>
              <a:gd name="T26" fmla="*/ 2147483647 w 26"/>
              <a:gd name="T27" fmla="*/ 2147483647 h 36"/>
              <a:gd name="T28" fmla="*/ 0 w 26"/>
              <a:gd name="T29" fmla="*/ 2147483647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401" name="Freeform 514"/>
          <p:cNvSpPr>
            <a:spLocks/>
          </p:cNvSpPr>
          <p:nvPr>
            <p:custDataLst>
              <p:tags r:id="rId352"/>
            </p:custDataLst>
          </p:nvPr>
        </p:nvSpPr>
        <p:spPr bwMode="auto">
          <a:xfrm>
            <a:off x="7385050" y="2076450"/>
            <a:ext cx="3175" cy="60325"/>
          </a:xfrm>
          <a:custGeom>
            <a:avLst/>
            <a:gdLst>
              <a:gd name="T0" fmla="*/ 0 w 6"/>
              <a:gd name="T1" fmla="*/ 2147483647 h 37"/>
              <a:gd name="T2" fmla="*/ 0 w 6"/>
              <a:gd name="T3" fmla="*/ 0 h 37"/>
              <a:gd name="T4" fmla="*/ 2147483647 w 6"/>
              <a:gd name="T5" fmla="*/ 0 h 37"/>
              <a:gd name="T6" fmla="*/ 2147483647 w 6"/>
              <a:gd name="T7" fmla="*/ 2147483647 h 37"/>
              <a:gd name="T8" fmla="*/ 0 w 6"/>
              <a:gd name="T9" fmla="*/ 2147483647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37">
                <a:moveTo>
                  <a:pt x="0" y="37"/>
                </a:moveTo>
                <a:lnTo>
                  <a:pt x="0" y="0"/>
                </a:lnTo>
                <a:lnTo>
                  <a:pt x="6" y="0"/>
                </a:lnTo>
                <a:lnTo>
                  <a:pt x="6" y="31"/>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402" name="Freeform 515"/>
          <p:cNvSpPr>
            <a:spLocks/>
          </p:cNvSpPr>
          <p:nvPr>
            <p:custDataLst>
              <p:tags r:id="rId353"/>
            </p:custDataLst>
          </p:nvPr>
        </p:nvSpPr>
        <p:spPr bwMode="auto">
          <a:xfrm>
            <a:off x="7372350" y="2159000"/>
            <a:ext cx="9525" cy="55563"/>
          </a:xfrm>
          <a:custGeom>
            <a:avLst/>
            <a:gdLst>
              <a:gd name="T0" fmla="*/ 0 w 20"/>
              <a:gd name="T1" fmla="*/ 2147483647 h 43"/>
              <a:gd name="T2" fmla="*/ 0 w 20"/>
              <a:gd name="T3" fmla="*/ 2147483647 h 43"/>
              <a:gd name="T4" fmla="*/ 0 w 20"/>
              <a:gd name="T5" fmla="*/ 2147483647 h 43"/>
              <a:gd name="T6" fmla="*/ 2147483647 w 20"/>
              <a:gd name="T7" fmla="*/ 2147483647 h 43"/>
              <a:gd name="T8" fmla="*/ 2147483647 w 20"/>
              <a:gd name="T9" fmla="*/ 0 h 43"/>
              <a:gd name="T10" fmla="*/ 2147483647 w 20"/>
              <a:gd name="T11" fmla="*/ 2147483647 h 43"/>
              <a:gd name="T12" fmla="*/ 2147483647 w 20"/>
              <a:gd name="T13" fmla="*/ 2147483647 h 43"/>
              <a:gd name="T14" fmla="*/ 2147483647 w 20"/>
              <a:gd name="T15" fmla="*/ 2147483647 h 43"/>
              <a:gd name="T16" fmla="*/ 2147483647 w 20"/>
              <a:gd name="T17" fmla="*/ 2147483647 h 43"/>
              <a:gd name="T18" fmla="*/ 2147483647 w 20"/>
              <a:gd name="T19" fmla="*/ 2147483647 h 43"/>
              <a:gd name="T20" fmla="*/ 2147483647 w 20"/>
              <a:gd name="T21" fmla="*/ 2147483647 h 43"/>
              <a:gd name="T22" fmla="*/ 2147483647 w 20"/>
              <a:gd name="T23" fmla="*/ 2147483647 h 43"/>
              <a:gd name="T24" fmla="*/ 2147483647 w 20"/>
              <a:gd name="T25" fmla="*/ 2147483647 h 43"/>
              <a:gd name="T26" fmla="*/ 2147483647 w 20"/>
              <a:gd name="T27" fmla="*/ 2147483647 h 43"/>
              <a:gd name="T28" fmla="*/ 2147483647 w 20"/>
              <a:gd name="T29" fmla="*/ 2147483647 h 43"/>
              <a:gd name="T30" fmla="*/ 2147483647 w 20"/>
              <a:gd name="T31" fmla="*/ 2147483647 h 43"/>
              <a:gd name="T32" fmla="*/ 2147483647 w 20"/>
              <a:gd name="T33" fmla="*/ 2147483647 h 43"/>
              <a:gd name="T34" fmla="*/ 2147483647 w 20"/>
              <a:gd name="T35" fmla="*/ 2147483647 h 43"/>
              <a:gd name="T36" fmla="*/ 0 w 20"/>
              <a:gd name="T37" fmla="*/ 2147483647 h 43"/>
              <a:gd name="T38" fmla="*/ 0 w 20"/>
              <a:gd name="T39" fmla="*/ 214748364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403" name="Freeform 516"/>
          <p:cNvSpPr>
            <a:spLocks/>
          </p:cNvSpPr>
          <p:nvPr>
            <p:custDataLst>
              <p:tags r:id="rId354"/>
            </p:custDataLst>
          </p:nvPr>
        </p:nvSpPr>
        <p:spPr bwMode="auto">
          <a:xfrm>
            <a:off x="7350125" y="2193925"/>
            <a:ext cx="0" cy="58738"/>
          </a:xfrm>
          <a:custGeom>
            <a:avLst/>
            <a:gdLst>
              <a:gd name="T0" fmla="*/ 2147483647 h 30"/>
              <a:gd name="T1" fmla="*/ 2147483647 h 30"/>
              <a:gd name="T2" fmla="*/ 2147483647 h 30"/>
              <a:gd name="T3" fmla="*/ 2147483647 h 30"/>
              <a:gd name="T4" fmla="*/ 0 h 30"/>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3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404" name="Freeform 517"/>
          <p:cNvSpPr>
            <a:spLocks/>
          </p:cNvSpPr>
          <p:nvPr>
            <p:custDataLst>
              <p:tags r:id="rId355"/>
            </p:custDataLst>
          </p:nvPr>
        </p:nvSpPr>
        <p:spPr bwMode="auto">
          <a:xfrm>
            <a:off x="7350125" y="2193925"/>
            <a:ext cx="7938" cy="58738"/>
          </a:xfrm>
          <a:custGeom>
            <a:avLst/>
            <a:gdLst>
              <a:gd name="T0" fmla="*/ 0 w 20"/>
              <a:gd name="T1" fmla="*/ 0 h 24"/>
              <a:gd name="T2" fmla="*/ 2147483647 w 20"/>
              <a:gd name="T3" fmla="*/ 0 h 24"/>
              <a:gd name="T4" fmla="*/ 0 w 20"/>
              <a:gd name="T5" fmla="*/ 2147483647 h 24"/>
              <a:gd name="T6" fmla="*/ 0 60000 65536"/>
              <a:gd name="T7" fmla="*/ 0 60000 65536"/>
              <a:gd name="T8" fmla="*/ 0 60000 65536"/>
            </a:gdLst>
            <a:ahLst/>
            <a:cxnLst>
              <a:cxn ang="T6">
                <a:pos x="T0" y="T1"/>
              </a:cxn>
              <a:cxn ang="T7">
                <a:pos x="T2" y="T3"/>
              </a:cxn>
              <a:cxn ang="T8">
                <a:pos x="T4" y="T5"/>
              </a:cxn>
            </a:cxnLst>
            <a:rect l="0" t="0" r="r" b="b"/>
            <a:pathLst>
              <a:path w="20" h="24">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405" name="Freeform 518"/>
          <p:cNvSpPr>
            <a:spLocks/>
          </p:cNvSpPr>
          <p:nvPr>
            <p:custDataLst>
              <p:tags r:id="rId356"/>
            </p:custDataLst>
          </p:nvPr>
        </p:nvSpPr>
        <p:spPr bwMode="auto">
          <a:xfrm>
            <a:off x="7104063" y="1781175"/>
            <a:ext cx="17462" cy="60325"/>
          </a:xfrm>
          <a:custGeom>
            <a:avLst/>
            <a:gdLst>
              <a:gd name="T0" fmla="*/ 0 w 46"/>
              <a:gd name="T1" fmla="*/ 0 h 19"/>
              <a:gd name="T2" fmla="*/ 2147483647 w 46"/>
              <a:gd name="T3" fmla="*/ 2147483647 h 19"/>
              <a:gd name="T4" fmla="*/ 2147483647 w 46"/>
              <a:gd name="T5" fmla="*/ 2147483647 h 19"/>
              <a:gd name="T6" fmla="*/ 2147483647 w 46"/>
              <a:gd name="T7" fmla="*/ 2147483647 h 19"/>
              <a:gd name="T8" fmla="*/ 2147483647 w 46"/>
              <a:gd name="T9" fmla="*/ 2147483647 h 19"/>
              <a:gd name="T10" fmla="*/ 2147483647 w 46"/>
              <a:gd name="T11" fmla="*/ 2147483647 h 19"/>
              <a:gd name="T12" fmla="*/ 2147483647 w 46"/>
              <a:gd name="T13" fmla="*/ 2147483647 h 19"/>
              <a:gd name="T14" fmla="*/ 2147483647 w 46"/>
              <a:gd name="T15" fmla="*/ 2147483647 h 19"/>
              <a:gd name="T16" fmla="*/ 2147483647 w 46"/>
              <a:gd name="T17" fmla="*/ 2147483647 h 19"/>
              <a:gd name="T18" fmla="*/ 2147483647 w 46"/>
              <a:gd name="T19" fmla="*/ 2147483647 h 19"/>
              <a:gd name="T20" fmla="*/ 2147483647 w 46"/>
              <a:gd name="T21" fmla="*/ 2147483647 h 19"/>
              <a:gd name="T22" fmla="*/ 2147483647 w 46"/>
              <a:gd name="T23" fmla="*/ 2147483647 h 19"/>
              <a:gd name="T24" fmla="*/ 2147483647 w 46"/>
              <a:gd name="T25" fmla="*/ 2147483647 h 19"/>
              <a:gd name="T26" fmla="*/ 2147483647 w 46"/>
              <a:gd name="T27" fmla="*/ 2147483647 h 19"/>
              <a:gd name="T28" fmla="*/ 2147483647 w 46"/>
              <a:gd name="T29" fmla="*/ 2147483647 h 19"/>
              <a:gd name="T30" fmla="*/ 2147483647 w 46"/>
              <a:gd name="T31" fmla="*/ 2147483647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406" name="Freeform 519"/>
          <p:cNvSpPr>
            <a:spLocks/>
          </p:cNvSpPr>
          <p:nvPr>
            <p:custDataLst>
              <p:tags r:id="rId357"/>
            </p:custDataLst>
          </p:nvPr>
        </p:nvSpPr>
        <p:spPr bwMode="auto">
          <a:xfrm>
            <a:off x="4419600" y="1920875"/>
            <a:ext cx="47625" cy="58738"/>
          </a:xfrm>
          <a:custGeom>
            <a:avLst/>
            <a:gdLst>
              <a:gd name="T0" fmla="*/ 2147483647 w 100"/>
              <a:gd name="T1" fmla="*/ 0 h 55"/>
              <a:gd name="T2" fmla="*/ 2147483647 w 100"/>
              <a:gd name="T3" fmla="*/ 2147483647 h 55"/>
              <a:gd name="T4" fmla="*/ 2147483647 w 100"/>
              <a:gd name="T5" fmla="*/ 2147483647 h 55"/>
              <a:gd name="T6" fmla="*/ 2147483647 w 100"/>
              <a:gd name="T7" fmla="*/ 2147483647 h 55"/>
              <a:gd name="T8" fmla="*/ 0 w 100"/>
              <a:gd name="T9" fmla="*/ 2147483647 h 55"/>
              <a:gd name="T10" fmla="*/ 2147483647 w 100"/>
              <a:gd name="T11" fmla="*/ 2147483647 h 55"/>
              <a:gd name="T12" fmla="*/ 2147483647 w 100"/>
              <a:gd name="T13" fmla="*/ 2147483647 h 55"/>
              <a:gd name="T14" fmla="*/ 2147483647 w 100"/>
              <a:gd name="T15" fmla="*/ 2147483647 h 55"/>
              <a:gd name="T16" fmla="*/ 2147483647 w 100"/>
              <a:gd name="T17" fmla="*/ 2147483647 h 55"/>
              <a:gd name="T18" fmla="*/ 2147483647 w 100"/>
              <a:gd name="T19" fmla="*/ 2147483647 h 55"/>
              <a:gd name="T20" fmla="*/ 2147483647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407" name="Freeform 520"/>
          <p:cNvSpPr>
            <a:spLocks/>
          </p:cNvSpPr>
          <p:nvPr>
            <p:custDataLst>
              <p:tags r:id="rId358"/>
            </p:custDataLst>
          </p:nvPr>
        </p:nvSpPr>
        <p:spPr bwMode="auto">
          <a:xfrm>
            <a:off x="4868863" y="1512888"/>
            <a:ext cx="42862" cy="58737"/>
          </a:xfrm>
          <a:custGeom>
            <a:avLst/>
            <a:gdLst>
              <a:gd name="T0" fmla="*/ 2147483647 w 99"/>
              <a:gd name="T1" fmla="*/ 2147483647 h 51"/>
              <a:gd name="T2" fmla="*/ 2147483647 w 99"/>
              <a:gd name="T3" fmla="*/ 2147483647 h 51"/>
              <a:gd name="T4" fmla="*/ 2147483647 w 99"/>
              <a:gd name="T5" fmla="*/ 0 h 51"/>
              <a:gd name="T6" fmla="*/ 2147483647 w 99"/>
              <a:gd name="T7" fmla="*/ 0 h 51"/>
              <a:gd name="T8" fmla="*/ 2147483647 w 99"/>
              <a:gd name="T9" fmla="*/ 2147483647 h 51"/>
              <a:gd name="T10" fmla="*/ 2147483647 w 99"/>
              <a:gd name="T11" fmla="*/ 2147483647 h 51"/>
              <a:gd name="T12" fmla="*/ 2147483647 w 99"/>
              <a:gd name="T13" fmla="*/ 2147483647 h 51"/>
              <a:gd name="T14" fmla="*/ 2147483647 w 99"/>
              <a:gd name="T15" fmla="*/ 2147483647 h 51"/>
              <a:gd name="T16" fmla="*/ 2147483647 w 99"/>
              <a:gd name="T17" fmla="*/ 2147483647 h 51"/>
              <a:gd name="T18" fmla="*/ 2147483647 w 99"/>
              <a:gd name="T19" fmla="*/ 2147483647 h 51"/>
              <a:gd name="T20" fmla="*/ 2147483647 w 99"/>
              <a:gd name="T21" fmla="*/ 2147483647 h 51"/>
              <a:gd name="T22" fmla="*/ 2147483647 w 99"/>
              <a:gd name="T23" fmla="*/ 2147483647 h 51"/>
              <a:gd name="T24" fmla="*/ 2147483647 w 99"/>
              <a:gd name="T25" fmla="*/ 2147483647 h 51"/>
              <a:gd name="T26" fmla="*/ 2147483647 w 99"/>
              <a:gd name="T27" fmla="*/ 2147483647 h 51"/>
              <a:gd name="T28" fmla="*/ 2147483647 w 99"/>
              <a:gd name="T29" fmla="*/ 2147483647 h 51"/>
              <a:gd name="T30" fmla="*/ 2147483647 w 99"/>
              <a:gd name="T31" fmla="*/ 2147483647 h 51"/>
              <a:gd name="T32" fmla="*/ 2147483647 w 99"/>
              <a:gd name="T33" fmla="*/ 2147483647 h 51"/>
              <a:gd name="T34" fmla="*/ 2147483647 w 99"/>
              <a:gd name="T35" fmla="*/ 2147483647 h 51"/>
              <a:gd name="T36" fmla="*/ 2147483647 w 99"/>
              <a:gd name="T37" fmla="*/ 2147483647 h 51"/>
              <a:gd name="T38" fmla="*/ 2147483647 w 99"/>
              <a:gd name="T39" fmla="*/ 2147483647 h 51"/>
              <a:gd name="T40" fmla="*/ 2147483647 w 99"/>
              <a:gd name="T41" fmla="*/ 2147483647 h 51"/>
              <a:gd name="T42" fmla="*/ 2147483647 w 99"/>
              <a:gd name="T43" fmla="*/ 2147483647 h 51"/>
              <a:gd name="T44" fmla="*/ 2147483647 w 99"/>
              <a:gd name="T45" fmla="*/ 2147483647 h 51"/>
              <a:gd name="T46" fmla="*/ 2147483647 w 99"/>
              <a:gd name="T47" fmla="*/ 2147483647 h 51"/>
              <a:gd name="T48" fmla="*/ 2147483647 w 99"/>
              <a:gd name="T49" fmla="*/ 2147483647 h 51"/>
              <a:gd name="T50" fmla="*/ 2147483647 w 99"/>
              <a:gd name="T51" fmla="*/ 2147483647 h 51"/>
              <a:gd name="T52" fmla="*/ 2147483647 w 99"/>
              <a:gd name="T53" fmla="*/ 2147483647 h 51"/>
              <a:gd name="T54" fmla="*/ 0 w 99"/>
              <a:gd name="T55" fmla="*/ 2147483647 h 51"/>
              <a:gd name="T56" fmla="*/ 2147483647 w 99"/>
              <a:gd name="T57" fmla="*/ 2147483647 h 51"/>
              <a:gd name="T58" fmla="*/ 2147483647 w 99"/>
              <a:gd name="T59" fmla="*/ 2147483647 h 51"/>
              <a:gd name="T60" fmla="*/ 2147483647 w 99"/>
              <a:gd name="T61" fmla="*/ 2147483647 h 51"/>
              <a:gd name="T62" fmla="*/ 2147483647 w 99"/>
              <a:gd name="T63" fmla="*/ 2147483647 h 51"/>
              <a:gd name="T64" fmla="*/ 2147483647 w 99"/>
              <a:gd name="T65" fmla="*/ 2147483647 h 51"/>
              <a:gd name="T66" fmla="*/ 2147483647 w 99"/>
              <a:gd name="T67" fmla="*/ 2147483647 h 51"/>
              <a:gd name="T68" fmla="*/ 2147483647 w 99"/>
              <a:gd name="T69" fmla="*/ 2147483647 h 51"/>
              <a:gd name="T70" fmla="*/ 2147483647 w 99"/>
              <a:gd name="T71" fmla="*/ 2147483647 h 51"/>
              <a:gd name="T72" fmla="*/ 2147483647 w 99"/>
              <a:gd name="T73" fmla="*/ 2147483647 h 51"/>
              <a:gd name="T74" fmla="*/ 2147483647 w 99"/>
              <a:gd name="T75" fmla="*/ 2147483647 h 51"/>
              <a:gd name="T76" fmla="*/ 2147483647 w 99"/>
              <a:gd name="T77" fmla="*/ 2147483647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408" name="Freeform 521"/>
          <p:cNvSpPr>
            <a:spLocks/>
          </p:cNvSpPr>
          <p:nvPr>
            <p:custDataLst>
              <p:tags r:id="rId359"/>
            </p:custDataLst>
          </p:nvPr>
        </p:nvSpPr>
        <p:spPr bwMode="auto">
          <a:xfrm>
            <a:off x="4903788" y="1325563"/>
            <a:ext cx="228600" cy="163512"/>
          </a:xfrm>
          <a:custGeom>
            <a:avLst/>
            <a:gdLst>
              <a:gd name="T0" fmla="*/ 2147483647 w 525"/>
              <a:gd name="T1" fmla="*/ 2147483647 h 311"/>
              <a:gd name="T2" fmla="*/ 2147483647 w 525"/>
              <a:gd name="T3" fmla="*/ 2147483647 h 311"/>
              <a:gd name="T4" fmla="*/ 2147483647 w 525"/>
              <a:gd name="T5" fmla="*/ 2147483647 h 311"/>
              <a:gd name="T6" fmla="*/ 2147483647 w 525"/>
              <a:gd name="T7" fmla="*/ 2147483647 h 311"/>
              <a:gd name="T8" fmla="*/ 2147483647 w 525"/>
              <a:gd name="T9" fmla="*/ 2147483647 h 311"/>
              <a:gd name="T10" fmla="*/ 2147483647 w 525"/>
              <a:gd name="T11" fmla="*/ 2147483647 h 311"/>
              <a:gd name="T12" fmla="*/ 2147483647 w 525"/>
              <a:gd name="T13" fmla="*/ 2147483647 h 311"/>
              <a:gd name="T14" fmla="*/ 2147483647 w 525"/>
              <a:gd name="T15" fmla="*/ 2147483647 h 311"/>
              <a:gd name="T16" fmla="*/ 2147483647 w 525"/>
              <a:gd name="T17" fmla="*/ 2147483647 h 311"/>
              <a:gd name="T18" fmla="*/ 2147483647 w 525"/>
              <a:gd name="T19" fmla="*/ 2147483647 h 311"/>
              <a:gd name="T20" fmla="*/ 2147483647 w 525"/>
              <a:gd name="T21" fmla="*/ 2147483647 h 311"/>
              <a:gd name="T22" fmla="*/ 2147483647 w 525"/>
              <a:gd name="T23" fmla="*/ 2147483647 h 311"/>
              <a:gd name="T24" fmla="*/ 2147483647 w 525"/>
              <a:gd name="T25" fmla="*/ 2147483647 h 311"/>
              <a:gd name="T26" fmla="*/ 2147483647 w 525"/>
              <a:gd name="T27" fmla="*/ 2147483647 h 311"/>
              <a:gd name="T28" fmla="*/ 2147483647 w 525"/>
              <a:gd name="T29" fmla="*/ 2147483647 h 311"/>
              <a:gd name="T30" fmla="*/ 2147483647 w 525"/>
              <a:gd name="T31" fmla="*/ 2147483647 h 311"/>
              <a:gd name="T32" fmla="*/ 2147483647 w 525"/>
              <a:gd name="T33" fmla="*/ 2147483647 h 311"/>
              <a:gd name="T34" fmla="*/ 2147483647 w 525"/>
              <a:gd name="T35" fmla="*/ 2147483647 h 311"/>
              <a:gd name="T36" fmla="*/ 2147483647 w 525"/>
              <a:gd name="T37" fmla="*/ 2147483647 h 311"/>
              <a:gd name="T38" fmla="*/ 2147483647 w 525"/>
              <a:gd name="T39" fmla="*/ 2147483647 h 311"/>
              <a:gd name="T40" fmla="*/ 2147483647 w 525"/>
              <a:gd name="T41" fmla="*/ 2147483647 h 311"/>
              <a:gd name="T42" fmla="*/ 2147483647 w 525"/>
              <a:gd name="T43" fmla="*/ 2147483647 h 311"/>
              <a:gd name="T44" fmla="*/ 2147483647 w 525"/>
              <a:gd name="T45" fmla="*/ 2147483647 h 311"/>
              <a:gd name="T46" fmla="*/ 2147483647 w 525"/>
              <a:gd name="T47" fmla="*/ 2147483647 h 311"/>
              <a:gd name="T48" fmla="*/ 2147483647 w 525"/>
              <a:gd name="T49" fmla="*/ 2147483647 h 311"/>
              <a:gd name="T50" fmla="*/ 2147483647 w 525"/>
              <a:gd name="T51" fmla="*/ 2147483647 h 311"/>
              <a:gd name="T52" fmla="*/ 2147483647 w 525"/>
              <a:gd name="T53" fmla="*/ 2147483647 h 311"/>
              <a:gd name="T54" fmla="*/ 2147483647 w 525"/>
              <a:gd name="T55" fmla="*/ 2147483647 h 311"/>
              <a:gd name="T56" fmla="*/ 2147483647 w 525"/>
              <a:gd name="T57" fmla="*/ 2147483647 h 311"/>
              <a:gd name="T58" fmla="*/ 2147483647 w 525"/>
              <a:gd name="T59" fmla="*/ 2147483647 h 311"/>
              <a:gd name="T60" fmla="*/ 2147483647 w 525"/>
              <a:gd name="T61" fmla="*/ 2147483647 h 311"/>
              <a:gd name="T62" fmla="*/ 2147483647 w 525"/>
              <a:gd name="T63" fmla="*/ 2147483647 h 311"/>
              <a:gd name="T64" fmla="*/ 2147483647 w 525"/>
              <a:gd name="T65" fmla="*/ 2147483647 h 311"/>
              <a:gd name="T66" fmla="*/ 2147483647 w 525"/>
              <a:gd name="T67" fmla="*/ 2147483647 h 311"/>
              <a:gd name="T68" fmla="*/ 2147483647 w 525"/>
              <a:gd name="T69" fmla="*/ 2147483647 h 311"/>
              <a:gd name="T70" fmla="*/ 2147483647 w 525"/>
              <a:gd name="T71" fmla="*/ 2147483647 h 311"/>
              <a:gd name="T72" fmla="*/ 2147483647 w 525"/>
              <a:gd name="T73" fmla="*/ 2147483647 h 311"/>
              <a:gd name="T74" fmla="*/ 2147483647 w 525"/>
              <a:gd name="T75" fmla="*/ 2147483647 h 311"/>
              <a:gd name="T76" fmla="*/ 0 w 525"/>
              <a:gd name="T77" fmla="*/ 2147483647 h 311"/>
              <a:gd name="T78" fmla="*/ 2147483647 w 525"/>
              <a:gd name="T79" fmla="*/ 2147483647 h 311"/>
              <a:gd name="T80" fmla="*/ 2147483647 w 525"/>
              <a:gd name="T81" fmla="*/ 2147483647 h 311"/>
              <a:gd name="T82" fmla="*/ 2147483647 w 525"/>
              <a:gd name="T83" fmla="*/ 2147483647 h 311"/>
              <a:gd name="T84" fmla="*/ 2147483647 w 525"/>
              <a:gd name="T85" fmla="*/ 2147483647 h 311"/>
              <a:gd name="T86" fmla="*/ 2147483647 w 525"/>
              <a:gd name="T87" fmla="*/ 2147483647 h 311"/>
              <a:gd name="T88" fmla="*/ 2147483647 w 525"/>
              <a:gd name="T89" fmla="*/ 2147483647 h 311"/>
              <a:gd name="T90" fmla="*/ 2147483647 w 525"/>
              <a:gd name="T91" fmla="*/ 2147483647 h 311"/>
              <a:gd name="T92" fmla="*/ 2147483647 w 525"/>
              <a:gd name="T93" fmla="*/ 2147483647 h 311"/>
              <a:gd name="T94" fmla="*/ 2147483647 w 525"/>
              <a:gd name="T95" fmla="*/ 2147483647 h 311"/>
              <a:gd name="T96" fmla="*/ 2147483647 w 525"/>
              <a:gd name="T97" fmla="*/ 2147483647 h 311"/>
              <a:gd name="T98" fmla="*/ 2147483647 w 525"/>
              <a:gd name="T99" fmla="*/ 2147483647 h 311"/>
              <a:gd name="T100" fmla="*/ 2147483647 w 525"/>
              <a:gd name="T101" fmla="*/ 2147483647 h 311"/>
              <a:gd name="T102" fmla="*/ 2147483647 w 525"/>
              <a:gd name="T103" fmla="*/ 2147483647 h 311"/>
              <a:gd name="T104" fmla="*/ 2147483647 w 525"/>
              <a:gd name="T105" fmla="*/ 2147483647 h 311"/>
              <a:gd name="T106" fmla="*/ 2147483647 w 525"/>
              <a:gd name="T107" fmla="*/ 2147483647 h 311"/>
              <a:gd name="T108" fmla="*/ 2147483647 w 525"/>
              <a:gd name="T109" fmla="*/ 2147483647 h 311"/>
              <a:gd name="T110" fmla="*/ 2147483647 w 525"/>
              <a:gd name="T111" fmla="*/ 2147483647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409" name="Freeform 522"/>
          <p:cNvSpPr>
            <a:spLocks/>
          </p:cNvSpPr>
          <p:nvPr>
            <p:custDataLst>
              <p:tags r:id="rId360"/>
            </p:custDataLst>
          </p:nvPr>
        </p:nvSpPr>
        <p:spPr bwMode="auto">
          <a:xfrm>
            <a:off x="4695825" y="1636713"/>
            <a:ext cx="31750" cy="55562"/>
          </a:xfrm>
          <a:custGeom>
            <a:avLst/>
            <a:gdLst>
              <a:gd name="T0" fmla="*/ 2147483647 w 79"/>
              <a:gd name="T1" fmla="*/ 0 h 38"/>
              <a:gd name="T2" fmla="*/ 2147483647 w 79"/>
              <a:gd name="T3" fmla="*/ 2147483647 h 38"/>
              <a:gd name="T4" fmla="*/ 2147483647 w 79"/>
              <a:gd name="T5" fmla="*/ 2147483647 h 38"/>
              <a:gd name="T6" fmla="*/ 2147483647 w 79"/>
              <a:gd name="T7" fmla="*/ 2147483647 h 38"/>
              <a:gd name="T8" fmla="*/ 2147483647 w 79"/>
              <a:gd name="T9" fmla="*/ 2147483647 h 38"/>
              <a:gd name="T10" fmla="*/ 2147483647 w 79"/>
              <a:gd name="T11" fmla="*/ 2147483647 h 38"/>
              <a:gd name="T12" fmla="*/ 2147483647 w 79"/>
              <a:gd name="T13" fmla="*/ 2147483647 h 38"/>
              <a:gd name="T14" fmla="*/ 2147483647 w 79"/>
              <a:gd name="T15" fmla="*/ 2147483647 h 38"/>
              <a:gd name="T16" fmla="*/ 2147483647 w 79"/>
              <a:gd name="T17" fmla="*/ 2147483647 h 38"/>
              <a:gd name="T18" fmla="*/ 2147483647 w 79"/>
              <a:gd name="T19" fmla="*/ 2147483647 h 38"/>
              <a:gd name="T20" fmla="*/ 2147483647 w 79"/>
              <a:gd name="T21" fmla="*/ 2147483647 h 38"/>
              <a:gd name="T22" fmla="*/ 2147483647 w 79"/>
              <a:gd name="T23" fmla="*/ 2147483647 h 38"/>
              <a:gd name="T24" fmla="*/ 2147483647 w 79"/>
              <a:gd name="T25" fmla="*/ 2147483647 h 38"/>
              <a:gd name="T26" fmla="*/ 2147483647 w 79"/>
              <a:gd name="T27" fmla="*/ 2147483647 h 38"/>
              <a:gd name="T28" fmla="*/ 2147483647 w 79"/>
              <a:gd name="T29" fmla="*/ 2147483647 h 38"/>
              <a:gd name="T30" fmla="*/ 2147483647 w 79"/>
              <a:gd name="T31" fmla="*/ 2147483647 h 38"/>
              <a:gd name="T32" fmla="*/ 2147483647 w 79"/>
              <a:gd name="T33" fmla="*/ 2147483647 h 38"/>
              <a:gd name="T34" fmla="*/ 2147483647 w 79"/>
              <a:gd name="T35" fmla="*/ 2147483647 h 38"/>
              <a:gd name="T36" fmla="*/ 2147483647 w 79"/>
              <a:gd name="T37" fmla="*/ 2147483647 h 38"/>
              <a:gd name="T38" fmla="*/ 2147483647 w 79"/>
              <a:gd name="T39" fmla="*/ 2147483647 h 38"/>
              <a:gd name="T40" fmla="*/ 2147483647 w 79"/>
              <a:gd name="T41" fmla="*/ 2147483647 h 38"/>
              <a:gd name="T42" fmla="*/ 2147483647 w 79"/>
              <a:gd name="T43" fmla="*/ 2147483647 h 38"/>
              <a:gd name="T44" fmla="*/ 2147483647 w 79"/>
              <a:gd name="T45" fmla="*/ 2147483647 h 38"/>
              <a:gd name="T46" fmla="*/ 0 w 79"/>
              <a:gd name="T47" fmla="*/ 2147483647 h 38"/>
              <a:gd name="T48" fmla="*/ 0 w 79"/>
              <a:gd name="T49" fmla="*/ 2147483647 h 38"/>
              <a:gd name="T50" fmla="*/ 2147483647 w 79"/>
              <a:gd name="T51" fmla="*/ 2147483647 h 38"/>
              <a:gd name="T52" fmla="*/ 2147483647 w 79"/>
              <a:gd name="T53" fmla="*/ 2147483647 h 38"/>
              <a:gd name="T54" fmla="*/ 2147483647 w 79"/>
              <a:gd name="T55" fmla="*/ 2147483647 h 38"/>
              <a:gd name="T56" fmla="*/ 2147483647 w 79"/>
              <a:gd name="T57" fmla="*/ 2147483647 h 38"/>
              <a:gd name="T58" fmla="*/ 2147483647 w 79"/>
              <a:gd name="T59" fmla="*/ 2147483647 h 38"/>
              <a:gd name="T60" fmla="*/ 214748364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410" name="Freeform 523"/>
          <p:cNvSpPr>
            <a:spLocks/>
          </p:cNvSpPr>
          <p:nvPr>
            <p:custDataLst>
              <p:tags r:id="rId361"/>
            </p:custDataLst>
          </p:nvPr>
        </p:nvSpPr>
        <p:spPr bwMode="auto">
          <a:xfrm>
            <a:off x="7000875" y="1933575"/>
            <a:ext cx="196850" cy="268288"/>
          </a:xfrm>
          <a:custGeom>
            <a:avLst/>
            <a:gdLst>
              <a:gd name="T0" fmla="*/ 2147483647 w 459"/>
              <a:gd name="T1" fmla="*/ 2147483647 h 511"/>
              <a:gd name="T2" fmla="*/ 2147483647 w 459"/>
              <a:gd name="T3" fmla="*/ 2147483647 h 511"/>
              <a:gd name="T4" fmla="*/ 0 w 459"/>
              <a:gd name="T5" fmla="*/ 0 h 511"/>
              <a:gd name="T6" fmla="*/ 2147483647 w 459"/>
              <a:gd name="T7" fmla="*/ 2147483647 h 511"/>
              <a:gd name="T8" fmla="*/ 2147483647 w 459"/>
              <a:gd name="T9" fmla="*/ 2147483647 h 511"/>
              <a:gd name="T10" fmla="*/ 2147483647 w 459"/>
              <a:gd name="T11" fmla="*/ 2147483647 h 511"/>
              <a:gd name="T12" fmla="*/ 2147483647 w 459"/>
              <a:gd name="T13" fmla="*/ 2147483647 h 511"/>
              <a:gd name="T14" fmla="*/ 2147483647 w 459"/>
              <a:gd name="T15" fmla="*/ 2147483647 h 511"/>
              <a:gd name="T16" fmla="*/ 2147483647 w 459"/>
              <a:gd name="T17" fmla="*/ 2147483647 h 511"/>
              <a:gd name="T18" fmla="*/ 2147483647 w 459"/>
              <a:gd name="T19" fmla="*/ 2147483647 h 511"/>
              <a:gd name="T20" fmla="*/ 2147483647 w 459"/>
              <a:gd name="T21" fmla="*/ 2147483647 h 511"/>
              <a:gd name="T22" fmla="*/ 2147483647 w 459"/>
              <a:gd name="T23" fmla="*/ 2147483647 h 511"/>
              <a:gd name="T24" fmla="*/ 2147483647 w 459"/>
              <a:gd name="T25" fmla="*/ 2147483647 h 511"/>
              <a:gd name="T26" fmla="*/ 2147483647 w 459"/>
              <a:gd name="T27" fmla="*/ 2147483647 h 511"/>
              <a:gd name="T28" fmla="*/ 2147483647 w 459"/>
              <a:gd name="T29" fmla="*/ 2147483647 h 511"/>
              <a:gd name="T30" fmla="*/ 2147483647 w 459"/>
              <a:gd name="T31" fmla="*/ 2147483647 h 511"/>
              <a:gd name="T32" fmla="*/ 2147483647 w 459"/>
              <a:gd name="T33" fmla="*/ 2147483647 h 511"/>
              <a:gd name="T34" fmla="*/ 2147483647 w 459"/>
              <a:gd name="T35" fmla="*/ 2147483647 h 511"/>
              <a:gd name="T36" fmla="*/ 2147483647 w 459"/>
              <a:gd name="T37" fmla="*/ 2147483647 h 511"/>
              <a:gd name="T38" fmla="*/ 2147483647 w 459"/>
              <a:gd name="T39" fmla="*/ 2147483647 h 511"/>
              <a:gd name="T40" fmla="*/ 2147483647 w 459"/>
              <a:gd name="T41" fmla="*/ 2147483647 h 511"/>
              <a:gd name="T42" fmla="*/ 2147483647 w 459"/>
              <a:gd name="T43" fmla="*/ 2147483647 h 511"/>
              <a:gd name="T44" fmla="*/ 2147483647 w 459"/>
              <a:gd name="T45" fmla="*/ 2147483647 h 511"/>
              <a:gd name="T46" fmla="*/ 2147483647 w 459"/>
              <a:gd name="T47" fmla="*/ 2147483647 h 511"/>
              <a:gd name="T48" fmla="*/ 2147483647 w 459"/>
              <a:gd name="T49" fmla="*/ 2147483647 h 511"/>
              <a:gd name="T50" fmla="*/ 2147483647 w 459"/>
              <a:gd name="T51" fmla="*/ 2147483647 h 511"/>
              <a:gd name="T52" fmla="*/ 2147483647 w 459"/>
              <a:gd name="T53" fmla="*/ 2147483647 h 511"/>
              <a:gd name="T54" fmla="*/ 2147483647 w 459"/>
              <a:gd name="T55" fmla="*/ 2147483647 h 511"/>
              <a:gd name="T56" fmla="*/ 2147483647 w 459"/>
              <a:gd name="T57" fmla="*/ 2147483647 h 511"/>
              <a:gd name="T58" fmla="*/ 2147483647 w 459"/>
              <a:gd name="T59" fmla="*/ 2147483647 h 511"/>
              <a:gd name="T60" fmla="*/ 2147483647 w 459"/>
              <a:gd name="T61" fmla="*/ 2147483647 h 511"/>
              <a:gd name="T62" fmla="*/ 2147483647 w 459"/>
              <a:gd name="T63" fmla="*/ 2147483647 h 511"/>
              <a:gd name="T64" fmla="*/ 2147483647 w 459"/>
              <a:gd name="T65" fmla="*/ 2147483647 h 511"/>
              <a:gd name="T66" fmla="*/ 2147483647 w 459"/>
              <a:gd name="T67" fmla="*/ 2147483647 h 511"/>
              <a:gd name="T68" fmla="*/ 2147483647 w 459"/>
              <a:gd name="T69" fmla="*/ 2147483647 h 511"/>
              <a:gd name="T70" fmla="*/ 2147483647 w 459"/>
              <a:gd name="T71" fmla="*/ 2147483647 h 511"/>
              <a:gd name="T72" fmla="*/ 2147483647 w 459"/>
              <a:gd name="T73" fmla="*/ 2147483647 h 511"/>
              <a:gd name="T74" fmla="*/ 2147483647 w 459"/>
              <a:gd name="T75" fmla="*/ 2147483647 h 511"/>
              <a:gd name="T76" fmla="*/ 2147483647 w 459"/>
              <a:gd name="T77" fmla="*/ 2147483647 h 511"/>
              <a:gd name="T78" fmla="*/ 2147483647 w 459"/>
              <a:gd name="T79" fmla="*/ 2147483647 h 511"/>
              <a:gd name="T80" fmla="*/ 2147483647 w 459"/>
              <a:gd name="T81" fmla="*/ 2147483647 h 511"/>
              <a:gd name="T82" fmla="*/ 2147483647 w 459"/>
              <a:gd name="T83" fmla="*/ 2147483647 h 511"/>
              <a:gd name="T84" fmla="*/ 2147483647 w 459"/>
              <a:gd name="T85" fmla="*/ 2147483647 h 511"/>
              <a:gd name="T86" fmla="*/ 2147483647 w 459"/>
              <a:gd name="T87" fmla="*/ 2147483647 h 511"/>
              <a:gd name="T88" fmla="*/ 2147483647 w 459"/>
              <a:gd name="T89" fmla="*/ 2147483647 h 511"/>
              <a:gd name="T90" fmla="*/ 2147483647 w 459"/>
              <a:gd name="T91" fmla="*/ 2147483647 h 511"/>
              <a:gd name="T92" fmla="*/ 2147483647 w 459"/>
              <a:gd name="T93" fmla="*/ 214748364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ED2A09"/>
          </a:solidFill>
          <a:ln w="9525" cap="flat" cmpd="sng">
            <a:solidFill>
              <a:srgbClr val="FFFFFF"/>
            </a:solidFill>
            <a:prstDash val="solid"/>
            <a:round/>
            <a:headEnd type="none" w="med" len="med"/>
            <a:tailEnd type="none" w="med" len="med"/>
          </a:ln>
          <a:effectLst/>
        </p:spPr>
        <p:txBody>
          <a:bodyPr/>
          <a:lstStyle/>
          <a:p>
            <a:endParaRPr lang="en-AU"/>
          </a:p>
        </p:txBody>
      </p:sp>
      <p:grpSp>
        <p:nvGrpSpPr>
          <p:cNvPr id="2411" name="Group 524"/>
          <p:cNvGrpSpPr>
            <a:grpSpLocks/>
          </p:cNvGrpSpPr>
          <p:nvPr>
            <p:custDataLst>
              <p:tags r:id="rId362"/>
            </p:custDataLst>
          </p:nvPr>
        </p:nvGrpSpPr>
        <p:grpSpPr bwMode="auto">
          <a:xfrm>
            <a:off x="5791200" y="1889125"/>
            <a:ext cx="671513" cy="384175"/>
            <a:chOff x="4115" y="1551"/>
            <a:chExt cx="504" cy="244"/>
          </a:xfrm>
        </p:grpSpPr>
        <p:sp>
          <p:nvSpPr>
            <p:cNvPr id="2437" name="Freeform 525"/>
            <p:cNvSpPr>
              <a:spLocks/>
            </p:cNvSpPr>
            <p:nvPr/>
          </p:nvSpPr>
          <p:spPr bwMode="auto">
            <a:xfrm>
              <a:off x="4540" y="1551"/>
              <a:ext cx="79" cy="86"/>
            </a:xfrm>
            <a:custGeom>
              <a:avLst/>
              <a:gdLst>
                <a:gd name="T0" fmla="*/ 0 w 240"/>
                <a:gd name="T1" fmla="*/ 3 h 259"/>
                <a:gd name="T2" fmla="*/ 1 w 240"/>
                <a:gd name="T3" fmla="*/ 3 h 259"/>
                <a:gd name="T4" fmla="*/ 1 w 240"/>
                <a:gd name="T5" fmla="*/ 3 h 259"/>
                <a:gd name="T6" fmla="*/ 2 w 240"/>
                <a:gd name="T7" fmla="*/ 3 h 259"/>
                <a:gd name="T8" fmla="*/ 2 w 240"/>
                <a:gd name="T9" fmla="*/ 2 h 259"/>
                <a:gd name="T10" fmla="*/ 3 w 240"/>
                <a:gd name="T11" fmla="*/ 1 h 259"/>
                <a:gd name="T12" fmla="*/ 3 w 240"/>
                <a:gd name="T13" fmla="*/ 0 h 259"/>
                <a:gd name="T14" fmla="*/ 3 w 240"/>
                <a:gd name="T15" fmla="*/ 0 h 259"/>
                <a:gd name="T16" fmla="*/ 2 w 240"/>
                <a:gd name="T17" fmla="*/ 0 h 259"/>
                <a:gd name="T18" fmla="*/ 2 w 240"/>
                <a:gd name="T19" fmla="*/ 1 h 259"/>
                <a:gd name="T20" fmla="*/ 2 w 240"/>
                <a:gd name="T21" fmla="*/ 1 h 259"/>
                <a:gd name="T22" fmla="*/ 2 w 240"/>
                <a:gd name="T23" fmla="*/ 2 h 259"/>
                <a:gd name="T24" fmla="*/ 1 w 240"/>
                <a:gd name="T25" fmla="*/ 2 h 259"/>
                <a:gd name="T26" fmla="*/ 1 w 240"/>
                <a:gd name="T27" fmla="*/ 3 h 259"/>
                <a:gd name="T28" fmla="*/ 0 w 240"/>
                <a:gd name="T29" fmla="*/ 3 h 259"/>
                <a:gd name="T30" fmla="*/ 0 w 240"/>
                <a:gd name="T31" fmla="*/ 3 h 259"/>
                <a:gd name="T32" fmla="*/ 0 w 240"/>
                <a:gd name="T33" fmla="*/ 3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cmpd="sng">
              <a:solidFill>
                <a:srgbClr val="FFFFFF"/>
              </a:solidFill>
              <a:prstDash val="solid"/>
              <a:round/>
              <a:headEnd/>
              <a:tailEnd/>
            </a:ln>
          </p:spPr>
          <p:txBody>
            <a:bodyPr/>
            <a:lstStyle/>
            <a:p>
              <a:endParaRPr lang="en-AU"/>
            </a:p>
          </p:txBody>
        </p:sp>
        <p:sp>
          <p:nvSpPr>
            <p:cNvPr id="2438" name="Freeform 526"/>
            <p:cNvSpPr>
              <a:spLocks/>
            </p:cNvSpPr>
            <p:nvPr/>
          </p:nvSpPr>
          <p:spPr bwMode="auto">
            <a:xfrm>
              <a:off x="4115" y="1761"/>
              <a:ext cx="84" cy="34"/>
            </a:xfrm>
            <a:custGeom>
              <a:avLst/>
              <a:gdLst>
                <a:gd name="T0" fmla="*/ 0 w 259"/>
                <a:gd name="T1" fmla="*/ 1 h 104"/>
                <a:gd name="T2" fmla="*/ 0 w 259"/>
                <a:gd name="T3" fmla="*/ 1 h 104"/>
                <a:gd name="T4" fmla="*/ 1 w 259"/>
                <a:gd name="T5" fmla="*/ 1 h 104"/>
                <a:gd name="T6" fmla="*/ 1 w 259"/>
                <a:gd name="T7" fmla="*/ 1 h 104"/>
                <a:gd name="T8" fmla="*/ 1 w 259"/>
                <a:gd name="T9" fmla="*/ 1 h 104"/>
                <a:gd name="T10" fmla="*/ 2 w 259"/>
                <a:gd name="T11" fmla="*/ 1 h 104"/>
                <a:gd name="T12" fmla="*/ 3 w 259"/>
                <a:gd name="T13" fmla="*/ 0 h 104"/>
                <a:gd name="T14" fmla="*/ 3 w 259"/>
                <a:gd name="T15" fmla="*/ 0 h 104"/>
                <a:gd name="T16" fmla="*/ 3 w 259"/>
                <a:gd name="T17" fmla="*/ 0 h 104"/>
                <a:gd name="T18" fmla="*/ 2 w 259"/>
                <a:gd name="T19" fmla="*/ 0 h 104"/>
                <a:gd name="T20" fmla="*/ 2 w 259"/>
                <a:gd name="T21" fmla="*/ 0 h 104"/>
                <a:gd name="T22" fmla="*/ 1 w 259"/>
                <a:gd name="T23" fmla="*/ 0 h 104"/>
                <a:gd name="T24" fmla="*/ 1 w 259"/>
                <a:gd name="T25" fmla="*/ 0 h 104"/>
                <a:gd name="T26" fmla="*/ 0 w 259"/>
                <a:gd name="T27" fmla="*/ 1 h 104"/>
                <a:gd name="T28" fmla="*/ 0 w 259"/>
                <a:gd name="T29" fmla="*/ 1 h 104"/>
                <a:gd name="T30" fmla="*/ 0 w 259"/>
                <a:gd name="T31" fmla="*/ 1 h 104"/>
                <a:gd name="T32" fmla="*/ 0 w 259"/>
                <a:gd name="T33" fmla="*/ 1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0000FF"/>
            </a:solidFill>
            <a:ln w="9525" cmpd="sng">
              <a:solidFill>
                <a:srgbClr val="FFFFFF"/>
              </a:solidFill>
              <a:prstDash val="solid"/>
              <a:round/>
              <a:headEnd/>
              <a:tailEnd/>
            </a:ln>
          </p:spPr>
          <p:txBody>
            <a:bodyPr/>
            <a:lstStyle/>
            <a:p>
              <a:endParaRPr lang="en-AU"/>
            </a:p>
          </p:txBody>
        </p:sp>
      </p:grpSp>
      <p:sp>
        <p:nvSpPr>
          <p:cNvPr id="2412" name="Freeform 527"/>
          <p:cNvSpPr>
            <a:spLocks/>
          </p:cNvSpPr>
          <p:nvPr>
            <p:custDataLst>
              <p:tags r:id="rId363"/>
            </p:custDataLst>
          </p:nvPr>
        </p:nvSpPr>
        <p:spPr bwMode="auto">
          <a:xfrm>
            <a:off x="4848225" y="2638425"/>
            <a:ext cx="530225" cy="511175"/>
          </a:xfrm>
          <a:custGeom>
            <a:avLst/>
            <a:gdLst>
              <a:gd name="T0" fmla="*/ 2147483647 w 1227"/>
              <a:gd name="T1" fmla="*/ 2147483647 h 979"/>
              <a:gd name="T2" fmla="*/ 2147483647 w 1227"/>
              <a:gd name="T3" fmla="*/ 2147483647 h 979"/>
              <a:gd name="T4" fmla="*/ 2147483647 w 1227"/>
              <a:gd name="T5" fmla="*/ 2147483647 h 979"/>
              <a:gd name="T6" fmla="*/ 2147483647 w 1227"/>
              <a:gd name="T7" fmla="*/ 2147483647 h 979"/>
              <a:gd name="T8" fmla="*/ 2147483647 w 1227"/>
              <a:gd name="T9" fmla="*/ 2147483647 h 979"/>
              <a:gd name="T10" fmla="*/ 2147483647 w 1227"/>
              <a:gd name="T11" fmla="*/ 2147483647 h 979"/>
              <a:gd name="T12" fmla="*/ 2147483647 w 1227"/>
              <a:gd name="T13" fmla="*/ 2147483647 h 979"/>
              <a:gd name="T14" fmla="*/ 2147483647 w 1227"/>
              <a:gd name="T15" fmla="*/ 2147483647 h 979"/>
              <a:gd name="T16" fmla="*/ 2147483647 w 1227"/>
              <a:gd name="T17" fmla="*/ 2147483647 h 979"/>
              <a:gd name="T18" fmla="*/ 2147483647 w 1227"/>
              <a:gd name="T19" fmla="*/ 2147483647 h 979"/>
              <a:gd name="T20" fmla="*/ 2147483647 w 1227"/>
              <a:gd name="T21" fmla="*/ 2147483647 h 979"/>
              <a:gd name="T22" fmla="*/ 2147483647 w 1227"/>
              <a:gd name="T23" fmla="*/ 2147483647 h 979"/>
              <a:gd name="T24" fmla="*/ 2147483647 w 1227"/>
              <a:gd name="T25" fmla="*/ 2147483647 h 979"/>
              <a:gd name="T26" fmla="*/ 2147483647 w 1227"/>
              <a:gd name="T27" fmla="*/ 2147483647 h 979"/>
              <a:gd name="T28" fmla="*/ 2147483647 w 1227"/>
              <a:gd name="T29" fmla="*/ 2147483647 h 979"/>
              <a:gd name="T30" fmla="*/ 2147483647 w 1227"/>
              <a:gd name="T31" fmla="*/ 2147483647 h 979"/>
              <a:gd name="T32" fmla="*/ 2147483647 w 1227"/>
              <a:gd name="T33" fmla="*/ 2147483647 h 979"/>
              <a:gd name="T34" fmla="*/ 2147483647 w 1227"/>
              <a:gd name="T35" fmla="*/ 2147483647 h 979"/>
              <a:gd name="T36" fmla="*/ 2147483647 w 1227"/>
              <a:gd name="T37" fmla="*/ 2147483647 h 979"/>
              <a:gd name="T38" fmla="*/ 2147483647 w 1227"/>
              <a:gd name="T39" fmla="*/ 2147483647 h 979"/>
              <a:gd name="T40" fmla="*/ 2147483647 w 1227"/>
              <a:gd name="T41" fmla="*/ 2147483647 h 979"/>
              <a:gd name="T42" fmla="*/ 2147483647 w 1227"/>
              <a:gd name="T43" fmla="*/ 2147483647 h 979"/>
              <a:gd name="T44" fmla="*/ 2147483647 w 1227"/>
              <a:gd name="T45" fmla="*/ 2147483647 h 979"/>
              <a:gd name="T46" fmla="*/ 2147483647 w 1227"/>
              <a:gd name="T47" fmla="*/ 2147483647 h 979"/>
              <a:gd name="T48" fmla="*/ 2147483647 w 1227"/>
              <a:gd name="T49" fmla="*/ 2147483647 h 979"/>
              <a:gd name="T50" fmla="*/ 2147483647 w 1227"/>
              <a:gd name="T51" fmla="*/ 2147483647 h 979"/>
              <a:gd name="T52" fmla="*/ 2147483647 w 1227"/>
              <a:gd name="T53" fmla="*/ 2147483647 h 979"/>
              <a:gd name="T54" fmla="*/ 2147483647 w 1227"/>
              <a:gd name="T55" fmla="*/ 2147483647 h 979"/>
              <a:gd name="T56" fmla="*/ 2147483647 w 1227"/>
              <a:gd name="T57" fmla="*/ 2147483647 h 979"/>
              <a:gd name="T58" fmla="*/ 0 w 1227"/>
              <a:gd name="T59" fmla="*/ 2147483647 h 979"/>
              <a:gd name="T60" fmla="*/ 2147483647 w 1227"/>
              <a:gd name="T61" fmla="*/ 2147483647 h 979"/>
              <a:gd name="T62" fmla="*/ 2147483647 w 1227"/>
              <a:gd name="T63" fmla="*/ 2147483647 h 979"/>
              <a:gd name="T64" fmla="*/ 2147483647 w 1227"/>
              <a:gd name="T65" fmla="*/ 2147483647 h 979"/>
              <a:gd name="T66" fmla="*/ 2147483647 w 1227"/>
              <a:gd name="T67" fmla="*/ 2147483647 h 979"/>
              <a:gd name="T68" fmla="*/ 2147483647 w 1227"/>
              <a:gd name="T69" fmla="*/ 2147483647 h 979"/>
              <a:gd name="T70" fmla="*/ 2147483647 w 1227"/>
              <a:gd name="T71" fmla="*/ 2147483647 h 979"/>
              <a:gd name="T72" fmla="*/ 2147483647 w 1227"/>
              <a:gd name="T73" fmla="*/ 2147483647 h 979"/>
              <a:gd name="T74" fmla="*/ 2147483647 w 1227"/>
              <a:gd name="T75" fmla="*/ 2147483647 h 979"/>
              <a:gd name="T76" fmla="*/ 2147483647 w 1227"/>
              <a:gd name="T77" fmla="*/ 2147483647 h 979"/>
              <a:gd name="T78" fmla="*/ 2147483647 w 1227"/>
              <a:gd name="T79" fmla="*/ 2147483647 h 979"/>
              <a:gd name="T80" fmla="*/ 2147483647 w 1227"/>
              <a:gd name="T81" fmla="*/ 2147483647 h 979"/>
              <a:gd name="T82" fmla="*/ 2147483647 w 1227"/>
              <a:gd name="T83" fmla="*/ 2147483647 h 979"/>
              <a:gd name="T84" fmla="*/ 2147483647 w 1227"/>
              <a:gd name="T85" fmla="*/ 2147483647 h 979"/>
              <a:gd name="T86" fmla="*/ 2147483647 w 1227"/>
              <a:gd name="T87" fmla="*/ 2147483647 h 979"/>
              <a:gd name="T88" fmla="*/ 2147483647 w 1227"/>
              <a:gd name="T89" fmla="*/ 2147483647 h 979"/>
              <a:gd name="T90" fmla="*/ 2147483647 w 1227"/>
              <a:gd name="T91" fmla="*/ 2147483647 h 979"/>
              <a:gd name="T92" fmla="*/ 2147483647 w 1227"/>
              <a:gd name="T93" fmla="*/ 2147483647 h 979"/>
              <a:gd name="T94" fmla="*/ 2147483647 w 1227"/>
              <a:gd name="T95" fmla="*/ 2147483647 h 979"/>
              <a:gd name="T96" fmla="*/ 2147483647 w 1227"/>
              <a:gd name="T97" fmla="*/ 2147483647 h 979"/>
              <a:gd name="T98" fmla="*/ 2147483647 w 1227"/>
              <a:gd name="T99" fmla="*/ 2147483647 h 979"/>
              <a:gd name="T100" fmla="*/ 2147483647 w 1227"/>
              <a:gd name="T101" fmla="*/ 2147483647 h 979"/>
              <a:gd name="T102" fmla="*/ 2147483647 w 1227"/>
              <a:gd name="T103" fmla="*/ 2147483647 h 979"/>
              <a:gd name="T104" fmla="*/ 2147483647 w 1227"/>
              <a:gd name="T105" fmla="*/ 2147483647 h 979"/>
              <a:gd name="T106" fmla="*/ 2147483647 w 1227"/>
              <a:gd name="T107" fmla="*/ 2147483647 h 979"/>
              <a:gd name="T108" fmla="*/ 2147483647 w 1227"/>
              <a:gd name="T109" fmla="*/ 2147483647 h 979"/>
              <a:gd name="T110" fmla="*/ 2147483647 w 1227"/>
              <a:gd name="T111" fmla="*/ 2147483647 h 979"/>
              <a:gd name="T112" fmla="*/ 2147483647 w 1227"/>
              <a:gd name="T113" fmla="*/ 2147483647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413" name="Freeform 528"/>
          <p:cNvSpPr>
            <a:spLocks/>
          </p:cNvSpPr>
          <p:nvPr>
            <p:custDataLst>
              <p:tags r:id="rId364"/>
            </p:custDataLst>
          </p:nvPr>
        </p:nvSpPr>
        <p:spPr bwMode="auto">
          <a:xfrm>
            <a:off x="4322763" y="2182813"/>
            <a:ext cx="57150" cy="57150"/>
          </a:xfrm>
          <a:custGeom>
            <a:avLst/>
            <a:gdLst>
              <a:gd name="T0" fmla="*/ 2147483647 w 146"/>
              <a:gd name="T1" fmla="*/ 2147483647 h 81"/>
              <a:gd name="T2" fmla="*/ 2147483647 w 146"/>
              <a:gd name="T3" fmla="*/ 2147483647 h 81"/>
              <a:gd name="T4" fmla="*/ 2147483647 w 146"/>
              <a:gd name="T5" fmla="*/ 2147483647 h 81"/>
              <a:gd name="T6" fmla="*/ 2147483647 w 146"/>
              <a:gd name="T7" fmla="*/ 2147483647 h 81"/>
              <a:gd name="T8" fmla="*/ 2147483647 w 146"/>
              <a:gd name="T9" fmla="*/ 2147483647 h 81"/>
              <a:gd name="T10" fmla="*/ 2147483647 w 146"/>
              <a:gd name="T11" fmla="*/ 2147483647 h 81"/>
              <a:gd name="T12" fmla="*/ 2147483647 w 146"/>
              <a:gd name="T13" fmla="*/ 2147483647 h 81"/>
              <a:gd name="T14" fmla="*/ 2147483647 w 146"/>
              <a:gd name="T15" fmla="*/ 2147483647 h 81"/>
              <a:gd name="T16" fmla="*/ 2147483647 w 146"/>
              <a:gd name="T17" fmla="*/ 2147483647 h 81"/>
              <a:gd name="T18" fmla="*/ 2147483647 w 146"/>
              <a:gd name="T19" fmla="*/ 2147483647 h 81"/>
              <a:gd name="T20" fmla="*/ 2147483647 w 146"/>
              <a:gd name="T21" fmla="*/ 2147483647 h 81"/>
              <a:gd name="T22" fmla="*/ 2147483647 w 146"/>
              <a:gd name="T23" fmla="*/ 2147483647 h 81"/>
              <a:gd name="T24" fmla="*/ 2147483647 w 146"/>
              <a:gd name="T25" fmla="*/ 2147483647 h 81"/>
              <a:gd name="T26" fmla="*/ 2147483647 w 146"/>
              <a:gd name="T27" fmla="*/ 2147483647 h 81"/>
              <a:gd name="T28" fmla="*/ 0 w 146"/>
              <a:gd name="T29" fmla="*/ 2147483647 h 81"/>
              <a:gd name="T30" fmla="*/ 0 w 146"/>
              <a:gd name="T31" fmla="*/ 2147483647 h 81"/>
              <a:gd name="T32" fmla="*/ 0 w 146"/>
              <a:gd name="T33" fmla="*/ 2147483647 h 81"/>
              <a:gd name="T34" fmla="*/ 0 w 146"/>
              <a:gd name="T35" fmla="*/ 2147483647 h 81"/>
              <a:gd name="T36" fmla="*/ 0 w 146"/>
              <a:gd name="T37" fmla="*/ 2147483647 h 81"/>
              <a:gd name="T38" fmla="*/ 2147483647 w 146"/>
              <a:gd name="T39" fmla="*/ 2147483647 h 81"/>
              <a:gd name="T40" fmla="*/ 2147483647 w 146"/>
              <a:gd name="T41" fmla="*/ 2147483647 h 81"/>
              <a:gd name="T42" fmla="*/ 2147483647 w 146"/>
              <a:gd name="T43" fmla="*/ 2147483647 h 81"/>
              <a:gd name="T44" fmla="*/ 2147483647 w 146"/>
              <a:gd name="T45" fmla="*/ 2147483647 h 81"/>
              <a:gd name="T46" fmla="*/ 2147483647 w 146"/>
              <a:gd name="T47" fmla="*/ 2147483647 h 81"/>
              <a:gd name="T48" fmla="*/ 2147483647 w 146"/>
              <a:gd name="T49" fmla="*/ 2147483647 h 81"/>
              <a:gd name="T50" fmla="*/ 2147483647 w 146"/>
              <a:gd name="T51" fmla="*/ 2147483647 h 81"/>
              <a:gd name="T52" fmla="*/ 2147483647 w 146"/>
              <a:gd name="T53" fmla="*/ 2147483647 h 81"/>
              <a:gd name="T54" fmla="*/ 2147483647 w 146"/>
              <a:gd name="T55" fmla="*/ 2147483647 h 81"/>
              <a:gd name="T56" fmla="*/ 2147483647 w 146"/>
              <a:gd name="T57" fmla="*/ 0 h 81"/>
              <a:gd name="T58" fmla="*/ 2147483647 w 146"/>
              <a:gd name="T59" fmla="*/ 2147483647 h 81"/>
              <a:gd name="T60" fmla="*/ 2147483647 w 146"/>
              <a:gd name="T61" fmla="*/ 2147483647 h 81"/>
              <a:gd name="T62" fmla="*/ 2147483647 w 146"/>
              <a:gd name="T63" fmla="*/ 2147483647 h 81"/>
              <a:gd name="T64" fmla="*/ 2147483647 w 146"/>
              <a:gd name="T65" fmla="*/ 2147483647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414" name="Freeform 529"/>
          <p:cNvSpPr>
            <a:spLocks/>
          </p:cNvSpPr>
          <p:nvPr>
            <p:custDataLst>
              <p:tags r:id="rId365"/>
            </p:custDataLst>
          </p:nvPr>
        </p:nvSpPr>
        <p:spPr bwMode="auto">
          <a:xfrm>
            <a:off x="4062413" y="2395538"/>
            <a:ext cx="15875" cy="57150"/>
          </a:xfrm>
          <a:custGeom>
            <a:avLst/>
            <a:gdLst>
              <a:gd name="T0" fmla="*/ 2147483647 w 34"/>
              <a:gd name="T1" fmla="*/ 2147483647 h 49"/>
              <a:gd name="T2" fmla="*/ 2147483647 w 34"/>
              <a:gd name="T3" fmla="*/ 2147483647 h 49"/>
              <a:gd name="T4" fmla="*/ 2147483647 w 34"/>
              <a:gd name="T5" fmla="*/ 2147483647 h 49"/>
              <a:gd name="T6" fmla="*/ 2147483647 w 34"/>
              <a:gd name="T7" fmla="*/ 2147483647 h 49"/>
              <a:gd name="T8" fmla="*/ 2147483647 w 34"/>
              <a:gd name="T9" fmla="*/ 2147483647 h 49"/>
              <a:gd name="T10" fmla="*/ 2147483647 w 34"/>
              <a:gd name="T11" fmla="*/ 2147483647 h 49"/>
              <a:gd name="T12" fmla="*/ 2147483647 w 34"/>
              <a:gd name="T13" fmla="*/ 2147483647 h 49"/>
              <a:gd name="T14" fmla="*/ 2147483647 w 34"/>
              <a:gd name="T15" fmla="*/ 2147483647 h 49"/>
              <a:gd name="T16" fmla="*/ 2147483647 w 34"/>
              <a:gd name="T17" fmla="*/ 0 h 49"/>
              <a:gd name="T18" fmla="*/ 2147483647 w 34"/>
              <a:gd name="T19" fmla="*/ 0 h 49"/>
              <a:gd name="T20" fmla="*/ 0 w 34"/>
              <a:gd name="T21" fmla="*/ 0 h 49"/>
              <a:gd name="T22" fmla="*/ 2147483647 w 34"/>
              <a:gd name="T23" fmla="*/ 2147483647 h 49"/>
              <a:gd name="T24" fmla="*/ 2147483647 w 34"/>
              <a:gd name="T25" fmla="*/ 2147483647 h 49"/>
              <a:gd name="T26" fmla="*/ 2147483647 w 34"/>
              <a:gd name="T27" fmla="*/ 2147483647 h 49"/>
              <a:gd name="T28" fmla="*/ 2147483647 w 34"/>
              <a:gd name="T29" fmla="*/ 2147483647 h 49"/>
              <a:gd name="T30" fmla="*/ 2147483647 w 34"/>
              <a:gd name="T31" fmla="*/ 2147483647 h 49"/>
              <a:gd name="T32" fmla="*/ 2147483647 w 34"/>
              <a:gd name="T33" fmla="*/ 2147483647 h 49"/>
              <a:gd name="T34" fmla="*/ 2147483647 w 34"/>
              <a:gd name="T35" fmla="*/ 2147483647 h 49"/>
              <a:gd name="T36" fmla="*/ 2147483647 w 34"/>
              <a:gd name="T37" fmla="*/ 2147483647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415" name="Freeform 530"/>
          <p:cNvSpPr>
            <a:spLocks/>
          </p:cNvSpPr>
          <p:nvPr>
            <p:custDataLst>
              <p:tags r:id="rId366"/>
            </p:custDataLst>
          </p:nvPr>
        </p:nvSpPr>
        <p:spPr bwMode="auto">
          <a:xfrm>
            <a:off x="3654425" y="2741613"/>
            <a:ext cx="28575" cy="57150"/>
          </a:xfrm>
          <a:custGeom>
            <a:avLst/>
            <a:gdLst>
              <a:gd name="T0" fmla="*/ 2147483647 w 60"/>
              <a:gd name="T1" fmla="*/ 0 h 74"/>
              <a:gd name="T2" fmla="*/ 2147483647 w 60"/>
              <a:gd name="T3" fmla="*/ 2147483647 h 74"/>
              <a:gd name="T4" fmla="*/ 2147483647 w 60"/>
              <a:gd name="T5" fmla="*/ 2147483647 h 74"/>
              <a:gd name="T6" fmla="*/ 2147483647 w 60"/>
              <a:gd name="T7" fmla="*/ 2147483647 h 74"/>
              <a:gd name="T8" fmla="*/ 2147483647 w 60"/>
              <a:gd name="T9" fmla="*/ 2147483647 h 74"/>
              <a:gd name="T10" fmla="*/ 2147483647 w 60"/>
              <a:gd name="T11" fmla="*/ 2147483647 h 74"/>
              <a:gd name="T12" fmla="*/ 2147483647 w 60"/>
              <a:gd name="T13" fmla="*/ 2147483647 h 74"/>
              <a:gd name="T14" fmla="*/ 2147483647 w 60"/>
              <a:gd name="T15" fmla="*/ 2147483647 h 74"/>
              <a:gd name="T16" fmla="*/ 2147483647 w 60"/>
              <a:gd name="T17" fmla="*/ 2147483647 h 74"/>
              <a:gd name="T18" fmla="*/ 2147483647 w 60"/>
              <a:gd name="T19" fmla="*/ 2147483647 h 74"/>
              <a:gd name="T20" fmla="*/ 2147483647 w 60"/>
              <a:gd name="T21" fmla="*/ 2147483647 h 74"/>
              <a:gd name="T22" fmla="*/ 2147483647 w 60"/>
              <a:gd name="T23" fmla="*/ 2147483647 h 74"/>
              <a:gd name="T24" fmla="*/ 2147483647 w 60"/>
              <a:gd name="T25" fmla="*/ 2147483647 h 74"/>
              <a:gd name="T26" fmla="*/ 2147483647 w 60"/>
              <a:gd name="T27" fmla="*/ 2147483647 h 74"/>
              <a:gd name="T28" fmla="*/ 0 w 60"/>
              <a:gd name="T29" fmla="*/ 2147483647 h 74"/>
              <a:gd name="T30" fmla="*/ 2147483647 w 60"/>
              <a:gd name="T31" fmla="*/ 2147483647 h 74"/>
              <a:gd name="T32" fmla="*/ 2147483647 w 60"/>
              <a:gd name="T33" fmla="*/ 2147483647 h 74"/>
              <a:gd name="T34" fmla="*/ 2147483647 w 60"/>
              <a:gd name="T35" fmla="*/ 2147483647 h 74"/>
              <a:gd name="T36" fmla="*/ 2147483647 w 60"/>
              <a:gd name="T37" fmla="*/ 2147483647 h 74"/>
              <a:gd name="T38" fmla="*/ 2147483647 w 60"/>
              <a:gd name="T39" fmla="*/ 2147483647 h 74"/>
              <a:gd name="T40" fmla="*/ 2147483647 w 60"/>
              <a:gd name="T41" fmla="*/ 2147483647 h 74"/>
              <a:gd name="T42" fmla="*/ 2147483647 w 60"/>
              <a:gd name="T43" fmla="*/ 2147483647 h 74"/>
              <a:gd name="T44" fmla="*/ 2147483647 w 60"/>
              <a:gd name="T45" fmla="*/ 2147483647 h 74"/>
              <a:gd name="T46" fmla="*/ 2147483647 w 60"/>
              <a:gd name="T47" fmla="*/ 0 h 74"/>
              <a:gd name="T48" fmla="*/ 2147483647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416" name="Freeform 531"/>
          <p:cNvSpPr>
            <a:spLocks/>
          </p:cNvSpPr>
          <p:nvPr>
            <p:custDataLst>
              <p:tags r:id="rId367"/>
            </p:custDataLst>
          </p:nvPr>
        </p:nvSpPr>
        <p:spPr bwMode="auto">
          <a:xfrm>
            <a:off x="3595688" y="2757488"/>
            <a:ext cx="23812" cy="60325"/>
          </a:xfrm>
          <a:custGeom>
            <a:avLst/>
            <a:gdLst>
              <a:gd name="T0" fmla="*/ 2147483647 w 47"/>
              <a:gd name="T1" fmla="*/ 2147483647 h 45"/>
              <a:gd name="T2" fmla="*/ 2147483647 w 47"/>
              <a:gd name="T3" fmla="*/ 2147483647 h 45"/>
              <a:gd name="T4" fmla="*/ 2147483647 w 47"/>
              <a:gd name="T5" fmla="*/ 2147483647 h 45"/>
              <a:gd name="T6" fmla="*/ 2147483647 w 47"/>
              <a:gd name="T7" fmla="*/ 2147483647 h 45"/>
              <a:gd name="T8" fmla="*/ 2147483647 w 47"/>
              <a:gd name="T9" fmla="*/ 2147483647 h 45"/>
              <a:gd name="T10" fmla="*/ 2147483647 w 47"/>
              <a:gd name="T11" fmla="*/ 2147483647 h 45"/>
              <a:gd name="T12" fmla="*/ 2147483647 w 47"/>
              <a:gd name="T13" fmla="*/ 0 h 45"/>
              <a:gd name="T14" fmla="*/ 2147483647 w 47"/>
              <a:gd name="T15" fmla="*/ 2147483647 h 45"/>
              <a:gd name="T16" fmla="*/ 2147483647 w 47"/>
              <a:gd name="T17" fmla="*/ 2147483647 h 45"/>
              <a:gd name="T18" fmla="*/ 2147483647 w 47"/>
              <a:gd name="T19" fmla="*/ 2147483647 h 45"/>
              <a:gd name="T20" fmla="*/ 2147483647 w 47"/>
              <a:gd name="T21" fmla="*/ 2147483647 h 45"/>
              <a:gd name="T22" fmla="*/ 2147483647 w 47"/>
              <a:gd name="T23" fmla="*/ 2147483647 h 45"/>
              <a:gd name="T24" fmla="*/ 2147483647 w 47"/>
              <a:gd name="T25" fmla="*/ 2147483647 h 45"/>
              <a:gd name="T26" fmla="*/ 2147483647 w 47"/>
              <a:gd name="T27" fmla="*/ 2147483647 h 45"/>
              <a:gd name="T28" fmla="*/ 2147483647 w 47"/>
              <a:gd name="T29" fmla="*/ 2147483647 h 45"/>
              <a:gd name="T30" fmla="*/ 2147483647 w 47"/>
              <a:gd name="T31" fmla="*/ 2147483647 h 45"/>
              <a:gd name="T32" fmla="*/ 2147483647 w 47"/>
              <a:gd name="T33" fmla="*/ 2147483647 h 45"/>
              <a:gd name="T34" fmla="*/ 2147483647 w 47"/>
              <a:gd name="T35" fmla="*/ 2147483647 h 45"/>
              <a:gd name="T36" fmla="*/ 0 w 47"/>
              <a:gd name="T37" fmla="*/ 2147483647 h 45"/>
              <a:gd name="T38" fmla="*/ 2147483647 w 47"/>
              <a:gd name="T39" fmla="*/ 2147483647 h 45"/>
              <a:gd name="T40" fmla="*/ 2147483647 w 47"/>
              <a:gd name="T41" fmla="*/ 2147483647 h 45"/>
              <a:gd name="T42" fmla="*/ 2147483647 w 47"/>
              <a:gd name="T43" fmla="*/ 2147483647 h 45"/>
              <a:gd name="T44" fmla="*/ 2147483647 w 47"/>
              <a:gd name="T45" fmla="*/ 2147483647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417" name="Freeform 532"/>
          <p:cNvSpPr>
            <a:spLocks/>
          </p:cNvSpPr>
          <p:nvPr>
            <p:custDataLst>
              <p:tags r:id="rId368"/>
            </p:custDataLst>
          </p:nvPr>
        </p:nvSpPr>
        <p:spPr bwMode="auto">
          <a:xfrm>
            <a:off x="3570288" y="2751138"/>
            <a:ext cx="6350" cy="57150"/>
          </a:xfrm>
          <a:custGeom>
            <a:avLst/>
            <a:gdLst>
              <a:gd name="T0" fmla="*/ 2147483647 w 26"/>
              <a:gd name="T1" fmla="*/ 2147483647 h 36"/>
              <a:gd name="T2" fmla="*/ 2147483647 w 26"/>
              <a:gd name="T3" fmla="*/ 2147483647 h 36"/>
              <a:gd name="T4" fmla="*/ 2147483647 w 26"/>
              <a:gd name="T5" fmla="*/ 2147483647 h 36"/>
              <a:gd name="T6" fmla="*/ 2147483647 w 26"/>
              <a:gd name="T7" fmla="*/ 2147483647 h 36"/>
              <a:gd name="T8" fmla="*/ 0 w 26"/>
              <a:gd name="T9" fmla="*/ 0 h 36"/>
              <a:gd name="T10" fmla="*/ 2147483647 w 26"/>
              <a:gd name="T11" fmla="*/ 0 h 36"/>
              <a:gd name="T12" fmla="*/ 2147483647 w 26"/>
              <a:gd name="T13" fmla="*/ 2147483647 h 36"/>
              <a:gd name="T14" fmla="*/ 2147483647 w 26"/>
              <a:gd name="T15" fmla="*/ 2147483647 h 36"/>
              <a:gd name="T16" fmla="*/ 2147483647 w 26"/>
              <a:gd name="T17" fmla="*/ 2147483647 h 36"/>
              <a:gd name="T18" fmla="*/ 2147483647 w 26"/>
              <a:gd name="T19" fmla="*/ 2147483647 h 36"/>
              <a:gd name="T20" fmla="*/ 2147483647 w 26"/>
              <a:gd name="T21" fmla="*/ 2147483647 h 36"/>
              <a:gd name="T22" fmla="*/ 2147483647 w 26"/>
              <a:gd name="T23" fmla="*/ 2147483647 h 36"/>
              <a:gd name="T24" fmla="*/ 2147483647 w 26"/>
              <a:gd name="T25" fmla="*/ 2147483647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418" name="Freeform 533"/>
          <p:cNvSpPr>
            <a:spLocks/>
          </p:cNvSpPr>
          <p:nvPr>
            <p:custDataLst>
              <p:tags r:id="rId369"/>
            </p:custDataLst>
          </p:nvPr>
        </p:nvSpPr>
        <p:spPr bwMode="auto">
          <a:xfrm>
            <a:off x="4841875" y="2479675"/>
            <a:ext cx="174625" cy="158750"/>
          </a:xfrm>
          <a:custGeom>
            <a:avLst/>
            <a:gdLst>
              <a:gd name="T0" fmla="*/ 2147483647 w 405"/>
              <a:gd name="T1" fmla="*/ 2147483647 h 302"/>
              <a:gd name="T2" fmla="*/ 2147483647 w 405"/>
              <a:gd name="T3" fmla="*/ 2147483647 h 302"/>
              <a:gd name="T4" fmla="*/ 2147483647 w 405"/>
              <a:gd name="T5" fmla="*/ 2147483647 h 302"/>
              <a:gd name="T6" fmla="*/ 2147483647 w 405"/>
              <a:gd name="T7" fmla="*/ 2147483647 h 302"/>
              <a:gd name="T8" fmla="*/ 2147483647 w 405"/>
              <a:gd name="T9" fmla="*/ 2147483647 h 302"/>
              <a:gd name="T10" fmla="*/ 2147483647 w 405"/>
              <a:gd name="T11" fmla="*/ 2147483647 h 302"/>
              <a:gd name="T12" fmla="*/ 2147483647 w 405"/>
              <a:gd name="T13" fmla="*/ 2147483647 h 302"/>
              <a:gd name="T14" fmla="*/ 2147483647 w 405"/>
              <a:gd name="T15" fmla="*/ 2147483647 h 302"/>
              <a:gd name="T16" fmla="*/ 2147483647 w 405"/>
              <a:gd name="T17" fmla="*/ 2147483647 h 302"/>
              <a:gd name="T18" fmla="*/ 2147483647 w 405"/>
              <a:gd name="T19" fmla="*/ 2147483647 h 302"/>
              <a:gd name="T20" fmla="*/ 2147483647 w 405"/>
              <a:gd name="T21" fmla="*/ 2147483647 h 302"/>
              <a:gd name="T22" fmla="*/ 2147483647 w 405"/>
              <a:gd name="T23" fmla="*/ 2147483647 h 302"/>
              <a:gd name="T24" fmla="*/ 2147483647 w 405"/>
              <a:gd name="T25" fmla="*/ 2147483647 h 302"/>
              <a:gd name="T26" fmla="*/ 2147483647 w 405"/>
              <a:gd name="T27" fmla="*/ 2147483647 h 302"/>
              <a:gd name="T28" fmla="*/ 2147483647 w 405"/>
              <a:gd name="T29" fmla="*/ 2147483647 h 302"/>
              <a:gd name="T30" fmla="*/ 2147483647 w 405"/>
              <a:gd name="T31" fmla="*/ 2147483647 h 302"/>
              <a:gd name="T32" fmla="*/ 2147483647 w 405"/>
              <a:gd name="T33" fmla="*/ 2147483647 h 302"/>
              <a:gd name="T34" fmla="*/ 2147483647 w 405"/>
              <a:gd name="T35" fmla="*/ 2147483647 h 302"/>
              <a:gd name="T36" fmla="*/ 2147483647 w 405"/>
              <a:gd name="T37" fmla="*/ 2147483647 h 302"/>
              <a:gd name="T38" fmla="*/ 2147483647 w 405"/>
              <a:gd name="T39" fmla="*/ 2147483647 h 302"/>
              <a:gd name="T40" fmla="*/ 2147483647 w 405"/>
              <a:gd name="T41" fmla="*/ 2147483647 h 302"/>
              <a:gd name="T42" fmla="*/ 2147483647 w 405"/>
              <a:gd name="T43" fmla="*/ 2147483647 h 302"/>
              <a:gd name="T44" fmla="*/ 2147483647 w 405"/>
              <a:gd name="T45" fmla="*/ 2147483647 h 302"/>
              <a:gd name="T46" fmla="*/ 2147483647 w 405"/>
              <a:gd name="T47" fmla="*/ 2147483647 h 302"/>
              <a:gd name="T48" fmla="*/ 2147483647 w 405"/>
              <a:gd name="T49" fmla="*/ 2147483647 h 302"/>
              <a:gd name="T50" fmla="*/ 2147483647 w 405"/>
              <a:gd name="T51" fmla="*/ 2147483647 h 302"/>
              <a:gd name="T52" fmla="*/ 2147483647 w 405"/>
              <a:gd name="T53" fmla="*/ 2147483647 h 302"/>
              <a:gd name="T54" fmla="*/ 2147483647 w 405"/>
              <a:gd name="T55" fmla="*/ 2147483647 h 302"/>
              <a:gd name="T56" fmla="*/ 2147483647 w 405"/>
              <a:gd name="T57" fmla="*/ 2147483647 h 302"/>
              <a:gd name="T58" fmla="*/ 2147483647 w 405"/>
              <a:gd name="T59" fmla="*/ 2147483647 h 302"/>
              <a:gd name="T60" fmla="*/ 2147483647 w 405"/>
              <a:gd name="T61" fmla="*/ 2147483647 h 302"/>
              <a:gd name="T62" fmla="*/ 2147483647 w 405"/>
              <a:gd name="T63" fmla="*/ 2147483647 h 302"/>
              <a:gd name="T64" fmla="*/ 2147483647 w 405"/>
              <a:gd name="T65" fmla="*/ 2147483647 h 302"/>
              <a:gd name="T66" fmla="*/ 2147483647 w 405"/>
              <a:gd name="T67" fmla="*/ 2147483647 h 302"/>
              <a:gd name="T68" fmla="*/ 2147483647 w 405"/>
              <a:gd name="T69" fmla="*/ 2147483647 h 302"/>
              <a:gd name="T70" fmla="*/ 2147483647 w 405"/>
              <a:gd name="T71" fmla="*/ 2147483647 h 302"/>
              <a:gd name="T72" fmla="*/ 2147483647 w 405"/>
              <a:gd name="T73" fmla="*/ 2147483647 h 302"/>
              <a:gd name="T74" fmla="*/ 2147483647 w 405"/>
              <a:gd name="T75" fmla="*/ 2147483647 h 302"/>
              <a:gd name="T76" fmla="*/ 2147483647 w 405"/>
              <a:gd name="T77" fmla="*/ 2147483647 h 302"/>
              <a:gd name="T78" fmla="*/ 2147483647 w 405"/>
              <a:gd name="T79" fmla="*/ 2147483647 h 302"/>
              <a:gd name="T80" fmla="*/ 2147483647 w 405"/>
              <a:gd name="T81" fmla="*/ 2147483647 h 302"/>
              <a:gd name="T82" fmla="*/ 2147483647 w 405"/>
              <a:gd name="T83" fmla="*/ 2147483647 h 302"/>
              <a:gd name="T84" fmla="*/ 2147483647 w 405"/>
              <a:gd name="T85" fmla="*/ 2147483647 h 302"/>
              <a:gd name="T86" fmla="*/ 2147483647 w 405"/>
              <a:gd name="T87" fmla="*/ 2147483647 h 302"/>
              <a:gd name="T88" fmla="*/ 2147483647 w 405"/>
              <a:gd name="T89" fmla="*/ 2147483647 h 302"/>
              <a:gd name="T90" fmla="*/ 2147483647 w 405"/>
              <a:gd name="T91" fmla="*/ 2147483647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cmpd="sng">
            <a:solidFill>
              <a:srgbClr val="FFFFFF"/>
            </a:solidFill>
            <a:prstDash val="solid"/>
            <a:round/>
            <a:headEnd/>
            <a:tailEnd/>
          </a:ln>
        </p:spPr>
        <p:txBody>
          <a:bodyPr/>
          <a:lstStyle/>
          <a:p>
            <a:endParaRPr lang="en-AU"/>
          </a:p>
        </p:txBody>
      </p:sp>
      <p:sp>
        <p:nvSpPr>
          <p:cNvPr id="2419" name="Freeform 534"/>
          <p:cNvSpPr>
            <a:spLocks/>
          </p:cNvSpPr>
          <p:nvPr>
            <p:custDataLst>
              <p:tags r:id="rId370"/>
            </p:custDataLst>
          </p:nvPr>
        </p:nvSpPr>
        <p:spPr bwMode="auto">
          <a:xfrm>
            <a:off x="6935788" y="2860675"/>
            <a:ext cx="42862" cy="79375"/>
          </a:xfrm>
          <a:custGeom>
            <a:avLst/>
            <a:gdLst>
              <a:gd name="T0" fmla="*/ 2147483647 w 100"/>
              <a:gd name="T1" fmla="*/ 2147483647 h 155"/>
              <a:gd name="T2" fmla="*/ 2147483647 w 100"/>
              <a:gd name="T3" fmla="*/ 2147483647 h 155"/>
              <a:gd name="T4" fmla="*/ 2147483647 w 100"/>
              <a:gd name="T5" fmla="*/ 2147483647 h 155"/>
              <a:gd name="T6" fmla="*/ 2147483647 w 100"/>
              <a:gd name="T7" fmla="*/ 2147483647 h 155"/>
              <a:gd name="T8" fmla="*/ 2147483647 w 100"/>
              <a:gd name="T9" fmla="*/ 2147483647 h 155"/>
              <a:gd name="T10" fmla="*/ 2147483647 w 100"/>
              <a:gd name="T11" fmla="*/ 2147483647 h 155"/>
              <a:gd name="T12" fmla="*/ 2147483647 w 100"/>
              <a:gd name="T13" fmla="*/ 2147483647 h 155"/>
              <a:gd name="T14" fmla="*/ 2147483647 w 100"/>
              <a:gd name="T15" fmla="*/ 2147483647 h 155"/>
              <a:gd name="T16" fmla="*/ 2147483647 w 100"/>
              <a:gd name="T17" fmla="*/ 2147483647 h 155"/>
              <a:gd name="T18" fmla="*/ 2147483647 w 100"/>
              <a:gd name="T19" fmla="*/ 2147483647 h 155"/>
              <a:gd name="T20" fmla="*/ 2147483647 w 100"/>
              <a:gd name="T21" fmla="*/ 2147483647 h 155"/>
              <a:gd name="T22" fmla="*/ 2147483647 w 100"/>
              <a:gd name="T23" fmla="*/ 2147483647 h 155"/>
              <a:gd name="T24" fmla="*/ 2147483647 w 100"/>
              <a:gd name="T25" fmla="*/ 2147483647 h 155"/>
              <a:gd name="T26" fmla="*/ 2147483647 w 100"/>
              <a:gd name="T27" fmla="*/ 2147483647 h 155"/>
              <a:gd name="T28" fmla="*/ 2147483647 w 100"/>
              <a:gd name="T29" fmla="*/ 2147483647 h 155"/>
              <a:gd name="T30" fmla="*/ 2147483647 w 100"/>
              <a:gd name="T31" fmla="*/ 2147483647 h 155"/>
              <a:gd name="T32" fmla="*/ 2147483647 w 100"/>
              <a:gd name="T33" fmla="*/ 2147483647 h 155"/>
              <a:gd name="T34" fmla="*/ 2147483647 w 100"/>
              <a:gd name="T35" fmla="*/ 2147483647 h 155"/>
              <a:gd name="T36" fmla="*/ 2147483647 w 100"/>
              <a:gd name="T37" fmla="*/ 2147483647 h 155"/>
              <a:gd name="T38" fmla="*/ 2147483647 w 100"/>
              <a:gd name="T39" fmla="*/ 2147483647 h 155"/>
              <a:gd name="T40" fmla="*/ 2147483647 w 100"/>
              <a:gd name="T41" fmla="*/ 2147483647 h 155"/>
              <a:gd name="T42" fmla="*/ 2147483647 w 100"/>
              <a:gd name="T43" fmla="*/ 2147483647 h 155"/>
              <a:gd name="T44" fmla="*/ 2147483647 w 100"/>
              <a:gd name="T45" fmla="*/ 2147483647 h 155"/>
              <a:gd name="T46" fmla="*/ 0 w 100"/>
              <a:gd name="T47" fmla="*/ 2147483647 h 155"/>
              <a:gd name="T48" fmla="*/ 0 w 100"/>
              <a:gd name="T49" fmla="*/ 2147483647 h 155"/>
              <a:gd name="T50" fmla="*/ 0 w 100"/>
              <a:gd name="T51" fmla="*/ 2147483647 h 155"/>
              <a:gd name="T52" fmla="*/ 0 w 100"/>
              <a:gd name="T53" fmla="*/ 2147483647 h 155"/>
              <a:gd name="T54" fmla="*/ 0 w 100"/>
              <a:gd name="T55" fmla="*/ 2147483647 h 155"/>
              <a:gd name="T56" fmla="*/ 0 w 100"/>
              <a:gd name="T57" fmla="*/ 2147483647 h 155"/>
              <a:gd name="T58" fmla="*/ 2147483647 w 100"/>
              <a:gd name="T59" fmla="*/ 2147483647 h 155"/>
              <a:gd name="T60" fmla="*/ 2147483647 w 100"/>
              <a:gd name="T61" fmla="*/ 2147483647 h 155"/>
              <a:gd name="T62" fmla="*/ 2147483647 w 100"/>
              <a:gd name="T63" fmla="*/ 2147483647 h 155"/>
              <a:gd name="T64" fmla="*/ 2147483647 w 100"/>
              <a:gd name="T65" fmla="*/ 2147483647 h 155"/>
              <a:gd name="T66" fmla="*/ 2147483647 w 100"/>
              <a:gd name="T67" fmla="*/ 2147483647 h 155"/>
              <a:gd name="T68" fmla="*/ 2147483647 w 100"/>
              <a:gd name="T69" fmla="*/ 2147483647 h 155"/>
              <a:gd name="T70" fmla="*/ 2147483647 w 100"/>
              <a:gd name="T71" fmla="*/ 2147483647 h 155"/>
              <a:gd name="T72" fmla="*/ 2147483647 w 100"/>
              <a:gd name="T73" fmla="*/ 2147483647 h 155"/>
              <a:gd name="T74" fmla="*/ 2147483647 w 100"/>
              <a:gd name="T75" fmla="*/ 2147483647 h 155"/>
              <a:gd name="T76" fmla="*/ 2147483647 w 100"/>
              <a:gd name="T77" fmla="*/ 2147483647 h 155"/>
              <a:gd name="T78" fmla="*/ 2147483647 w 100"/>
              <a:gd name="T79" fmla="*/ 0 h 155"/>
              <a:gd name="T80" fmla="*/ 2147483647 w 100"/>
              <a:gd name="T81" fmla="*/ 0 h 155"/>
              <a:gd name="T82" fmla="*/ 2147483647 w 100"/>
              <a:gd name="T83" fmla="*/ 0 h 155"/>
              <a:gd name="T84" fmla="*/ 2147483647 w 100"/>
              <a:gd name="T85" fmla="*/ 2147483647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FF0000"/>
          </a:solidFill>
          <a:ln w="9525" cmpd="sng">
            <a:solidFill>
              <a:srgbClr val="FFFFFF"/>
            </a:solidFill>
            <a:prstDash val="solid"/>
            <a:round/>
            <a:headEnd/>
            <a:tailEnd/>
          </a:ln>
        </p:spPr>
        <p:txBody>
          <a:bodyPr/>
          <a:lstStyle/>
          <a:p>
            <a:endParaRPr lang="en-AU"/>
          </a:p>
        </p:txBody>
      </p:sp>
      <p:grpSp>
        <p:nvGrpSpPr>
          <p:cNvPr id="2420" name="Group 535"/>
          <p:cNvGrpSpPr>
            <a:grpSpLocks/>
          </p:cNvGrpSpPr>
          <p:nvPr>
            <p:custDataLst>
              <p:tags r:id="rId371"/>
            </p:custDataLst>
          </p:nvPr>
        </p:nvGrpSpPr>
        <p:grpSpPr bwMode="auto">
          <a:xfrm>
            <a:off x="4583113" y="2328863"/>
            <a:ext cx="482600" cy="201612"/>
            <a:chOff x="3289" y="1830"/>
            <a:chExt cx="363" cy="128"/>
          </a:xfrm>
        </p:grpSpPr>
        <p:sp>
          <p:nvSpPr>
            <p:cNvPr id="2432" name="Freeform 536"/>
            <p:cNvSpPr>
              <a:spLocks/>
            </p:cNvSpPr>
            <p:nvPr/>
          </p:nvSpPr>
          <p:spPr bwMode="auto">
            <a:xfrm>
              <a:off x="3289" y="1871"/>
              <a:ext cx="4" cy="3"/>
            </a:xfrm>
            <a:custGeom>
              <a:avLst/>
              <a:gdLst>
                <a:gd name="T0" fmla="*/ 0 w 13"/>
                <a:gd name="T1" fmla="*/ 0 h 7"/>
                <a:gd name="T2" fmla="*/ 0 w 13"/>
                <a:gd name="T3" fmla="*/ 0 h 7"/>
                <a:gd name="T4" fmla="*/ 0 w 13"/>
                <a:gd name="T5" fmla="*/ 0 h 7"/>
                <a:gd name="T6" fmla="*/ 0 w 13"/>
                <a:gd name="T7" fmla="*/ 0 h 7"/>
                <a:gd name="T8" fmla="*/ 0 w 13"/>
                <a:gd name="T9" fmla="*/ 0 h 7"/>
                <a:gd name="T10" fmla="*/ 0 w 13"/>
                <a:gd name="T11" fmla="*/ 0 h 7"/>
                <a:gd name="T12" fmla="*/ 0 w 13"/>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7">
                  <a:moveTo>
                    <a:pt x="13" y="0"/>
                  </a:moveTo>
                  <a:lnTo>
                    <a:pt x="12" y="1"/>
                  </a:lnTo>
                  <a:lnTo>
                    <a:pt x="9" y="3"/>
                  </a:lnTo>
                  <a:lnTo>
                    <a:pt x="4" y="5"/>
                  </a:lnTo>
                  <a:lnTo>
                    <a:pt x="0" y="7"/>
                  </a:lnTo>
                  <a:lnTo>
                    <a:pt x="7" y="3"/>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433" name="Freeform 537"/>
            <p:cNvSpPr>
              <a:spLocks/>
            </p:cNvSpPr>
            <p:nvPr/>
          </p:nvSpPr>
          <p:spPr bwMode="auto">
            <a:xfrm>
              <a:off x="3324" y="1937"/>
              <a:ext cx="10" cy="3"/>
            </a:xfrm>
            <a:custGeom>
              <a:avLst/>
              <a:gdLst>
                <a:gd name="T0" fmla="*/ 0 w 34"/>
                <a:gd name="T1" fmla="*/ 0 h 8"/>
                <a:gd name="T2" fmla="*/ 0 w 34"/>
                <a:gd name="T3" fmla="*/ 0 h 8"/>
                <a:gd name="T4" fmla="*/ 0 w 34"/>
                <a:gd name="T5" fmla="*/ 0 h 8"/>
                <a:gd name="T6" fmla="*/ 0 w 34"/>
                <a:gd name="T7" fmla="*/ 0 h 8"/>
                <a:gd name="T8" fmla="*/ 0 w 34"/>
                <a:gd name="T9" fmla="*/ 0 h 8"/>
                <a:gd name="T10" fmla="*/ 0 w 34"/>
                <a:gd name="T11" fmla="*/ 0 h 8"/>
                <a:gd name="T12" fmla="*/ 0 w 34"/>
                <a:gd name="T13" fmla="*/ 0 h 8"/>
                <a:gd name="T14" fmla="*/ 0 w 34"/>
                <a:gd name="T15" fmla="*/ 0 h 8"/>
                <a:gd name="T16" fmla="*/ 0 w 34"/>
                <a:gd name="T17" fmla="*/ 0 h 8"/>
                <a:gd name="T18" fmla="*/ 0 w 34"/>
                <a:gd name="T19" fmla="*/ 0 h 8"/>
                <a:gd name="T20" fmla="*/ 0 w 34"/>
                <a:gd name="T21" fmla="*/ 0 h 8"/>
                <a:gd name="T22" fmla="*/ 0 w 34"/>
                <a:gd name="T23" fmla="*/ 0 h 8"/>
                <a:gd name="T24" fmla="*/ 0 w 34"/>
                <a:gd name="T25" fmla="*/ 0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434" name="Freeform 538"/>
            <p:cNvSpPr>
              <a:spLocks/>
            </p:cNvSpPr>
            <p:nvPr/>
          </p:nvSpPr>
          <p:spPr bwMode="auto">
            <a:xfrm>
              <a:off x="3343" y="1948"/>
              <a:ext cx="4" cy="8"/>
            </a:xfrm>
            <a:custGeom>
              <a:avLst/>
              <a:gdLst>
                <a:gd name="T0" fmla="*/ 0 w 13"/>
                <a:gd name="T1" fmla="*/ 0 h 24"/>
                <a:gd name="T2" fmla="*/ 0 w 13"/>
                <a:gd name="T3" fmla="*/ 0 h 24"/>
                <a:gd name="T4" fmla="*/ 0 w 13"/>
                <a:gd name="T5" fmla="*/ 0 h 24"/>
                <a:gd name="T6" fmla="*/ 0 w 13"/>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24">
                  <a:moveTo>
                    <a:pt x="0" y="24"/>
                  </a:moveTo>
                  <a:lnTo>
                    <a:pt x="0" y="0"/>
                  </a:lnTo>
                  <a:lnTo>
                    <a:pt x="13" y="12"/>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435" name="Freeform 539"/>
            <p:cNvSpPr>
              <a:spLocks/>
            </p:cNvSpPr>
            <p:nvPr/>
          </p:nvSpPr>
          <p:spPr bwMode="auto">
            <a:xfrm>
              <a:off x="3313" y="1834"/>
              <a:ext cx="34" cy="23"/>
            </a:xfrm>
            <a:custGeom>
              <a:avLst/>
              <a:gdLst>
                <a:gd name="T0" fmla="*/ 0 w 107"/>
                <a:gd name="T1" fmla="*/ 0 h 69"/>
                <a:gd name="T2" fmla="*/ 0 w 107"/>
                <a:gd name="T3" fmla="*/ 0 h 69"/>
                <a:gd name="T4" fmla="*/ 0 w 107"/>
                <a:gd name="T5" fmla="*/ 1 h 69"/>
                <a:gd name="T6" fmla="*/ 0 w 107"/>
                <a:gd name="T7" fmla="*/ 1 h 69"/>
                <a:gd name="T8" fmla="*/ 0 w 107"/>
                <a:gd name="T9" fmla="*/ 1 h 69"/>
                <a:gd name="T10" fmla="*/ 0 w 107"/>
                <a:gd name="T11" fmla="*/ 1 h 69"/>
                <a:gd name="T12" fmla="*/ 1 w 107"/>
                <a:gd name="T13" fmla="*/ 1 h 69"/>
                <a:gd name="T14" fmla="*/ 1 w 107"/>
                <a:gd name="T15" fmla="*/ 1 h 69"/>
                <a:gd name="T16" fmla="*/ 1 w 107"/>
                <a:gd name="T17" fmla="*/ 1 h 69"/>
                <a:gd name="T18" fmla="*/ 1 w 107"/>
                <a:gd name="T19" fmla="*/ 0 h 69"/>
                <a:gd name="T20" fmla="*/ 1 w 107"/>
                <a:gd name="T21" fmla="*/ 0 h 69"/>
                <a:gd name="T22" fmla="*/ 1 w 107"/>
                <a:gd name="T23" fmla="*/ 0 h 69"/>
                <a:gd name="T24" fmla="*/ 1 w 107"/>
                <a:gd name="T25" fmla="*/ 0 h 69"/>
                <a:gd name="T26" fmla="*/ 1 w 107"/>
                <a:gd name="T27" fmla="*/ 0 h 69"/>
                <a:gd name="T28" fmla="*/ 1 w 107"/>
                <a:gd name="T29" fmla="*/ 0 h 69"/>
                <a:gd name="T30" fmla="*/ 1 w 107"/>
                <a:gd name="T31" fmla="*/ 0 h 69"/>
                <a:gd name="T32" fmla="*/ 1 w 107"/>
                <a:gd name="T33" fmla="*/ 0 h 69"/>
                <a:gd name="T34" fmla="*/ 1 w 107"/>
                <a:gd name="T35" fmla="*/ 0 h 69"/>
                <a:gd name="T36" fmla="*/ 1 w 107"/>
                <a:gd name="T37" fmla="*/ 0 h 69"/>
                <a:gd name="T38" fmla="*/ 1 w 107"/>
                <a:gd name="T39" fmla="*/ 0 h 69"/>
                <a:gd name="T40" fmla="*/ 0 w 107"/>
                <a:gd name="T41" fmla="*/ 0 h 69"/>
                <a:gd name="T42" fmla="*/ 0 w 107"/>
                <a:gd name="T43" fmla="*/ 0 h 69"/>
                <a:gd name="T44" fmla="*/ 0 w 107"/>
                <a:gd name="T45" fmla="*/ 0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436" name="Freeform 540"/>
            <p:cNvSpPr>
              <a:spLocks/>
            </p:cNvSpPr>
            <p:nvPr/>
          </p:nvSpPr>
          <p:spPr bwMode="auto">
            <a:xfrm>
              <a:off x="3302" y="1830"/>
              <a:ext cx="350" cy="128"/>
            </a:xfrm>
            <a:custGeom>
              <a:avLst/>
              <a:gdLst>
                <a:gd name="T0" fmla="*/ 11 w 1070"/>
                <a:gd name="T1" fmla="*/ 2 h 382"/>
                <a:gd name="T2" fmla="*/ 11 w 1070"/>
                <a:gd name="T3" fmla="*/ 1 h 382"/>
                <a:gd name="T4" fmla="*/ 11 w 1070"/>
                <a:gd name="T5" fmla="*/ 1 h 382"/>
                <a:gd name="T6" fmla="*/ 11 w 1070"/>
                <a:gd name="T7" fmla="*/ 0 h 382"/>
                <a:gd name="T8" fmla="*/ 9 w 1070"/>
                <a:gd name="T9" fmla="*/ 0 h 382"/>
                <a:gd name="T10" fmla="*/ 9 w 1070"/>
                <a:gd name="T11" fmla="*/ 1 h 382"/>
                <a:gd name="T12" fmla="*/ 8 w 1070"/>
                <a:gd name="T13" fmla="*/ 1 h 382"/>
                <a:gd name="T14" fmla="*/ 7 w 1070"/>
                <a:gd name="T15" fmla="*/ 1 h 382"/>
                <a:gd name="T16" fmla="*/ 7 w 1070"/>
                <a:gd name="T17" fmla="*/ 1 h 382"/>
                <a:gd name="T18" fmla="*/ 7 w 1070"/>
                <a:gd name="T19" fmla="*/ 0 h 382"/>
                <a:gd name="T20" fmla="*/ 6 w 1070"/>
                <a:gd name="T21" fmla="*/ 0 h 382"/>
                <a:gd name="T22" fmla="*/ 6 w 1070"/>
                <a:gd name="T23" fmla="*/ 0 h 382"/>
                <a:gd name="T24" fmla="*/ 5 w 1070"/>
                <a:gd name="T25" fmla="*/ 0 h 382"/>
                <a:gd name="T26" fmla="*/ 5 w 1070"/>
                <a:gd name="T27" fmla="*/ 0 h 382"/>
                <a:gd name="T28" fmla="*/ 3 w 1070"/>
                <a:gd name="T29" fmla="*/ 0 h 382"/>
                <a:gd name="T30" fmla="*/ 3 w 1070"/>
                <a:gd name="T31" fmla="*/ 1 h 382"/>
                <a:gd name="T32" fmla="*/ 2 w 1070"/>
                <a:gd name="T33" fmla="*/ 1 h 382"/>
                <a:gd name="T34" fmla="*/ 2 w 1070"/>
                <a:gd name="T35" fmla="*/ 1 h 382"/>
                <a:gd name="T36" fmla="*/ 2 w 1070"/>
                <a:gd name="T37" fmla="*/ 1 h 382"/>
                <a:gd name="T38" fmla="*/ 1 w 1070"/>
                <a:gd name="T39" fmla="*/ 1 h 382"/>
                <a:gd name="T40" fmla="*/ 1 w 1070"/>
                <a:gd name="T41" fmla="*/ 1 h 382"/>
                <a:gd name="T42" fmla="*/ 0 w 1070"/>
                <a:gd name="T43" fmla="*/ 1 h 382"/>
                <a:gd name="T44" fmla="*/ 0 w 1070"/>
                <a:gd name="T45" fmla="*/ 2 h 382"/>
                <a:gd name="T46" fmla="*/ 0 w 1070"/>
                <a:gd name="T47" fmla="*/ 2 h 382"/>
                <a:gd name="T48" fmla="*/ 0 w 1070"/>
                <a:gd name="T49" fmla="*/ 2 h 382"/>
                <a:gd name="T50" fmla="*/ 0 w 1070"/>
                <a:gd name="T51" fmla="*/ 3 h 382"/>
                <a:gd name="T52" fmla="*/ 1 w 1070"/>
                <a:gd name="T53" fmla="*/ 3 h 382"/>
                <a:gd name="T54" fmla="*/ 1 w 1070"/>
                <a:gd name="T55" fmla="*/ 3 h 382"/>
                <a:gd name="T56" fmla="*/ 1 w 1070"/>
                <a:gd name="T57" fmla="*/ 3 h 382"/>
                <a:gd name="T58" fmla="*/ 1 w 1070"/>
                <a:gd name="T59" fmla="*/ 4 h 382"/>
                <a:gd name="T60" fmla="*/ 2 w 1070"/>
                <a:gd name="T61" fmla="*/ 4 h 382"/>
                <a:gd name="T62" fmla="*/ 3 w 1070"/>
                <a:gd name="T63" fmla="*/ 5 h 382"/>
                <a:gd name="T64" fmla="*/ 3 w 1070"/>
                <a:gd name="T65" fmla="*/ 4 h 382"/>
                <a:gd name="T66" fmla="*/ 3 w 1070"/>
                <a:gd name="T67" fmla="*/ 4 h 382"/>
                <a:gd name="T68" fmla="*/ 3 w 1070"/>
                <a:gd name="T69" fmla="*/ 4 h 382"/>
                <a:gd name="T70" fmla="*/ 4 w 1070"/>
                <a:gd name="T71" fmla="*/ 4 h 382"/>
                <a:gd name="T72" fmla="*/ 4 w 1070"/>
                <a:gd name="T73" fmla="*/ 4 h 382"/>
                <a:gd name="T74" fmla="*/ 5 w 1070"/>
                <a:gd name="T75" fmla="*/ 5 h 382"/>
                <a:gd name="T76" fmla="*/ 5 w 1070"/>
                <a:gd name="T77" fmla="*/ 4 h 382"/>
                <a:gd name="T78" fmla="*/ 6 w 1070"/>
                <a:gd name="T79" fmla="*/ 4 h 382"/>
                <a:gd name="T80" fmla="*/ 6 w 1070"/>
                <a:gd name="T81" fmla="*/ 4 h 382"/>
                <a:gd name="T82" fmla="*/ 7 w 1070"/>
                <a:gd name="T83" fmla="*/ 4 h 382"/>
                <a:gd name="T84" fmla="*/ 7 w 1070"/>
                <a:gd name="T85" fmla="*/ 5 h 382"/>
                <a:gd name="T86" fmla="*/ 7 w 1070"/>
                <a:gd name="T87" fmla="*/ 5 h 382"/>
                <a:gd name="T88" fmla="*/ 7 w 1070"/>
                <a:gd name="T89" fmla="*/ 5 h 382"/>
                <a:gd name="T90" fmla="*/ 8 w 1070"/>
                <a:gd name="T91" fmla="*/ 4 h 382"/>
                <a:gd name="T92" fmla="*/ 9 w 1070"/>
                <a:gd name="T93" fmla="*/ 4 h 382"/>
                <a:gd name="T94" fmla="*/ 9 w 1070"/>
                <a:gd name="T95" fmla="*/ 4 h 382"/>
                <a:gd name="T96" fmla="*/ 10 w 1070"/>
                <a:gd name="T97" fmla="*/ 4 h 382"/>
                <a:gd name="T98" fmla="*/ 11 w 1070"/>
                <a:gd name="T99" fmla="*/ 4 h 382"/>
                <a:gd name="T100" fmla="*/ 11 w 1070"/>
                <a:gd name="T101" fmla="*/ 4 h 382"/>
                <a:gd name="T102" fmla="*/ 12 w 1070"/>
                <a:gd name="T103" fmla="*/ 4 h 382"/>
                <a:gd name="T104" fmla="*/ 12 w 1070"/>
                <a:gd name="T105" fmla="*/ 3 h 382"/>
                <a:gd name="T106" fmla="*/ 12 w 1070"/>
                <a:gd name="T107" fmla="*/ 3 h 382"/>
                <a:gd name="T108" fmla="*/ 12 w 1070"/>
                <a:gd name="T109" fmla="*/ 2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grpSp>
      <p:sp>
        <p:nvSpPr>
          <p:cNvPr id="2421" name="Freeform 541"/>
          <p:cNvSpPr>
            <a:spLocks/>
          </p:cNvSpPr>
          <p:nvPr>
            <p:custDataLst>
              <p:tags r:id="rId372"/>
            </p:custDataLst>
          </p:nvPr>
        </p:nvSpPr>
        <p:spPr bwMode="auto">
          <a:xfrm>
            <a:off x="2571750" y="3481388"/>
            <a:ext cx="100013" cy="122237"/>
          </a:xfrm>
          <a:custGeom>
            <a:avLst/>
            <a:gdLst>
              <a:gd name="T0" fmla="*/ 2147483647 w 226"/>
              <a:gd name="T1" fmla="*/ 2147483647 h 237"/>
              <a:gd name="T2" fmla="*/ 2147483647 w 226"/>
              <a:gd name="T3" fmla="*/ 2147483647 h 237"/>
              <a:gd name="T4" fmla="*/ 2147483647 w 226"/>
              <a:gd name="T5" fmla="*/ 2147483647 h 237"/>
              <a:gd name="T6" fmla="*/ 2147483647 w 226"/>
              <a:gd name="T7" fmla="*/ 2147483647 h 237"/>
              <a:gd name="T8" fmla="*/ 2147483647 w 226"/>
              <a:gd name="T9" fmla="*/ 2147483647 h 237"/>
              <a:gd name="T10" fmla="*/ 2147483647 w 226"/>
              <a:gd name="T11" fmla="*/ 2147483647 h 237"/>
              <a:gd name="T12" fmla="*/ 2147483647 w 226"/>
              <a:gd name="T13" fmla="*/ 2147483647 h 237"/>
              <a:gd name="T14" fmla="*/ 2147483647 w 226"/>
              <a:gd name="T15" fmla="*/ 2147483647 h 237"/>
              <a:gd name="T16" fmla="*/ 2147483647 w 226"/>
              <a:gd name="T17" fmla="*/ 2147483647 h 237"/>
              <a:gd name="T18" fmla="*/ 2147483647 w 226"/>
              <a:gd name="T19" fmla="*/ 2147483647 h 237"/>
              <a:gd name="T20" fmla="*/ 2147483647 w 226"/>
              <a:gd name="T21" fmla="*/ 2147483647 h 237"/>
              <a:gd name="T22" fmla="*/ 2147483647 w 226"/>
              <a:gd name="T23" fmla="*/ 2147483647 h 237"/>
              <a:gd name="T24" fmla="*/ 2147483647 w 226"/>
              <a:gd name="T25" fmla="*/ 2147483647 h 237"/>
              <a:gd name="T26" fmla="*/ 2147483647 w 226"/>
              <a:gd name="T27" fmla="*/ 2147483647 h 237"/>
              <a:gd name="T28" fmla="*/ 2147483647 w 226"/>
              <a:gd name="T29" fmla="*/ 2147483647 h 237"/>
              <a:gd name="T30" fmla="*/ 2147483647 w 226"/>
              <a:gd name="T31" fmla="*/ 2147483647 h 237"/>
              <a:gd name="T32" fmla="*/ 2147483647 w 226"/>
              <a:gd name="T33" fmla="*/ 2147483647 h 237"/>
              <a:gd name="T34" fmla="*/ 2147483647 w 226"/>
              <a:gd name="T35" fmla="*/ 2147483647 h 237"/>
              <a:gd name="T36" fmla="*/ 2147483647 w 226"/>
              <a:gd name="T37" fmla="*/ 2147483647 h 237"/>
              <a:gd name="T38" fmla="*/ 2147483647 w 226"/>
              <a:gd name="T39" fmla="*/ 2147483647 h 237"/>
              <a:gd name="T40" fmla="*/ 2147483647 w 226"/>
              <a:gd name="T41" fmla="*/ 2147483647 h 237"/>
              <a:gd name="T42" fmla="*/ 2147483647 w 226"/>
              <a:gd name="T43" fmla="*/ 2147483647 h 237"/>
              <a:gd name="T44" fmla="*/ 2147483647 w 226"/>
              <a:gd name="T45" fmla="*/ 2147483647 h 237"/>
              <a:gd name="T46" fmla="*/ 2147483647 w 226"/>
              <a:gd name="T47" fmla="*/ 2147483647 h 237"/>
              <a:gd name="T48" fmla="*/ 2147483647 w 226"/>
              <a:gd name="T49" fmla="*/ 2147483647 h 237"/>
              <a:gd name="T50" fmla="*/ 2147483647 w 226"/>
              <a:gd name="T51" fmla="*/ 2147483647 h 237"/>
              <a:gd name="T52" fmla="*/ 2147483647 w 226"/>
              <a:gd name="T53" fmla="*/ 2147483647 h 237"/>
              <a:gd name="T54" fmla="*/ 2147483647 w 226"/>
              <a:gd name="T55" fmla="*/ 2147483647 h 237"/>
              <a:gd name="T56" fmla="*/ 2147483647 w 226"/>
              <a:gd name="T57" fmla="*/ 2147483647 h 237"/>
              <a:gd name="T58" fmla="*/ 0 w 226"/>
              <a:gd name="T59" fmla="*/ 2147483647 h 237"/>
              <a:gd name="T60" fmla="*/ 2147483647 w 226"/>
              <a:gd name="T61" fmla="*/ 2147483647 h 237"/>
              <a:gd name="T62" fmla="*/ 2147483647 w 226"/>
              <a:gd name="T63" fmla="*/ 2147483647 h 237"/>
              <a:gd name="T64" fmla="*/ 2147483647 w 226"/>
              <a:gd name="T65" fmla="*/ 2147483647 h 237"/>
              <a:gd name="T66" fmla="*/ 2147483647 w 226"/>
              <a:gd name="T67" fmla="*/ 2147483647 h 237"/>
              <a:gd name="T68" fmla="*/ 2147483647 w 226"/>
              <a:gd name="T69" fmla="*/ 2147483647 h 237"/>
              <a:gd name="T70" fmla="*/ 2147483647 w 226"/>
              <a:gd name="T71" fmla="*/ 2147483647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422" name="Freeform 542"/>
          <p:cNvSpPr>
            <a:spLocks/>
          </p:cNvSpPr>
          <p:nvPr>
            <p:custDataLst>
              <p:tags r:id="rId373"/>
            </p:custDataLst>
          </p:nvPr>
        </p:nvSpPr>
        <p:spPr bwMode="auto">
          <a:xfrm>
            <a:off x="6516688" y="2917825"/>
            <a:ext cx="207962" cy="458788"/>
          </a:xfrm>
          <a:custGeom>
            <a:avLst/>
            <a:gdLst>
              <a:gd name="T0" fmla="*/ 2147483647 w 478"/>
              <a:gd name="T1" fmla="*/ 2147483647 h 875"/>
              <a:gd name="T2" fmla="*/ 2147483647 w 478"/>
              <a:gd name="T3" fmla="*/ 2147483647 h 875"/>
              <a:gd name="T4" fmla="*/ 2147483647 w 478"/>
              <a:gd name="T5" fmla="*/ 2147483647 h 875"/>
              <a:gd name="T6" fmla="*/ 2147483647 w 478"/>
              <a:gd name="T7" fmla="*/ 2147483647 h 875"/>
              <a:gd name="T8" fmla="*/ 2147483647 w 478"/>
              <a:gd name="T9" fmla="*/ 2147483647 h 875"/>
              <a:gd name="T10" fmla="*/ 2147483647 w 478"/>
              <a:gd name="T11" fmla="*/ 2147483647 h 875"/>
              <a:gd name="T12" fmla="*/ 2147483647 w 478"/>
              <a:gd name="T13" fmla="*/ 2147483647 h 875"/>
              <a:gd name="T14" fmla="*/ 2147483647 w 478"/>
              <a:gd name="T15" fmla="*/ 2147483647 h 875"/>
              <a:gd name="T16" fmla="*/ 2147483647 w 478"/>
              <a:gd name="T17" fmla="*/ 2147483647 h 875"/>
              <a:gd name="T18" fmla="*/ 2147483647 w 478"/>
              <a:gd name="T19" fmla="*/ 2147483647 h 875"/>
              <a:gd name="T20" fmla="*/ 2147483647 w 478"/>
              <a:gd name="T21" fmla="*/ 2147483647 h 875"/>
              <a:gd name="T22" fmla="*/ 2147483647 w 478"/>
              <a:gd name="T23" fmla="*/ 2147483647 h 875"/>
              <a:gd name="T24" fmla="*/ 2147483647 w 478"/>
              <a:gd name="T25" fmla="*/ 2147483647 h 875"/>
              <a:gd name="T26" fmla="*/ 2147483647 w 478"/>
              <a:gd name="T27" fmla="*/ 2147483647 h 875"/>
              <a:gd name="T28" fmla="*/ 2147483647 w 478"/>
              <a:gd name="T29" fmla="*/ 2147483647 h 875"/>
              <a:gd name="T30" fmla="*/ 2147483647 w 478"/>
              <a:gd name="T31" fmla="*/ 2147483647 h 875"/>
              <a:gd name="T32" fmla="*/ 2147483647 w 478"/>
              <a:gd name="T33" fmla="*/ 2147483647 h 875"/>
              <a:gd name="T34" fmla="*/ 2147483647 w 478"/>
              <a:gd name="T35" fmla="*/ 2147483647 h 875"/>
              <a:gd name="T36" fmla="*/ 2147483647 w 478"/>
              <a:gd name="T37" fmla="*/ 2147483647 h 875"/>
              <a:gd name="T38" fmla="*/ 2147483647 w 478"/>
              <a:gd name="T39" fmla="*/ 2147483647 h 875"/>
              <a:gd name="T40" fmla="*/ 2147483647 w 478"/>
              <a:gd name="T41" fmla="*/ 2147483647 h 875"/>
              <a:gd name="T42" fmla="*/ 2147483647 w 478"/>
              <a:gd name="T43" fmla="*/ 2147483647 h 875"/>
              <a:gd name="T44" fmla="*/ 2147483647 w 478"/>
              <a:gd name="T45" fmla="*/ 2147483647 h 875"/>
              <a:gd name="T46" fmla="*/ 2147483647 w 478"/>
              <a:gd name="T47" fmla="*/ 2147483647 h 875"/>
              <a:gd name="T48" fmla="*/ 2147483647 w 478"/>
              <a:gd name="T49" fmla="*/ 2147483647 h 875"/>
              <a:gd name="T50" fmla="*/ 2147483647 w 478"/>
              <a:gd name="T51" fmla="*/ 2147483647 h 875"/>
              <a:gd name="T52" fmla="*/ 2147483647 w 478"/>
              <a:gd name="T53" fmla="*/ 2147483647 h 875"/>
              <a:gd name="T54" fmla="*/ 2147483647 w 478"/>
              <a:gd name="T55" fmla="*/ 2147483647 h 875"/>
              <a:gd name="T56" fmla="*/ 2147483647 w 478"/>
              <a:gd name="T57" fmla="*/ 2147483647 h 875"/>
              <a:gd name="T58" fmla="*/ 2147483647 w 478"/>
              <a:gd name="T59" fmla="*/ 2147483647 h 875"/>
              <a:gd name="T60" fmla="*/ 2147483647 w 478"/>
              <a:gd name="T61" fmla="*/ 2147483647 h 875"/>
              <a:gd name="T62" fmla="*/ 2147483647 w 478"/>
              <a:gd name="T63" fmla="*/ 2147483647 h 875"/>
              <a:gd name="T64" fmla="*/ 2147483647 w 478"/>
              <a:gd name="T65" fmla="*/ 2147483647 h 875"/>
              <a:gd name="T66" fmla="*/ 2147483647 w 478"/>
              <a:gd name="T67" fmla="*/ 2147483647 h 875"/>
              <a:gd name="T68" fmla="*/ 2147483647 w 478"/>
              <a:gd name="T69" fmla="*/ 2147483647 h 875"/>
              <a:gd name="T70" fmla="*/ 2147483647 w 478"/>
              <a:gd name="T71" fmla="*/ 2147483647 h 875"/>
              <a:gd name="T72" fmla="*/ 2147483647 w 478"/>
              <a:gd name="T73" fmla="*/ 2147483647 h 875"/>
              <a:gd name="T74" fmla="*/ 2147483647 w 478"/>
              <a:gd name="T75" fmla="*/ 2147483647 h 875"/>
              <a:gd name="T76" fmla="*/ 2147483647 w 478"/>
              <a:gd name="T77" fmla="*/ 2147483647 h 875"/>
              <a:gd name="T78" fmla="*/ 2147483647 w 478"/>
              <a:gd name="T79" fmla="*/ 2147483647 h 875"/>
              <a:gd name="T80" fmla="*/ 2147483647 w 478"/>
              <a:gd name="T81" fmla="*/ 2147483647 h 875"/>
              <a:gd name="T82" fmla="*/ 2147483647 w 478"/>
              <a:gd name="T83" fmla="*/ 2147483647 h 875"/>
              <a:gd name="T84" fmla="*/ 2147483647 w 478"/>
              <a:gd name="T85" fmla="*/ 2147483647 h 875"/>
              <a:gd name="T86" fmla="*/ 2147483647 w 478"/>
              <a:gd name="T87" fmla="*/ 2147483647 h 875"/>
              <a:gd name="T88" fmla="*/ 2147483647 w 478"/>
              <a:gd name="T89" fmla="*/ 2147483647 h 875"/>
              <a:gd name="T90" fmla="*/ 2147483647 w 478"/>
              <a:gd name="T91" fmla="*/ 2147483647 h 875"/>
              <a:gd name="T92" fmla="*/ 2147483647 w 478"/>
              <a:gd name="T93" fmla="*/ 2147483647 h 875"/>
              <a:gd name="T94" fmla="*/ 2147483647 w 478"/>
              <a:gd name="T95" fmla="*/ 2147483647 h 875"/>
              <a:gd name="T96" fmla="*/ 2147483647 w 478"/>
              <a:gd name="T97" fmla="*/ 2147483647 h 875"/>
              <a:gd name="T98" fmla="*/ 2147483647 w 478"/>
              <a:gd name="T99" fmla="*/ 2147483647 h 875"/>
              <a:gd name="T100" fmla="*/ 2147483647 w 478"/>
              <a:gd name="T101" fmla="*/ 2147483647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0000FF"/>
          </a:solidFill>
          <a:ln w="9525" cmpd="sng">
            <a:solidFill>
              <a:srgbClr val="FFFFFF"/>
            </a:solidFill>
            <a:prstDash val="solid"/>
            <a:round/>
            <a:headEnd/>
            <a:tailEnd/>
          </a:ln>
        </p:spPr>
        <p:txBody>
          <a:bodyPr/>
          <a:lstStyle/>
          <a:p>
            <a:endParaRPr lang="en-AU"/>
          </a:p>
        </p:txBody>
      </p:sp>
      <p:sp>
        <p:nvSpPr>
          <p:cNvPr id="2423" name="Freeform 543"/>
          <p:cNvSpPr>
            <a:spLocks/>
          </p:cNvSpPr>
          <p:nvPr>
            <p:custDataLst>
              <p:tags r:id="rId374"/>
            </p:custDataLst>
          </p:nvPr>
        </p:nvSpPr>
        <p:spPr bwMode="auto">
          <a:xfrm>
            <a:off x="6604000" y="3603625"/>
            <a:ext cx="25400" cy="57150"/>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147483647 w 59"/>
              <a:gd name="T17" fmla="*/ 2147483647 h 31"/>
              <a:gd name="T18" fmla="*/ 2147483647 w 59"/>
              <a:gd name="T19" fmla="*/ 2147483647 h 31"/>
              <a:gd name="T20" fmla="*/ 2147483647 w 59"/>
              <a:gd name="T21" fmla="*/ 2147483647 h 31"/>
              <a:gd name="T22" fmla="*/ 2147483647 w 59"/>
              <a:gd name="T23" fmla="*/ 2147483647 h 31"/>
              <a:gd name="T24" fmla="*/ 2147483647 w 59"/>
              <a:gd name="T25" fmla="*/ 2147483647 h 31"/>
              <a:gd name="T26" fmla="*/ 2147483647 w 59"/>
              <a:gd name="T27" fmla="*/ 2147483647 h 31"/>
              <a:gd name="T28" fmla="*/ 0 w 59"/>
              <a:gd name="T29" fmla="*/ 2147483647 h 31"/>
              <a:gd name="T30" fmla="*/ 2147483647 w 59"/>
              <a:gd name="T31" fmla="*/ 2147483647 h 31"/>
              <a:gd name="T32" fmla="*/ 2147483647 w 59"/>
              <a:gd name="T33" fmla="*/ 2147483647 h 31"/>
              <a:gd name="T34" fmla="*/ 2147483647 w 59"/>
              <a:gd name="T35" fmla="*/ 2147483647 h 31"/>
              <a:gd name="T36" fmla="*/ 2147483647 w 59"/>
              <a:gd name="T37" fmla="*/ 2147483647 h 31"/>
              <a:gd name="T38" fmla="*/ 2147483647 w 59"/>
              <a:gd name="T39" fmla="*/ 2147483647 h 31"/>
              <a:gd name="T40" fmla="*/ 2147483647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AU"/>
          </a:p>
        </p:txBody>
      </p:sp>
      <p:sp>
        <p:nvSpPr>
          <p:cNvPr id="2424" name="Freeform 544"/>
          <p:cNvSpPr>
            <a:spLocks/>
          </p:cNvSpPr>
          <p:nvPr>
            <p:custDataLst>
              <p:tags r:id="rId375"/>
            </p:custDataLst>
          </p:nvPr>
        </p:nvSpPr>
        <p:spPr bwMode="auto">
          <a:xfrm>
            <a:off x="5295900" y="2862263"/>
            <a:ext cx="174625" cy="271462"/>
          </a:xfrm>
          <a:custGeom>
            <a:avLst/>
            <a:gdLst>
              <a:gd name="T0" fmla="*/ 2147483647 w 399"/>
              <a:gd name="T1" fmla="*/ 2147483647 h 518"/>
              <a:gd name="T2" fmla="*/ 2147483647 w 399"/>
              <a:gd name="T3" fmla="*/ 2147483647 h 518"/>
              <a:gd name="T4" fmla="*/ 2147483647 w 399"/>
              <a:gd name="T5" fmla="*/ 2147483647 h 518"/>
              <a:gd name="T6" fmla="*/ 2147483647 w 399"/>
              <a:gd name="T7" fmla="*/ 2147483647 h 518"/>
              <a:gd name="T8" fmla="*/ 2147483647 w 399"/>
              <a:gd name="T9" fmla="*/ 2147483647 h 518"/>
              <a:gd name="T10" fmla="*/ 2147483647 w 399"/>
              <a:gd name="T11" fmla="*/ 2147483647 h 518"/>
              <a:gd name="T12" fmla="*/ 2147483647 w 399"/>
              <a:gd name="T13" fmla="*/ 2147483647 h 518"/>
              <a:gd name="T14" fmla="*/ 2147483647 w 399"/>
              <a:gd name="T15" fmla="*/ 2147483647 h 518"/>
              <a:gd name="T16" fmla="*/ 2147483647 w 399"/>
              <a:gd name="T17" fmla="*/ 2147483647 h 518"/>
              <a:gd name="T18" fmla="*/ 2147483647 w 399"/>
              <a:gd name="T19" fmla="*/ 2147483647 h 518"/>
              <a:gd name="T20" fmla="*/ 2147483647 w 399"/>
              <a:gd name="T21" fmla="*/ 2147483647 h 518"/>
              <a:gd name="T22" fmla="*/ 2147483647 w 399"/>
              <a:gd name="T23" fmla="*/ 2147483647 h 518"/>
              <a:gd name="T24" fmla="*/ 2147483647 w 399"/>
              <a:gd name="T25" fmla="*/ 2147483647 h 518"/>
              <a:gd name="T26" fmla="*/ 2147483647 w 399"/>
              <a:gd name="T27" fmla="*/ 2147483647 h 518"/>
              <a:gd name="T28" fmla="*/ 2147483647 w 399"/>
              <a:gd name="T29" fmla="*/ 2147483647 h 518"/>
              <a:gd name="T30" fmla="*/ 2147483647 w 399"/>
              <a:gd name="T31" fmla="*/ 2147483647 h 518"/>
              <a:gd name="T32" fmla="*/ 2147483647 w 399"/>
              <a:gd name="T33" fmla="*/ 2147483647 h 518"/>
              <a:gd name="T34" fmla="*/ 2147483647 w 399"/>
              <a:gd name="T35" fmla="*/ 2147483647 h 518"/>
              <a:gd name="T36" fmla="*/ 2147483647 w 399"/>
              <a:gd name="T37" fmla="*/ 2147483647 h 518"/>
              <a:gd name="T38" fmla="*/ 2147483647 w 399"/>
              <a:gd name="T39" fmla="*/ 2147483647 h 518"/>
              <a:gd name="T40" fmla="*/ 2147483647 w 399"/>
              <a:gd name="T41" fmla="*/ 2147483647 h 518"/>
              <a:gd name="T42" fmla="*/ 2147483647 w 399"/>
              <a:gd name="T43" fmla="*/ 2147483647 h 518"/>
              <a:gd name="T44" fmla="*/ 2147483647 w 399"/>
              <a:gd name="T45" fmla="*/ 2147483647 h 518"/>
              <a:gd name="T46" fmla="*/ 2147483647 w 399"/>
              <a:gd name="T47" fmla="*/ 2147483647 h 518"/>
              <a:gd name="T48" fmla="*/ 2147483647 w 399"/>
              <a:gd name="T49" fmla="*/ 2147483647 h 518"/>
              <a:gd name="T50" fmla="*/ 2147483647 w 399"/>
              <a:gd name="T51" fmla="*/ 2147483647 h 518"/>
              <a:gd name="T52" fmla="*/ 2147483647 w 399"/>
              <a:gd name="T53" fmla="*/ 2147483647 h 518"/>
              <a:gd name="T54" fmla="*/ 2147483647 w 399"/>
              <a:gd name="T55" fmla="*/ 2147483647 h 518"/>
              <a:gd name="T56" fmla="*/ 2147483647 w 399"/>
              <a:gd name="T57" fmla="*/ 2147483647 h 518"/>
              <a:gd name="T58" fmla="*/ 2147483647 w 399"/>
              <a:gd name="T59" fmla="*/ 2147483647 h 518"/>
              <a:gd name="T60" fmla="*/ 2147483647 w 399"/>
              <a:gd name="T61" fmla="*/ 2147483647 h 518"/>
              <a:gd name="T62" fmla="*/ 2147483647 w 399"/>
              <a:gd name="T63" fmla="*/ 2147483647 h 518"/>
              <a:gd name="T64" fmla="*/ 2147483647 w 399"/>
              <a:gd name="T65" fmla="*/ 2147483647 h 518"/>
              <a:gd name="T66" fmla="*/ 2147483647 w 399"/>
              <a:gd name="T67" fmla="*/ 2147483647 h 518"/>
              <a:gd name="T68" fmla="*/ 2147483647 w 399"/>
              <a:gd name="T69" fmla="*/ 2147483647 h 518"/>
              <a:gd name="T70" fmla="*/ 2147483647 w 399"/>
              <a:gd name="T71" fmla="*/ 2147483647 h 518"/>
              <a:gd name="T72" fmla="*/ 2147483647 w 399"/>
              <a:gd name="T73" fmla="*/ 2147483647 h 518"/>
              <a:gd name="T74" fmla="*/ 2147483647 w 399"/>
              <a:gd name="T75" fmla="*/ 2147483647 h 518"/>
              <a:gd name="T76" fmla="*/ 2147483647 w 399"/>
              <a:gd name="T77" fmla="*/ 2147483647 h 518"/>
              <a:gd name="T78" fmla="*/ 2147483647 w 399"/>
              <a:gd name="T79" fmla="*/ 2147483647 h 518"/>
              <a:gd name="T80" fmla="*/ 2147483647 w 399"/>
              <a:gd name="T81" fmla="*/ 2147483647 h 518"/>
              <a:gd name="T82" fmla="*/ 2147483647 w 399"/>
              <a:gd name="T83" fmla="*/ 2147483647 h 518"/>
              <a:gd name="T84" fmla="*/ 2147483647 w 399"/>
              <a:gd name="T85" fmla="*/ 2147483647 h 518"/>
              <a:gd name="T86" fmla="*/ 0 w 399"/>
              <a:gd name="T87" fmla="*/ 2147483647 h 518"/>
              <a:gd name="T88" fmla="*/ 2147483647 w 399"/>
              <a:gd name="T89" fmla="*/ 2147483647 h 518"/>
              <a:gd name="T90" fmla="*/ 2147483647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425" name="Freeform 545"/>
          <p:cNvSpPr>
            <a:spLocks/>
          </p:cNvSpPr>
          <p:nvPr>
            <p:custDataLst>
              <p:tags r:id="rId376"/>
            </p:custDataLst>
          </p:nvPr>
        </p:nvSpPr>
        <p:spPr bwMode="auto">
          <a:xfrm>
            <a:off x="4022725" y="2916238"/>
            <a:ext cx="376238" cy="385762"/>
          </a:xfrm>
          <a:custGeom>
            <a:avLst/>
            <a:gdLst>
              <a:gd name="T0" fmla="*/ 2147483647 w 866"/>
              <a:gd name="T1" fmla="*/ 2147483647 h 740"/>
              <a:gd name="T2" fmla="*/ 2147483647 w 866"/>
              <a:gd name="T3" fmla="*/ 2147483647 h 740"/>
              <a:gd name="T4" fmla="*/ 2147483647 w 866"/>
              <a:gd name="T5" fmla="*/ 2147483647 h 740"/>
              <a:gd name="T6" fmla="*/ 2147483647 w 866"/>
              <a:gd name="T7" fmla="*/ 2147483647 h 740"/>
              <a:gd name="T8" fmla="*/ 2147483647 w 866"/>
              <a:gd name="T9" fmla="*/ 2147483647 h 740"/>
              <a:gd name="T10" fmla="*/ 2147483647 w 866"/>
              <a:gd name="T11" fmla="*/ 2147483647 h 740"/>
              <a:gd name="T12" fmla="*/ 2147483647 w 866"/>
              <a:gd name="T13" fmla="*/ 2147483647 h 740"/>
              <a:gd name="T14" fmla="*/ 2147483647 w 866"/>
              <a:gd name="T15" fmla="*/ 2147483647 h 740"/>
              <a:gd name="T16" fmla="*/ 2147483647 w 866"/>
              <a:gd name="T17" fmla="*/ 2147483647 h 740"/>
              <a:gd name="T18" fmla="*/ 2147483647 w 866"/>
              <a:gd name="T19" fmla="*/ 2147483647 h 740"/>
              <a:gd name="T20" fmla="*/ 2147483647 w 866"/>
              <a:gd name="T21" fmla="*/ 2147483647 h 740"/>
              <a:gd name="T22" fmla="*/ 2147483647 w 866"/>
              <a:gd name="T23" fmla="*/ 2147483647 h 740"/>
              <a:gd name="T24" fmla="*/ 2147483647 w 866"/>
              <a:gd name="T25" fmla="*/ 2147483647 h 740"/>
              <a:gd name="T26" fmla="*/ 2147483647 w 866"/>
              <a:gd name="T27" fmla="*/ 2147483647 h 740"/>
              <a:gd name="T28" fmla="*/ 2147483647 w 866"/>
              <a:gd name="T29" fmla="*/ 2147483647 h 740"/>
              <a:gd name="T30" fmla="*/ 2147483647 w 866"/>
              <a:gd name="T31" fmla="*/ 2147483647 h 740"/>
              <a:gd name="T32" fmla="*/ 2147483647 w 866"/>
              <a:gd name="T33" fmla="*/ 2147483647 h 740"/>
              <a:gd name="T34" fmla="*/ 2147483647 w 866"/>
              <a:gd name="T35" fmla="*/ 2147483647 h 740"/>
              <a:gd name="T36" fmla="*/ 2147483647 w 866"/>
              <a:gd name="T37" fmla="*/ 2147483647 h 740"/>
              <a:gd name="T38" fmla="*/ 2147483647 w 866"/>
              <a:gd name="T39" fmla="*/ 2147483647 h 740"/>
              <a:gd name="T40" fmla="*/ 2147483647 w 866"/>
              <a:gd name="T41" fmla="*/ 2147483647 h 740"/>
              <a:gd name="T42" fmla="*/ 2147483647 w 866"/>
              <a:gd name="T43" fmla="*/ 2147483647 h 740"/>
              <a:gd name="T44" fmla="*/ 2147483647 w 866"/>
              <a:gd name="T45" fmla="*/ 2147483647 h 740"/>
              <a:gd name="T46" fmla="*/ 2147483647 w 866"/>
              <a:gd name="T47" fmla="*/ 2147483647 h 740"/>
              <a:gd name="T48" fmla="*/ 2147483647 w 866"/>
              <a:gd name="T49" fmla="*/ 2147483647 h 740"/>
              <a:gd name="T50" fmla="*/ 2147483647 w 866"/>
              <a:gd name="T51" fmla="*/ 2147483647 h 740"/>
              <a:gd name="T52" fmla="*/ 2147483647 w 866"/>
              <a:gd name="T53" fmla="*/ 2147483647 h 740"/>
              <a:gd name="T54" fmla="*/ 2147483647 w 866"/>
              <a:gd name="T55" fmla="*/ 2147483647 h 740"/>
              <a:gd name="T56" fmla="*/ 2147483647 w 866"/>
              <a:gd name="T57" fmla="*/ 2147483647 h 740"/>
              <a:gd name="T58" fmla="*/ 2147483647 w 866"/>
              <a:gd name="T59" fmla="*/ 2147483647 h 740"/>
              <a:gd name="T60" fmla="*/ 2147483647 w 866"/>
              <a:gd name="T61" fmla="*/ 2147483647 h 740"/>
              <a:gd name="T62" fmla="*/ 2147483647 w 866"/>
              <a:gd name="T63" fmla="*/ 2147483647 h 740"/>
              <a:gd name="T64" fmla="*/ 2147483647 w 866"/>
              <a:gd name="T65" fmla="*/ 2147483647 h 740"/>
              <a:gd name="T66" fmla="*/ 2147483647 w 866"/>
              <a:gd name="T67" fmla="*/ 2147483647 h 740"/>
              <a:gd name="T68" fmla="*/ 2147483647 w 866"/>
              <a:gd name="T69" fmla="*/ 2147483647 h 740"/>
              <a:gd name="T70" fmla="*/ 2147483647 w 866"/>
              <a:gd name="T71" fmla="*/ 2147483647 h 740"/>
              <a:gd name="T72" fmla="*/ 2147483647 w 866"/>
              <a:gd name="T73" fmla="*/ 2147483647 h 740"/>
              <a:gd name="T74" fmla="*/ 2147483647 w 866"/>
              <a:gd name="T75" fmla="*/ 2147483647 h 740"/>
              <a:gd name="T76" fmla="*/ 2147483647 w 866"/>
              <a:gd name="T77" fmla="*/ 2147483647 h 740"/>
              <a:gd name="T78" fmla="*/ 2147483647 w 866"/>
              <a:gd name="T79" fmla="*/ 2147483647 h 740"/>
              <a:gd name="T80" fmla="*/ 2147483647 w 866"/>
              <a:gd name="T81" fmla="*/ 2147483647 h 740"/>
              <a:gd name="T82" fmla="*/ 2147483647 w 866"/>
              <a:gd name="T83" fmla="*/ 2147483647 h 740"/>
              <a:gd name="T84" fmla="*/ 2147483647 w 866"/>
              <a:gd name="T85" fmla="*/ 2147483647 h 740"/>
              <a:gd name="T86" fmla="*/ 2147483647 w 866"/>
              <a:gd name="T87" fmla="*/ 2147483647 h 740"/>
              <a:gd name="T88" fmla="*/ 2147483647 w 866"/>
              <a:gd name="T89" fmla="*/ 2147483647 h 740"/>
              <a:gd name="T90" fmla="*/ 2147483647 w 866"/>
              <a:gd name="T91" fmla="*/ 2147483647 h 740"/>
              <a:gd name="T92" fmla="*/ 2147483647 w 866"/>
              <a:gd name="T93" fmla="*/ 2147483647 h 740"/>
              <a:gd name="T94" fmla="*/ 2147483647 w 866"/>
              <a:gd name="T95" fmla="*/ 2147483647 h 740"/>
              <a:gd name="T96" fmla="*/ 2147483647 w 866"/>
              <a:gd name="T97" fmla="*/ 2147483647 h 740"/>
              <a:gd name="T98" fmla="*/ 2147483647 w 866"/>
              <a:gd name="T99" fmla="*/ 2147483647 h 740"/>
              <a:gd name="T100" fmla="*/ 2147483647 w 866"/>
              <a:gd name="T101" fmla="*/ 2147483647 h 740"/>
              <a:gd name="T102" fmla="*/ 2147483647 w 866"/>
              <a:gd name="T103" fmla="*/ 2147483647 h 740"/>
              <a:gd name="T104" fmla="*/ 2147483647 w 866"/>
              <a:gd name="T105" fmla="*/ 2147483647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cmpd="sng">
            <a:solidFill>
              <a:srgbClr val="FFFFFF"/>
            </a:solidFill>
            <a:prstDash val="solid"/>
            <a:round/>
            <a:headEnd/>
            <a:tailEnd/>
          </a:ln>
        </p:spPr>
        <p:txBody>
          <a:bodyPr/>
          <a:lstStyle/>
          <a:p>
            <a:endParaRPr lang="en-AU"/>
          </a:p>
        </p:txBody>
      </p:sp>
      <p:sp>
        <p:nvSpPr>
          <p:cNvPr id="2426" name="Freeform 546"/>
          <p:cNvSpPr>
            <a:spLocks/>
          </p:cNvSpPr>
          <p:nvPr>
            <p:custDataLst>
              <p:tags r:id="rId377"/>
            </p:custDataLst>
          </p:nvPr>
        </p:nvSpPr>
        <p:spPr bwMode="auto">
          <a:xfrm>
            <a:off x="3692525" y="2533650"/>
            <a:ext cx="300038" cy="260350"/>
          </a:xfrm>
          <a:custGeom>
            <a:avLst/>
            <a:gdLst>
              <a:gd name="T0" fmla="*/ 2147483647 w 697"/>
              <a:gd name="T1" fmla="*/ 2147483647 h 500"/>
              <a:gd name="T2" fmla="*/ 2147483647 w 697"/>
              <a:gd name="T3" fmla="*/ 2147483647 h 500"/>
              <a:gd name="T4" fmla="*/ 2147483647 w 697"/>
              <a:gd name="T5" fmla="*/ 2147483647 h 500"/>
              <a:gd name="T6" fmla="*/ 2147483647 w 697"/>
              <a:gd name="T7" fmla="*/ 2147483647 h 500"/>
              <a:gd name="T8" fmla="*/ 2147483647 w 697"/>
              <a:gd name="T9" fmla="*/ 2147483647 h 500"/>
              <a:gd name="T10" fmla="*/ 2147483647 w 697"/>
              <a:gd name="T11" fmla="*/ 2147483647 h 500"/>
              <a:gd name="T12" fmla="*/ 2147483647 w 697"/>
              <a:gd name="T13" fmla="*/ 2147483647 h 500"/>
              <a:gd name="T14" fmla="*/ 2147483647 w 697"/>
              <a:gd name="T15" fmla="*/ 2147483647 h 500"/>
              <a:gd name="T16" fmla="*/ 2147483647 w 697"/>
              <a:gd name="T17" fmla="*/ 2147483647 h 500"/>
              <a:gd name="T18" fmla="*/ 2147483647 w 697"/>
              <a:gd name="T19" fmla="*/ 2147483647 h 500"/>
              <a:gd name="T20" fmla="*/ 2147483647 w 697"/>
              <a:gd name="T21" fmla="*/ 2147483647 h 500"/>
              <a:gd name="T22" fmla="*/ 2147483647 w 697"/>
              <a:gd name="T23" fmla="*/ 2147483647 h 500"/>
              <a:gd name="T24" fmla="*/ 2147483647 w 697"/>
              <a:gd name="T25" fmla="*/ 2147483647 h 500"/>
              <a:gd name="T26" fmla="*/ 2147483647 w 697"/>
              <a:gd name="T27" fmla="*/ 2147483647 h 500"/>
              <a:gd name="T28" fmla="*/ 2147483647 w 697"/>
              <a:gd name="T29" fmla="*/ 2147483647 h 500"/>
              <a:gd name="T30" fmla="*/ 2147483647 w 697"/>
              <a:gd name="T31" fmla="*/ 2147483647 h 500"/>
              <a:gd name="T32" fmla="*/ 2147483647 w 697"/>
              <a:gd name="T33" fmla="*/ 2147483647 h 500"/>
              <a:gd name="T34" fmla="*/ 2147483647 w 697"/>
              <a:gd name="T35" fmla="*/ 2147483647 h 500"/>
              <a:gd name="T36" fmla="*/ 2147483647 w 697"/>
              <a:gd name="T37" fmla="*/ 2147483647 h 500"/>
              <a:gd name="T38" fmla="*/ 2147483647 w 697"/>
              <a:gd name="T39" fmla="*/ 2147483647 h 500"/>
              <a:gd name="T40" fmla="*/ 2147483647 w 697"/>
              <a:gd name="T41" fmla="*/ 2147483647 h 500"/>
              <a:gd name="T42" fmla="*/ 2147483647 w 697"/>
              <a:gd name="T43" fmla="*/ 2147483647 h 500"/>
              <a:gd name="T44" fmla="*/ 2147483647 w 697"/>
              <a:gd name="T45" fmla="*/ 2147483647 h 500"/>
              <a:gd name="T46" fmla="*/ 2147483647 w 697"/>
              <a:gd name="T47" fmla="*/ 2147483647 h 500"/>
              <a:gd name="T48" fmla="*/ 2147483647 w 697"/>
              <a:gd name="T49" fmla="*/ 2147483647 h 500"/>
              <a:gd name="T50" fmla="*/ 2147483647 w 697"/>
              <a:gd name="T51" fmla="*/ 2147483647 h 500"/>
              <a:gd name="T52" fmla="*/ 2147483647 w 697"/>
              <a:gd name="T53" fmla="*/ 2147483647 h 500"/>
              <a:gd name="T54" fmla="*/ 2147483647 w 697"/>
              <a:gd name="T55" fmla="*/ 2147483647 h 500"/>
              <a:gd name="T56" fmla="*/ 2147483647 w 697"/>
              <a:gd name="T57" fmla="*/ 2147483647 h 500"/>
              <a:gd name="T58" fmla="*/ 2147483647 w 697"/>
              <a:gd name="T59" fmla="*/ 2147483647 h 500"/>
              <a:gd name="T60" fmla="*/ 2147483647 w 697"/>
              <a:gd name="T61" fmla="*/ 2147483647 h 500"/>
              <a:gd name="T62" fmla="*/ 2147483647 w 697"/>
              <a:gd name="T63" fmla="*/ 2147483647 h 500"/>
              <a:gd name="T64" fmla="*/ 2147483647 w 697"/>
              <a:gd name="T65" fmla="*/ 2147483647 h 500"/>
              <a:gd name="T66" fmla="*/ 2147483647 w 697"/>
              <a:gd name="T67" fmla="*/ 2147483647 h 500"/>
              <a:gd name="T68" fmla="*/ 2147483647 w 697"/>
              <a:gd name="T69" fmla="*/ 2147483647 h 500"/>
              <a:gd name="T70" fmla="*/ 2147483647 w 697"/>
              <a:gd name="T71" fmla="*/ 2147483647 h 500"/>
              <a:gd name="T72" fmla="*/ 2147483647 w 697"/>
              <a:gd name="T73" fmla="*/ 2147483647 h 500"/>
              <a:gd name="T74" fmla="*/ 2147483647 w 697"/>
              <a:gd name="T75" fmla="*/ 2147483647 h 500"/>
              <a:gd name="T76" fmla="*/ 2147483647 w 697"/>
              <a:gd name="T77" fmla="*/ 2147483647 h 500"/>
              <a:gd name="T78" fmla="*/ 2147483647 w 697"/>
              <a:gd name="T79" fmla="*/ 2147483647 h 500"/>
              <a:gd name="T80" fmla="*/ 2147483647 w 697"/>
              <a:gd name="T81" fmla="*/ 2147483647 h 500"/>
              <a:gd name="T82" fmla="*/ 2147483647 w 697"/>
              <a:gd name="T83" fmla="*/ 2147483647 h 500"/>
              <a:gd name="T84" fmla="*/ 2147483647 w 697"/>
              <a:gd name="T85" fmla="*/ 2147483647 h 500"/>
              <a:gd name="T86" fmla="*/ 2147483647 w 697"/>
              <a:gd name="T87" fmla="*/ 2147483647 h 500"/>
              <a:gd name="T88" fmla="*/ 2147483647 w 697"/>
              <a:gd name="T89" fmla="*/ 2147483647 h 500"/>
              <a:gd name="T90" fmla="*/ 2147483647 w 697"/>
              <a:gd name="T91" fmla="*/ 2147483647 h 500"/>
              <a:gd name="T92" fmla="*/ 2147483647 w 697"/>
              <a:gd name="T93" fmla="*/ 2147483647 h 500"/>
              <a:gd name="T94" fmla="*/ 2147483647 w 697"/>
              <a:gd name="T95" fmla="*/ 2147483647 h 500"/>
              <a:gd name="T96" fmla="*/ 2147483647 w 697"/>
              <a:gd name="T97" fmla="*/ 2147483647 h 500"/>
              <a:gd name="T98" fmla="*/ 2147483647 w 697"/>
              <a:gd name="T99" fmla="*/ 2147483647 h 500"/>
              <a:gd name="T100" fmla="*/ 2147483647 w 697"/>
              <a:gd name="T101" fmla="*/ 2147483647 h 500"/>
              <a:gd name="T102" fmla="*/ 2147483647 w 697"/>
              <a:gd name="T103" fmla="*/ 2147483647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427" name="Freeform 547"/>
          <p:cNvSpPr>
            <a:spLocks/>
          </p:cNvSpPr>
          <p:nvPr>
            <p:custDataLst>
              <p:tags r:id="rId378"/>
            </p:custDataLst>
          </p:nvPr>
        </p:nvSpPr>
        <p:spPr bwMode="auto">
          <a:xfrm>
            <a:off x="4392613" y="1463675"/>
            <a:ext cx="236537" cy="92075"/>
          </a:xfrm>
          <a:custGeom>
            <a:avLst/>
            <a:gdLst>
              <a:gd name="T0" fmla="*/ 2147483647 w 546"/>
              <a:gd name="T1" fmla="*/ 2147483647 h 173"/>
              <a:gd name="T2" fmla="*/ 2147483647 w 546"/>
              <a:gd name="T3" fmla="*/ 2147483647 h 173"/>
              <a:gd name="T4" fmla="*/ 2147483647 w 546"/>
              <a:gd name="T5" fmla="*/ 2147483647 h 173"/>
              <a:gd name="T6" fmla="*/ 2147483647 w 546"/>
              <a:gd name="T7" fmla="*/ 2147483647 h 173"/>
              <a:gd name="T8" fmla="*/ 2147483647 w 546"/>
              <a:gd name="T9" fmla="*/ 2147483647 h 173"/>
              <a:gd name="T10" fmla="*/ 2147483647 w 546"/>
              <a:gd name="T11" fmla="*/ 2147483647 h 173"/>
              <a:gd name="T12" fmla="*/ 2147483647 w 546"/>
              <a:gd name="T13" fmla="*/ 2147483647 h 173"/>
              <a:gd name="T14" fmla="*/ 2147483647 w 546"/>
              <a:gd name="T15" fmla="*/ 2147483647 h 173"/>
              <a:gd name="T16" fmla="*/ 2147483647 w 546"/>
              <a:gd name="T17" fmla="*/ 2147483647 h 173"/>
              <a:gd name="T18" fmla="*/ 2147483647 w 546"/>
              <a:gd name="T19" fmla="*/ 2147483647 h 173"/>
              <a:gd name="T20" fmla="*/ 2147483647 w 546"/>
              <a:gd name="T21" fmla="*/ 2147483647 h 173"/>
              <a:gd name="T22" fmla="*/ 2147483647 w 546"/>
              <a:gd name="T23" fmla="*/ 2147483647 h 173"/>
              <a:gd name="T24" fmla="*/ 2147483647 w 546"/>
              <a:gd name="T25" fmla="*/ 2147483647 h 173"/>
              <a:gd name="T26" fmla="*/ 2147483647 w 546"/>
              <a:gd name="T27" fmla="*/ 2147483647 h 173"/>
              <a:gd name="T28" fmla="*/ 2147483647 w 546"/>
              <a:gd name="T29" fmla="*/ 0 h 173"/>
              <a:gd name="T30" fmla="*/ 2147483647 w 546"/>
              <a:gd name="T31" fmla="*/ 2147483647 h 173"/>
              <a:gd name="T32" fmla="*/ 2147483647 w 546"/>
              <a:gd name="T33" fmla="*/ 2147483647 h 173"/>
              <a:gd name="T34" fmla="*/ 2147483647 w 546"/>
              <a:gd name="T35" fmla="*/ 2147483647 h 173"/>
              <a:gd name="T36" fmla="*/ 2147483647 w 546"/>
              <a:gd name="T37" fmla="*/ 2147483647 h 173"/>
              <a:gd name="T38" fmla="*/ 2147483647 w 546"/>
              <a:gd name="T39" fmla="*/ 2147483647 h 173"/>
              <a:gd name="T40" fmla="*/ 2147483647 w 546"/>
              <a:gd name="T41" fmla="*/ 2147483647 h 173"/>
              <a:gd name="T42" fmla="*/ 2147483647 w 546"/>
              <a:gd name="T43" fmla="*/ 2147483647 h 173"/>
              <a:gd name="T44" fmla="*/ 2147483647 w 546"/>
              <a:gd name="T45" fmla="*/ 2147483647 h 173"/>
              <a:gd name="T46" fmla="*/ 2147483647 w 546"/>
              <a:gd name="T47" fmla="*/ 2147483647 h 173"/>
              <a:gd name="T48" fmla="*/ 2147483647 w 546"/>
              <a:gd name="T49" fmla="*/ 2147483647 h 173"/>
              <a:gd name="T50" fmla="*/ 2147483647 w 546"/>
              <a:gd name="T51" fmla="*/ 2147483647 h 173"/>
              <a:gd name="T52" fmla="*/ 2147483647 w 546"/>
              <a:gd name="T53" fmla="*/ 2147483647 h 173"/>
              <a:gd name="T54" fmla="*/ 2147483647 w 546"/>
              <a:gd name="T55" fmla="*/ 2147483647 h 173"/>
              <a:gd name="T56" fmla="*/ 2147483647 w 546"/>
              <a:gd name="T57" fmla="*/ 2147483647 h 173"/>
              <a:gd name="T58" fmla="*/ 2147483647 w 546"/>
              <a:gd name="T59" fmla="*/ 2147483647 h 173"/>
              <a:gd name="T60" fmla="*/ 2147483647 w 546"/>
              <a:gd name="T61" fmla="*/ 2147483647 h 173"/>
              <a:gd name="T62" fmla="*/ 2147483647 w 546"/>
              <a:gd name="T63" fmla="*/ 2147483647 h 173"/>
              <a:gd name="T64" fmla="*/ 2147483647 w 546"/>
              <a:gd name="T65" fmla="*/ 2147483647 h 173"/>
              <a:gd name="T66" fmla="*/ 2147483647 w 546"/>
              <a:gd name="T67" fmla="*/ 2147483647 h 173"/>
              <a:gd name="T68" fmla="*/ 2147483647 w 546"/>
              <a:gd name="T69" fmla="*/ 2147483647 h 173"/>
              <a:gd name="T70" fmla="*/ 2147483647 w 546"/>
              <a:gd name="T71" fmla="*/ 2147483647 h 173"/>
              <a:gd name="T72" fmla="*/ 2147483647 w 546"/>
              <a:gd name="T73" fmla="*/ 2147483647 h 173"/>
              <a:gd name="T74" fmla="*/ 2147483647 w 546"/>
              <a:gd name="T75" fmla="*/ 2147483647 h 173"/>
              <a:gd name="T76" fmla="*/ 2147483647 w 546"/>
              <a:gd name="T77" fmla="*/ 2147483647 h 173"/>
              <a:gd name="T78" fmla="*/ 2147483647 w 546"/>
              <a:gd name="T79" fmla="*/ 2147483647 h 173"/>
              <a:gd name="T80" fmla="*/ 2147483647 w 546"/>
              <a:gd name="T81" fmla="*/ 2147483647 h 173"/>
              <a:gd name="T82" fmla="*/ 2147483647 w 546"/>
              <a:gd name="T83" fmla="*/ 2147483647 h 173"/>
              <a:gd name="T84" fmla="*/ 2147483647 w 546"/>
              <a:gd name="T85" fmla="*/ 2147483647 h 173"/>
              <a:gd name="T86" fmla="*/ 2147483647 w 546"/>
              <a:gd name="T87" fmla="*/ 2147483647 h 173"/>
              <a:gd name="T88" fmla="*/ 2147483647 w 546"/>
              <a:gd name="T89" fmla="*/ 2147483647 h 173"/>
              <a:gd name="T90" fmla="*/ 2147483647 w 546"/>
              <a:gd name="T91" fmla="*/ 2147483647 h 173"/>
              <a:gd name="T92" fmla="*/ 2147483647 w 546"/>
              <a:gd name="T93" fmla="*/ 2147483647 h 173"/>
              <a:gd name="T94" fmla="*/ 2147483647 w 546"/>
              <a:gd name="T95" fmla="*/ 2147483647 h 173"/>
              <a:gd name="T96" fmla="*/ 2147483647 w 546"/>
              <a:gd name="T97" fmla="*/ 2147483647 h 173"/>
              <a:gd name="T98" fmla="*/ 2147483647 w 546"/>
              <a:gd name="T99" fmla="*/ 2147483647 h 173"/>
              <a:gd name="T100" fmla="*/ 2147483647 w 546"/>
              <a:gd name="T101" fmla="*/ 214748364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428" name="Freeform 548"/>
          <p:cNvSpPr>
            <a:spLocks/>
          </p:cNvSpPr>
          <p:nvPr>
            <p:custDataLst>
              <p:tags r:id="rId379"/>
            </p:custDataLst>
          </p:nvPr>
        </p:nvSpPr>
        <p:spPr bwMode="auto">
          <a:xfrm>
            <a:off x="4903788" y="1447800"/>
            <a:ext cx="107950" cy="60325"/>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2147483647 w 246"/>
              <a:gd name="T91" fmla="*/ 2147483647 h 42"/>
              <a:gd name="T92" fmla="*/ 0 w 246"/>
              <a:gd name="T93" fmla="*/ 2147483647 h 42"/>
              <a:gd name="T94" fmla="*/ 2147483647 w 246"/>
              <a:gd name="T95" fmla="*/ 2147483647 h 42"/>
              <a:gd name="T96" fmla="*/ 2147483647 w 246"/>
              <a:gd name="T97" fmla="*/ 2147483647 h 42"/>
              <a:gd name="T98" fmla="*/ 2147483647 w 246"/>
              <a:gd name="T99" fmla="*/ 2147483647 h 42"/>
              <a:gd name="T100" fmla="*/ 2147483647 w 246"/>
              <a:gd name="T101" fmla="*/ 2147483647 h 42"/>
              <a:gd name="T102" fmla="*/ 2147483647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429" name="Freeform 549"/>
          <p:cNvSpPr>
            <a:spLocks/>
          </p:cNvSpPr>
          <p:nvPr>
            <p:custDataLst>
              <p:tags r:id="rId380"/>
            </p:custDataLst>
          </p:nvPr>
        </p:nvSpPr>
        <p:spPr bwMode="auto">
          <a:xfrm>
            <a:off x="5046663" y="1430338"/>
            <a:ext cx="63500" cy="57150"/>
          </a:xfrm>
          <a:custGeom>
            <a:avLst/>
            <a:gdLst>
              <a:gd name="T0" fmla="*/ 2147483647 w 149"/>
              <a:gd name="T1" fmla="*/ 0 h 61"/>
              <a:gd name="T2" fmla="*/ 2147483647 w 149"/>
              <a:gd name="T3" fmla="*/ 2147483647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2147483647 w 149"/>
              <a:gd name="T57" fmla="*/ 2147483647 h 61"/>
              <a:gd name="T58" fmla="*/ 2147483647 w 149"/>
              <a:gd name="T59" fmla="*/ 2147483647 h 61"/>
              <a:gd name="T60" fmla="*/ 2147483647 w 149"/>
              <a:gd name="T61" fmla="*/ 2147483647 h 61"/>
              <a:gd name="T62" fmla="*/ 2147483647 w 149"/>
              <a:gd name="T63" fmla="*/ 2147483647 h 61"/>
              <a:gd name="T64" fmla="*/ 0 w 149"/>
              <a:gd name="T65" fmla="*/ 2147483647 h 61"/>
              <a:gd name="T66" fmla="*/ 0 w 149"/>
              <a:gd name="T67" fmla="*/ 2147483647 h 61"/>
              <a:gd name="T68" fmla="*/ 2147483647 w 149"/>
              <a:gd name="T69" fmla="*/ 2147483647 h 61"/>
              <a:gd name="T70" fmla="*/ 2147483647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430" name="Freeform 550"/>
          <p:cNvSpPr>
            <a:spLocks/>
          </p:cNvSpPr>
          <p:nvPr>
            <p:custDataLst>
              <p:tags r:id="rId381"/>
            </p:custDataLst>
          </p:nvPr>
        </p:nvSpPr>
        <p:spPr bwMode="auto">
          <a:xfrm>
            <a:off x="5083175" y="1438275"/>
            <a:ext cx="130175" cy="57150"/>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2147483647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2147483647 w 299"/>
              <a:gd name="T63" fmla="*/ 2147483647 h 74"/>
              <a:gd name="T64" fmla="*/ 2147483647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AU"/>
          </a:p>
        </p:txBody>
      </p:sp>
      <p:sp>
        <p:nvSpPr>
          <p:cNvPr id="2" name="Oval 1"/>
          <p:cNvSpPr/>
          <p:nvPr/>
        </p:nvSpPr>
        <p:spPr>
          <a:xfrm>
            <a:off x="5318125" y="2865438"/>
            <a:ext cx="46038" cy="4445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AU"/>
          </a:p>
        </p:txBody>
      </p:sp>
      <p:pic>
        <p:nvPicPr>
          <p:cNvPr id="550" name="Picture 3"/>
          <p:cNvPicPr>
            <a:picLocks noChangeAspect="1"/>
          </p:cNvPicPr>
          <p:nvPr/>
        </p:nvPicPr>
        <p:blipFill>
          <a:blip r:embed="rId384"/>
          <a:srcRect/>
          <a:stretch>
            <a:fillRect/>
          </a:stretch>
        </p:blipFill>
        <p:spPr bwMode="auto">
          <a:xfrm>
            <a:off x="31717" y="116632"/>
            <a:ext cx="1979613" cy="1168400"/>
          </a:xfrm>
          <a:prstGeom prst="rect">
            <a:avLst/>
          </a:prstGeom>
          <a:noFill/>
          <a:ln w="9525">
            <a:noFill/>
            <a:miter lim="800000"/>
            <a:headEnd/>
            <a:tailEnd/>
          </a:ln>
        </p:spPr>
      </p:pic>
      <p:sp>
        <p:nvSpPr>
          <p:cNvPr id="545" name="Rectangle 544"/>
          <p:cNvSpPr/>
          <p:nvPr/>
        </p:nvSpPr>
        <p:spPr>
          <a:xfrm>
            <a:off x="439388" y="5061710"/>
            <a:ext cx="8165060" cy="1569660"/>
          </a:xfrm>
          <a:prstGeom prst="rect">
            <a:avLst/>
          </a:prstGeom>
        </p:spPr>
        <p:txBody>
          <a:bodyPr wrap="square">
            <a:spAutoFit/>
          </a:bodyPr>
          <a:lstStyle/>
          <a:p>
            <a:pPr marL="360000" indent="-723900" eaLnBrk="1" hangingPunct="1">
              <a:spcBef>
                <a:spcPts val="0"/>
              </a:spcBef>
              <a:buClr>
                <a:srgbClr val="FF0000"/>
              </a:buClr>
              <a:buFont typeface="Wingdings" pitchFamily="2" charset="2"/>
              <a:buChar char="q"/>
            </a:pPr>
            <a:r>
              <a:rPr lang="en-US" altLang="zh-TW" sz="2400" b="1" dirty="0" smtClean="0">
                <a:solidFill>
                  <a:schemeClr val="tx1"/>
                </a:solidFill>
                <a:latin typeface="Arial" charset="0"/>
                <a:ea typeface="PMingLiU" pitchFamily="18" charset="-120"/>
                <a:cs typeface="Tahoma" pitchFamily="34" charset="0"/>
              </a:rPr>
              <a:t>Established in 1995</a:t>
            </a:r>
          </a:p>
          <a:p>
            <a:pPr marL="722313" indent="-722313" eaLnBrk="1" hangingPunct="1">
              <a:spcBef>
                <a:spcPts val="0"/>
              </a:spcBef>
              <a:buClr>
                <a:srgbClr val="FF0000"/>
              </a:buClr>
              <a:buFont typeface="Wingdings" pitchFamily="2" charset="2"/>
              <a:buChar char="q"/>
            </a:pPr>
            <a:r>
              <a:rPr lang="en-US" altLang="zh-TW" sz="2400" b="1" dirty="0" smtClean="0">
                <a:solidFill>
                  <a:schemeClr val="tx1"/>
                </a:solidFill>
                <a:latin typeface="Arial" charset="0"/>
                <a:ea typeface="PMingLiU" pitchFamily="18" charset="-120"/>
                <a:cs typeface="Tahoma" pitchFamily="34" charset="0"/>
              </a:rPr>
              <a:t>Membership comprises </a:t>
            </a:r>
            <a:r>
              <a:rPr lang="en-US" altLang="ja-JP" sz="2400" b="1" dirty="0" smtClean="0">
                <a:solidFill>
                  <a:schemeClr val="tx1"/>
                </a:solidFill>
                <a:latin typeface="Arial" charset="0"/>
                <a:ea typeface="PMingLiU" pitchFamily="18" charset="-120"/>
                <a:cs typeface="Tahoma" pitchFamily="34" charset="0"/>
              </a:rPr>
              <a:t>29</a:t>
            </a:r>
            <a:r>
              <a:rPr lang="es-ES" altLang="ja-JP" sz="2400" b="1" dirty="0" smtClean="0">
                <a:solidFill>
                  <a:schemeClr val="tx1"/>
                </a:solidFill>
                <a:latin typeface="Arial" charset="0"/>
                <a:ea typeface="PMingLiU" pitchFamily="18" charset="-120"/>
                <a:cs typeface="Tahoma" pitchFamily="34" charset="0"/>
              </a:rPr>
              <a:t> </a:t>
            </a:r>
            <a:r>
              <a:rPr lang="es-ES" altLang="ja-JP" sz="2400" b="1" dirty="0">
                <a:solidFill>
                  <a:schemeClr val="tx1"/>
                </a:solidFill>
                <a:latin typeface="Arial" charset="0"/>
                <a:ea typeface="PMingLiU" pitchFamily="18" charset="-120"/>
                <a:cs typeface="Tahoma" pitchFamily="34" charset="0"/>
              </a:rPr>
              <a:t>Full </a:t>
            </a:r>
            <a:r>
              <a:rPr lang="en-GB" altLang="ja-JP" sz="2400" b="1" dirty="0" smtClean="0">
                <a:solidFill>
                  <a:schemeClr val="tx1"/>
                </a:solidFill>
                <a:latin typeface="Arial" charset="0"/>
                <a:ea typeface="PMingLiU" pitchFamily="18" charset="-120"/>
                <a:cs typeface="Tahoma" pitchFamily="34" charset="0"/>
              </a:rPr>
              <a:t>Members</a:t>
            </a:r>
            <a:r>
              <a:rPr lang="es-ES" altLang="ja-JP" sz="2400" b="1" dirty="0" smtClean="0">
                <a:solidFill>
                  <a:schemeClr val="tx1"/>
                </a:solidFill>
                <a:latin typeface="Arial" charset="0"/>
                <a:ea typeface="PMingLiU" pitchFamily="18" charset="-120"/>
                <a:cs typeface="Tahoma" pitchFamily="34" charset="0"/>
              </a:rPr>
              <a:t> and 6</a:t>
            </a:r>
            <a:r>
              <a:rPr lang="es-ES" altLang="ja-JP" sz="2400" b="1" dirty="0">
                <a:solidFill>
                  <a:schemeClr val="tx1"/>
                </a:solidFill>
                <a:latin typeface="Arial" charset="0"/>
                <a:ea typeface="PMingLiU" pitchFamily="18" charset="-120"/>
                <a:cs typeface="Tahoma" pitchFamily="34" charset="0"/>
              </a:rPr>
              <a:t> </a:t>
            </a:r>
            <a:r>
              <a:rPr lang="es-ES" altLang="ja-JP" sz="2400" b="1" dirty="0" err="1" smtClean="0">
                <a:solidFill>
                  <a:schemeClr val="tx1"/>
                </a:solidFill>
                <a:latin typeface="Arial" charset="0"/>
                <a:ea typeface="PMingLiU" pitchFamily="18" charset="-120"/>
                <a:cs typeface="Tahoma" pitchFamily="34" charset="0"/>
              </a:rPr>
              <a:t>Associate</a:t>
            </a:r>
            <a:r>
              <a:rPr lang="es-ES" altLang="ja-JP" sz="2400" b="1" dirty="0" smtClean="0">
                <a:solidFill>
                  <a:schemeClr val="tx1"/>
                </a:solidFill>
                <a:latin typeface="Arial" charset="0"/>
                <a:ea typeface="PMingLiU" pitchFamily="18" charset="-120"/>
                <a:cs typeface="Tahoma" pitchFamily="34" charset="0"/>
              </a:rPr>
              <a:t> </a:t>
            </a:r>
            <a:r>
              <a:rPr lang="es-ES" altLang="ja-JP" sz="2400" b="1" dirty="0" err="1">
                <a:solidFill>
                  <a:schemeClr val="tx1"/>
                </a:solidFill>
                <a:latin typeface="Arial" charset="0"/>
                <a:ea typeface="PMingLiU" pitchFamily="18" charset="-120"/>
                <a:cs typeface="Tahoma" pitchFamily="34" charset="0"/>
              </a:rPr>
              <a:t>M</a:t>
            </a:r>
            <a:r>
              <a:rPr lang="es-ES" altLang="ja-JP" sz="2400" b="1" dirty="0" err="1" smtClean="0">
                <a:solidFill>
                  <a:schemeClr val="tx1"/>
                </a:solidFill>
                <a:latin typeface="Arial" charset="0"/>
                <a:ea typeface="PMingLiU" pitchFamily="18" charset="-120"/>
                <a:cs typeface="Tahoma" pitchFamily="34" charset="0"/>
              </a:rPr>
              <a:t>embers</a:t>
            </a:r>
            <a:r>
              <a:rPr lang="es-ES" altLang="ja-JP" sz="2400" b="1" dirty="0" smtClean="0">
                <a:solidFill>
                  <a:schemeClr val="tx1"/>
                </a:solidFill>
                <a:latin typeface="Arial" charset="0"/>
                <a:ea typeface="PMingLiU" pitchFamily="18" charset="-120"/>
                <a:cs typeface="Tahoma" pitchFamily="34" charset="0"/>
              </a:rPr>
              <a:t>, 1 </a:t>
            </a:r>
            <a:r>
              <a:rPr lang="es-ES" altLang="ja-JP" sz="2400" b="1" dirty="0" err="1" smtClean="0">
                <a:solidFill>
                  <a:schemeClr val="tx1"/>
                </a:solidFill>
                <a:latin typeface="Arial" charset="0"/>
                <a:ea typeface="PMingLiU" pitchFamily="18" charset="-120"/>
                <a:cs typeface="Tahoma" pitchFamily="34" charset="0"/>
              </a:rPr>
              <a:t>Observer</a:t>
            </a:r>
            <a:r>
              <a:rPr lang="es-ES" altLang="ja-JP" sz="2400" b="1" dirty="0" smtClean="0">
                <a:solidFill>
                  <a:schemeClr val="tx1"/>
                </a:solidFill>
                <a:latin typeface="Arial" charset="0"/>
                <a:ea typeface="PMingLiU" pitchFamily="18" charset="-120"/>
                <a:cs typeface="Tahoma" pitchFamily="34" charset="0"/>
              </a:rPr>
              <a:t> </a:t>
            </a:r>
            <a:r>
              <a:rPr lang="es-ES" altLang="ja-JP" sz="2400" b="1" dirty="0" err="1">
                <a:solidFill>
                  <a:schemeClr val="tx1"/>
                </a:solidFill>
                <a:latin typeface="Arial" charset="0"/>
                <a:ea typeface="PMingLiU" pitchFamily="18" charset="-120"/>
                <a:cs typeface="Tahoma" pitchFamily="34" charset="0"/>
              </a:rPr>
              <a:t>M</a:t>
            </a:r>
            <a:r>
              <a:rPr lang="es-ES" altLang="ja-JP" sz="2400" b="1" dirty="0" err="1" smtClean="0">
                <a:solidFill>
                  <a:schemeClr val="tx1"/>
                </a:solidFill>
                <a:latin typeface="Arial" charset="0"/>
                <a:ea typeface="PMingLiU" pitchFamily="18" charset="-120"/>
                <a:cs typeface="Tahoma" pitchFamily="34" charset="0"/>
              </a:rPr>
              <a:t>ember</a:t>
            </a:r>
            <a:r>
              <a:rPr lang="es-ES" altLang="ja-JP" sz="2400" b="1" dirty="0" smtClean="0">
                <a:solidFill>
                  <a:schemeClr val="tx1"/>
                </a:solidFill>
                <a:latin typeface="Arial" charset="0"/>
                <a:ea typeface="PMingLiU" pitchFamily="18" charset="-120"/>
                <a:cs typeface="Tahoma" pitchFamily="34" charset="0"/>
              </a:rPr>
              <a:t> and</a:t>
            </a:r>
            <a:r>
              <a:rPr lang="en-US" altLang="ja-JP" sz="2400" b="1" dirty="0" smtClean="0">
                <a:solidFill>
                  <a:schemeClr val="tx1"/>
                </a:solidFill>
                <a:latin typeface="Arial" charset="0"/>
                <a:ea typeface="PMingLiU" pitchFamily="18" charset="-120"/>
                <a:cs typeface="Tahoma" pitchFamily="34" charset="0"/>
              </a:rPr>
              <a:t> 1 </a:t>
            </a:r>
            <a:r>
              <a:rPr lang="es-ES" altLang="ja-JP" sz="2400" b="1" dirty="0" err="1" smtClean="0">
                <a:solidFill>
                  <a:schemeClr val="tx1"/>
                </a:solidFill>
                <a:latin typeface="Arial" charset="0"/>
                <a:ea typeface="PMingLiU" pitchFamily="18" charset="-120"/>
                <a:cs typeface="Tahoma" pitchFamily="34" charset="0"/>
              </a:rPr>
              <a:t>Corresponding</a:t>
            </a:r>
            <a:r>
              <a:rPr lang="es-ES" altLang="ja-JP" sz="2400" b="1" dirty="0" smtClean="0">
                <a:solidFill>
                  <a:schemeClr val="tx1"/>
                </a:solidFill>
                <a:latin typeface="Arial" charset="0"/>
                <a:ea typeface="PMingLiU" pitchFamily="18" charset="-120"/>
                <a:cs typeface="Tahoma" pitchFamily="34" charset="0"/>
              </a:rPr>
              <a:t> </a:t>
            </a:r>
            <a:r>
              <a:rPr lang="es-ES" altLang="ja-JP" sz="2400" b="1" dirty="0" err="1" smtClean="0">
                <a:solidFill>
                  <a:schemeClr val="tx1"/>
                </a:solidFill>
                <a:latin typeface="Arial" charset="0"/>
                <a:ea typeface="PMingLiU" pitchFamily="18" charset="-120"/>
                <a:cs typeface="Tahoma" pitchFamily="34" charset="0"/>
              </a:rPr>
              <a:t>Member</a:t>
            </a:r>
            <a:endParaRPr lang="es-ES" altLang="ja-JP" sz="2400" b="1" dirty="0" smtClean="0">
              <a:solidFill>
                <a:schemeClr val="tx1"/>
              </a:solidFill>
              <a:latin typeface="Arial" charset="0"/>
              <a:ea typeface="PMingLiU" pitchFamily="18" charset="-120"/>
              <a:cs typeface="Tahoma" pitchFamily="34" charset="0"/>
            </a:endParaRPr>
          </a:p>
        </p:txBody>
      </p:sp>
      <p:sp>
        <p:nvSpPr>
          <p:cNvPr id="544" name="スライド番号プレースホルダー 543"/>
          <p:cNvSpPr>
            <a:spLocks noGrp="1"/>
          </p:cNvSpPr>
          <p:nvPr>
            <p:ph type="sldNum" sz="quarter" idx="12"/>
          </p:nvPr>
        </p:nvSpPr>
        <p:spPr/>
        <p:txBody>
          <a:bodyPr/>
          <a:lstStyle/>
          <a:p>
            <a:fld id="{7F5CE407-6216-4202-80E4-A30DC2F709B2}" type="slidenum">
              <a:rPr lang="en-US" smtClean="0"/>
              <a:pPr/>
              <a:t>3</a:t>
            </a:fld>
            <a:endParaRPr lang="en-US"/>
          </a:p>
        </p:txBody>
      </p:sp>
    </p:spTree>
    <p:extLst>
      <p:ext uri="{BB962C8B-B14F-4D97-AF65-F5344CB8AC3E}">
        <p14:creationId xmlns:p14="http://schemas.microsoft.com/office/powerpoint/2010/main" xmlns="" val="3728491586"/>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35696" y="548680"/>
            <a:ext cx="6910288" cy="936104"/>
          </a:xfrm>
        </p:spPr>
        <p:txBody>
          <a:bodyPr/>
          <a:lstStyle/>
          <a:p>
            <a:r>
              <a:rPr lang="en-CA" altLang="zh-TW" sz="3600" dirty="0" smtClean="0">
                <a:solidFill>
                  <a:srgbClr val="0000FF"/>
                </a:solidFill>
                <a:latin typeface="Arial Black"/>
                <a:ea typeface="新細明體" pitchFamily="18" charset="-120"/>
                <a:cs typeface="Arial Black"/>
              </a:rPr>
              <a:t>New Membership</a:t>
            </a:r>
            <a:endParaRPr lang="en-AU" sz="3600" dirty="0">
              <a:solidFill>
                <a:srgbClr val="0000FF"/>
              </a:solidFill>
              <a:latin typeface="Arial Black"/>
              <a:cs typeface="Arial Black"/>
            </a:endParaRPr>
          </a:p>
        </p:txBody>
      </p:sp>
      <p:sp>
        <p:nvSpPr>
          <p:cNvPr id="3" name="Content Placeholder 2"/>
          <p:cNvSpPr>
            <a:spLocks noGrp="1"/>
          </p:cNvSpPr>
          <p:nvPr>
            <p:ph idx="1"/>
          </p:nvPr>
        </p:nvSpPr>
        <p:spPr>
          <a:xfrm>
            <a:off x="755576" y="2132856"/>
            <a:ext cx="7776864" cy="4200152"/>
          </a:xfrm>
        </p:spPr>
        <p:txBody>
          <a:bodyPr>
            <a:normAutofit lnSpcReduction="10000"/>
          </a:bodyPr>
          <a:lstStyle/>
          <a:p>
            <a:pPr marL="0" indent="0" eaLnBrk="1" hangingPunct="1">
              <a:spcBef>
                <a:spcPct val="0"/>
              </a:spcBef>
              <a:spcAft>
                <a:spcPts val="1000"/>
              </a:spcAft>
              <a:buClr>
                <a:srgbClr val="FF0000"/>
              </a:buClr>
              <a:buNone/>
              <a:defRPr/>
            </a:pPr>
            <a:r>
              <a:rPr lang="en-AU" b="1" dirty="0" smtClean="0">
                <a:solidFill>
                  <a:srgbClr val="000000"/>
                </a:solidFill>
                <a:latin typeface="Arial"/>
                <a:cs typeface="Arial"/>
              </a:rPr>
              <a:t>Two new Membership Categories were finalised in November 2012 </a:t>
            </a:r>
            <a:endParaRPr lang="en-AU" b="1" dirty="0">
              <a:solidFill>
                <a:srgbClr val="000000"/>
              </a:solidFill>
              <a:latin typeface="Arial"/>
              <a:cs typeface="Arial"/>
            </a:endParaRPr>
          </a:p>
          <a:p>
            <a:pPr marL="0" indent="0" eaLnBrk="1" hangingPunct="1">
              <a:spcBef>
                <a:spcPct val="0"/>
              </a:spcBef>
              <a:spcAft>
                <a:spcPts val="1000"/>
              </a:spcAft>
              <a:buClr>
                <a:srgbClr val="FF0000"/>
              </a:buClr>
              <a:buNone/>
              <a:defRPr/>
            </a:pPr>
            <a:endParaRPr lang="en-AU" b="1" dirty="0" smtClean="0">
              <a:solidFill>
                <a:srgbClr val="000000"/>
              </a:solidFill>
              <a:latin typeface="Arial"/>
              <a:cs typeface="Arial"/>
            </a:endParaRPr>
          </a:p>
          <a:p>
            <a:pPr marL="723900" indent="-723900">
              <a:spcBef>
                <a:spcPct val="0"/>
              </a:spcBef>
              <a:spcAft>
                <a:spcPts val="1000"/>
              </a:spcAft>
              <a:buClr>
                <a:srgbClr val="FF0000"/>
              </a:buClr>
              <a:buFont typeface="Wingdings" pitchFamily="2" charset="2"/>
              <a:buChar char="q"/>
              <a:defRPr/>
            </a:pPr>
            <a:r>
              <a:rPr lang="en-GB" altLang="ja-JP" b="1" dirty="0" smtClean="0">
                <a:solidFill>
                  <a:srgbClr val="000000"/>
                </a:solidFill>
                <a:latin typeface="Arial"/>
                <a:cs typeface="Arial"/>
              </a:rPr>
              <a:t>Observer Member </a:t>
            </a:r>
          </a:p>
          <a:p>
            <a:pPr marL="723900" indent="-723900">
              <a:spcBef>
                <a:spcPct val="0"/>
              </a:spcBef>
              <a:spcAft>
                <a:spcPts val="1000"/>
              </a:spcAft>
              <a:buClr>
                <a:srgbClr val="FF0000"/>
              </a:buClr>
              <a:buFont typeface="Wingdings" pitchFamily="2" charset="2"/>
              <a:buChar char="q"/>
              <a:defRPr/>
            </a:pPr>
            <a:endParaRPr lang="en-GB" altLang="ja-JP" b="1" dirty="0" smtClean="0">
              <a:solidFill>
                <a:srgbClr val="000000"/>
              </a:solidFill>
              <a:latin typeface="Arial"/>
              <a:cs typeface="Arial"/>
            </a:endParaRPr>
          </a:p>
          <a:p>
            <a:pPr marL="723900" indent="-723900">
              <a:spcBef>
                <a:spcPct val="0"/>
              </a:spcBef>
              <a:spcAft>
                <a:spcPts val="1000"/>
              </a:spcAft>
              <a:buClr>
                <a:srgbClr val="FF0000"/>
              </a:buClr>
              <a:buFont typeface="Wingdings" pitchFamily="2" charset="2"/>
              <a:buChar char="q"/>
              <a:defRPr/>
            </a:pPr>
            <a:r>
              <a:rPr lang="en-GB" altLang="ja-JP" b="1" dirty="0" smtClean="0">
                <a:solidFill>
                  <a:srgbClr val="000000"/>
                </a:solidFill>
                <a:latin typeface="Arial"/>
                <a:cs typeface="Arial"/>
              </a:rPr>
              <a:t>Corresponding Member</a:t>
            </a:r>
          </a:p>
          <a:p>
            <a:pPr marL="723900" indent="-723900">
              <a:spcBef>
                <a:spcPct val="0"/>
              </a:spcBef>
              <a:spcAft>
                <a:spcPts val="1000"/>
              </a:spcAft>
              <a:buClr>
                <a:srgbClr val="FF0000"/>
              </a:buClr>
              <a:buFont typeface="Wingdings" pitchFamily="2" charset="2"/>
              <a:buChar char="q"/>
              <a:defRPr/>
            </a:pPr>
            <a:endParaRPr lang="en-GB" altLang="ja-JP" b="1" dirty="0" smtClean="0">
              <a:solidFill>
                <a:srgbClr val="000000"/>
              </a:solidFill>
              <a:latin typeface="Arial"/>
              <a:cs typeface="Arial"/>
            </a:endParaRPr>
          </a:p>
          <a:p>
            <a:pPr marL="0" indent="0">
              <a:spcBef>
                <a:spcPct val="0"/>
              </a:spcBef>
              <a:spcAft>
                <a:spcPts val="1000"/>
              </a:spcAft>
              <a:buClr>
                <a:srgbClr val="FF0000"/>
              </a:buClr>
              <a:buNone/>
              <a:defRPr/>
            </a:pPr>
            <a:r>
              <a:rPr lang="en-GB" altLang="ja-JP" b="1" dirty="0">
                <a:solidFill>
                  <a:srgbClr val="000000"/>
                </a:solidFill>
                <a:latin typeface="Arial"/>
                <a:cs typeface="Arial"/>
              </a:rPr>
              <a:t>	</a:t>
            </a:r>
            <a:r>
              <a:rPr lang="en-GB" altLang="ja-JP" b="1" dirty="0" smtClean="0">
                <a:solidFill>
                  <a:srgbClr val="000000"/>
                </a:solidFill>
                <a:latin typeface="Arial"/>
                <a:cs typeface="Arial"/>
              </a:rPr>
              <a:t>Definition of these categories is the same, but 	different benefits/rights and obligations</a:t>
            </a:r>
          </a:p>
          <a:p>
            <a:pPr marL="723900" indent="-723900">
              <a:spcBef>
                <a:spcPct val="0"/>
              </a:spcBef>
              <a:spcAft>
                <a:spcPts val="1000"/>
              </a:spcAft>
              <a:buClr>
                <a:srgbClr val="FF0000"/>
              </a:buClr>
              <a:buFont typeface="Wingdings" pitchFamily="2" charset="2"/>
              <a:buChar char="q"/>
              <a:defRPr/>
            </a:pPr>
            <a:endParaRPr lang="es-ES" altLang="ja-JP" dirty="0">
              <a:latin typeface="Arial"/>
              <a:cs typeface="Arial"/>
            </a:endParaRPr>
          </a:p>
          <a:p>
            <a:pPr marL="723900" indent="-723900" eaLnBrk="1" hangingPunct="1">
              <a:spcBef>
                <a:spcPct val="0"/>
              </a:spcBef>
              <a:spcAft>
                <a:spcPts val="1000"/>
              </a:spcAft>
              <a:buClr>
                <a:srgbClr val="FF0000"/>
              </a:buClr>
              <a:buFont typeface="Wingdings" pitchFamily="2" charset="2"/>
              <a:buChar char="q"/>
              <a:defRPr/>
            </a:pPr>
            <a:endParaRPr lang="es-ES" dirty="0" smtClean="0">
              <a:latin typeface="Arial"/>
              <a:cs typeface="Arial"/>
            </a:endParaRPr>
          </a:p>
          <a:p>
            <a:pPr marL="723900" indent="-723900" eaLnBrk="1" hangingPunct="1">
              <a:spcBef>
                <a:spcPct val="0"/>
              </a:spcBef>
              <a:spcAft>
                <a:spcPts val="1000"/>
              </a:spcAft>
              <a:buClr>
                <a:srgbClr val="FF0000"/>
              </a:buClr>
              <a:buFont typeface="Wingdings" pitchFamily="2" charset="2"/>
              <a:buChar char="q"/>
              <a:defRPr/>
            </a:pPr>
            <a:endParaRPr lang="es-ES" dirty="0" smtClean="0">
              <a:latin typeface="Arial"/>
              <a:cs typeface="Arial"/>
            </a:endParaRPr>
          </a:p>
          <a:p>
            <a:pPr marL="0" indent="0" eaLnBrk="1" hangingPunct="1">
              <a:spcBef>
                <a:spcPct val="0"/>
              </a:spcBef>
              <a:spcAft>
                <a:spcPts val="1000"/>
              </a:spcAft>
              <a:buClr>
                <a:srgbClr val="FF0000"/>
              </a:buClr>
              <a:buNone/>
              <a:defRPr/>
            </a:pPr>
            <a:endParaRPr lang="es-ES" sz="1100" dirty="0" smtClean="0">
              <a:latin typeface="Arial Rounded MT Bold" pitchFamily="34" charset="0"/>
            </a:endParaRPr>
          </a:p>
        </p:txBody>
      </p:sp>
      <p:pic>
        <p:nvPicPr>
          <p:cNvPr id="4" name="Picture 3"/>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35992" y="188640"/>
            <a:ext cx="1979712" cy="1168070"/>
          </a:xfrm>
          <a:prstGeom prst="rect">
            <a:avLst/>
          </a:prstGeom>
        </p:spPr>
      </p:pic>
      <p:sp>
        <p:nvSpPr>
          <p:cNvPr id="5" name="スライド番号プレースホルダー 4"/>
          <p:cNvSpPr>
            <a:spLocks noGrp="1"/>
          </p:cNvSpPr>
          <p:nvPr>
            <p:ph type="sldNum" sz="quarter" idx="12"/>
          </p:nvPr>
        </p:nvSpPr>
        <p:spPr/>
        <p:txBody>
          <a:bodyPr/>
          <a:lstStyle/>
          <a:p>
            <a:fld id="{7F5CE407-6216-4202-80E4-A30DC2F709B2}" type="slidenum">
              <a:rPr lang="en-US" smtClean="0"/>
              <a:pPr/>
              <a:t>4</a:t>
            </a:fld>
            <a:endParaRPr lang="en-US"/>
          </a:p>
        </p:txBody>
      </p:sp>
    </p:spTree>
    <p:extLst>
      <p:ext uri="{BB962C8B-B14F-4D97-AF65-F5344CB8AC3E}">
        <p14:creationId xmlns:p14="http://schemas.microsoft.com/office/powerpoint/2010/main" xmlns="" val="1889645739"/>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8099" name="Rectangle 2"/>
          <p:cNvSpPr>
            <a:spLocks noGrp="1" noChangeArrowheads="1"/>
          </p:cNvSpPr>
          <p:nvPr>
            <p:ph type="title" idx="4294967295"/>
          </p:nvPr>
        </p:nvSpPr>
        <p:spPr>
          <a:xfrm>
            <a:off x="1979712" y="620688"/>
            <a:ext cx="4763591" cy="698500"/>
          </a:xfrm>
        </p:spPr>
        <p:txBody>
          <a:bodyPr lIns="91440" tIns="45720" rIns="91440" bIns="45720"/>
          <a:lstStyle/>
          <a:p>
            <a:pPr eaLnBrk="1" hangingPunct="1"/>
            <a:r>
              <a:rPr kumimoji="1" lang="en-US" altLang="zh-CN" sz="3600" b="1" dirty="0" smtClean="0">
                <a:solidFill>
                  <a:srgbClr val="0000FF"/>
                </a:solidFill>
                <a:latin typeface="Arial Black"/>
                <a:cs typeface="Arial Black"/>
              </a:rPr>
              <a:t>Objectives</a:t>
            </a:r>
            <a:endParaRPr kumimoji="1" lang="zh-CN" altLang="zh-TW" sz="3600" b="1" dirty="0" smtClean="0">
              <a:solidFill>
                <a:srgbClr val="0000FF"/>
              </a:solidFill>
              <a:latin typeface="Arial Black"/>
              <a:cs typeface="Arial Black"/>
            </a:endParaRPr>
          </a:p>
        </p:txBody>
      </p:sp>
      <p:sp>
        <p:nvSpPr>
          <p:cNvPr id="388100" name="Rectangle 3"/>
          <p:cNvSpPr>
            <a:spLocks noGrp="1" noChangeArrowheads="1"/>
          </p:cNvSpPr>
          <p:nvPr>
            <p:ph type="body" idx="4294967295"/>
          </p:nvPr>
        </p:nvSpPr>
        <p:spPr>
          <a:xfrm>
            <a:off x="1115616" y="2348880"/>
            <a:ext cx="7272337" cy="3409950"/>
          </a:xfrm>
        </p:spPr>
        <p:txBody>
          <a:bodyPr lIns="91440" tIns="45720" rIns="91440" bIns="45720" anchor="t">
            <a:normAutofit/>
          </a:bodyPr>
          <a:lstStyle/>
          <a:p>
            <a:pPr marL="542925" indent="-542925" eaLnBrk="1" hangingPunct="1">
              <a:buClr>
                <a:srgbClr val="FF0000"/>
              </a:buClr>
              <a:buFont typeface="Wingdings" pitchFamily="2" charset="2"/>
              <a:buChar char="q"/>
            </a:pPr>
            <a:r>
              <a:rPr kumimoji="1" lang="en-US" altLang="zh-TW" b="1" dirty="0" smtClean="0">
                <a:solidFill>
                  <a:srgbClr val="000000"/>
                </a:solidFill>
                <a:latin typeface="Arial" charset="0"/>
              </a:rPr>
              <a:t>to facilitate trade and commerce among economies in the Asia and  Pacific region. </a:t>
            </a:r>
          </a:p>
          <a:p>
            <a:pPr marL="542925" indent="-542925" eaLnBrk="1" hangingPunct="1">
              <a:buClr>
                <a:srgbClr val="FF0000"/>
              </a:buClr>
              <a:buFont typeface="Wingdings" pitchFamily="2" charset="2"/>
              <a:buChar char="q"/>
            </a:pPr>
            <a:r>
              <a:rPr kumimoji="1" lang="en-US" altLang="zh-TW" b="1" dirty="0" smtClean="0">
                <a:solidFill>
                  <a:srgbClr val="000000"/>
                </a:solidFill>
                <a:latin typeface="Arial" charset="0"/>
              </a:rPr>
              <a:t>to create, through its membership of the IAF, </a:t>
            </a:r>
            <a:r>
              <a:rPr kumimoji="1" lang="en-US" altLang="zh-TW" b="1" dirty="0" smtClean="0">
                <a:solidFill>
                  <a:srgbClr val="FA2E3D"/>
                </a:solidFill>
                <a:latin typeface="Arial" charset="0"/>
              </a:rPr>
              <a:t>a global system</a:t>
            </a:r>
            <a:r>
              <a:rPr kumimoji="1" lang="en-US" altLang="zh-TW" b="1" dirty="0" smtClean="0">
                <a:latin typeface="Arial" charset="0"/>
              </a:rPr>
              <a:t> </a:t>
            </a:r>
            <a:r>
              <a:rPr kumimoji="1" lang="en-US" altLang="zh-TW" b="1" dirty="0" smtClean="0">
                <a:solidFill>
                  <a:srgbClr val="000000"/>
                </a:solidFill>
                <a:latin typeface="Arial" charset="0"/>
              </a:rPr>
              <a:t>that grants international recognition of certification or registration of management systems, products, services, personnel and other programs of </a:t>
            </a:r>
            <a:r>
              <a:rPr kumimoji="1" lang="en-US" altLang="zh-TW" b="1" dirty="0" smtClean="0">
                <a:solidFill>
                  <a:srgbClr val="FA2E3D"/>
                </a:solidFill>
                <a:latin typeface="Arial" charset="0"/>
              </a:rPr>
              <a:t>conformity assessment</a:t>
            </a:r>
            <a:r>
              <a:rPr kumimoji="1" lang="en-US" altLang="zh-TW" b="1" dirty="0" smtClean="0">
                <a:latin typeface="Arial" charset="0"/>
              </a:rPr>
              <a:t>. </a:t>
            </a:r>
            <a:endParaRPr kumimoji="1" lang="en-AU" altLang="zh-CN" b="1" dirty="0" smtClean="0">
              <a:latin typeface="Arial" charset="0"/>
              <a:ea typeface="SimSun" pitchFamily="2" charset="-122"/>
            </a:endParaRPr>
          </a:p>
        </p:txBody>
      </p:sp>
      <p:pic>
        <p:nvPicPr>
          <p:cNvPr id="6" name="Picture 3"/>
          <p:cNvPicPr>
            <a:picLocks noChangeAspect="1"/>
          </p:cNvPicPr>
          <p:nvPr/>
        </p:nvPicPr>
        <p:blipFill>
          <a:blip r:embed="rId3"/>
          <a:srcRect/>
          <a:stretch>
            <a:fillRect/>
          </a:stretch>
        </p:blipFill>
        <p:spPr bwMode="auto">
          <a:xfrm>
            <a:off x="0" y="116632"/>
            <a:ext cx="1979613" cy="1168400"/>
          </a:xfrm>
          <a:prstGeom prst="rect">
            <a:avLst/>
          </a:prstGeom>
          <a:noFill/>
          <a:ln w="9525">
            <a:noFill/>
            <a:miter lim="800000"/>
            <a:headEnd/>
            <a:tailEnd/>
          </a:ln>
        </p:spPr>
      </p:pic>
      <p:sp>
        <p:nvSpPr>
          <p:cNvPr id="2" name="スライド番号プレースホルダー 1"/>
          <p:cNvSpPr>
            <a:spLocks noGrp="1"/>
          </p:cNvSpPr>
          <p:nvPr>
            <p:ph type="sldNum" sz="quarter" idx="12"/>
          </p:nvPr>
        </p:nvSpPr>
        <p:spPr>
          <a:xfrm>
            <a:off x="8028384" y="6309320"/>
            <a:ext cx="990600" cy="365125"/>
          </a:xfrm>
        </p:spPr>
        <p:txBody>
          <a:bodyPr/>
          <a:lstStyle/>
          <a:p>
            <a:fld id="{7F5CE407-6216-4202-80E4-A30DC2F709B2}" type="slidenum">
              <a:rPr lang="en-US" smtClean="0"/>
              <a:pPr/>
              <a:t>5</a:t>
            </a:fld>
            <a:endParaRPr lang="en-US" dirty="0"/>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3218" name="Rectangle 2"/>
          <p:cNvSpPr>
            <a:spLocks noGrp="1" noChangeArrowheads="1"/>
          </p:cNvSpPr>
          <p:nvPr>
            <p:ph type="title" idx="4294967295"/>
          </p:nvPr>
        </p:nvSpPr>
        <p:spPr>
          <a:xfrm>
            <a:off x="2483768" y="188641"/>
            <a:ext cx="3816350" cy="1080120"/>
          </a:xfrm>
        </p:spPr>
        <p:txBody>
          <a:bodyPr lIns="91440" tIns="45720" rIns="91440" bIns="45720"/>
          <a:lstStyle/>
          <a:p>
            <a:pPr eaLnBrk="1" hangingPunct="1"/>
            <a:r>
              <a:rPr kumimoji="1" lang="en-US" altLang="ja-JP" sz="3600" dirty="0" smtClean="0">
                <a:solidFill>
                  <a:srgbClr val="0000FF"/>
                </a:solidFill>
                <a:latin typeface="Arial Black"/>
                <a:cs typeface="Arial Black"/>
              </a:rPr>
              <a:t>The PAC MLA</a:t>
            </a:r>
          </a:p>
        </p:txBody>
      </p:sp>
      <p:sp>
        <p:nvSpPr>
          <p:cNvPr id="393219" name="Rectangle 3"/>
          <p:cNvSpPr>
            <a:spLocks noGrp="1" noChangeArrowheads="1"/>
          </p:cNvSpPr>
          <p:nvPr>
            <p:ph type="body" idx="4294967295"/>
          </p:nvPr>
        </p:nvSpPr>
        <p:spPr>
          <a:xfrm>
            <a:off x="539552" y="1772816"/>
            <a:ext cx="8229600" cy="4319587"/>
          </a:xfrm>
        </p:spPr>
        <p:txBody>
          <a:bodyPr lIns="91440" tIns="45720" rIns="91440" bIns="45720" anchor="t"/>
          <a:lstStyle/>
          <a:p>
            <a:pPr marL="357188" indent="-357188" eaLnBrk="1" hangingPunct="1">
              <a:lnSpc>
                <a:spcPct val="80000"/>
              </a:lnSpc>
              <a:buFont typeface="Gill Sans Light"/>
              <a:buNone/>
            </a:pPr>
            <a:r>
              <a:rPr kumimoji="1" lang="en-CA" altLang="zh-TW" b="1" dirty="0" smtClean="0">
                <a:solidFill>
                  <a:srgbClr val="000000"/>
                </a:solidFill>
                <a:latin typeface="Arial" charset="0"/>
              </a:rPr>
              <a:t>The PAC MLA (Multilateral Recognition Arrangement) </a:t>
            </a:r>
            <a:endParaRPr kumimoji="1" lang="en-CA" altLang="ja-JP" b="1" dirty="0" smtClean="0">
              <a:solidFill>
                <a:srgbClr val="000000"/>
              </a:solidFill>
              <a:latin typeface="Arial" charset="0"/>
            </a:endParaRPr>
          </a:p>
          <a:p>
            <a:pPr marL="542925" indent="-542925" eaLnBrk="1" hangingPunct="1">
              <a:lnSpc>
                <a:spcPct val="80000"/>
              </a:lnSpc>
              <a:buClr>
                <a:srgbClr val="ED2A09"/>
              </a:buClr>
              <a:buSzTx/>
              <a:buFont typeface="Wingdings" pitchFamily="2" charset="2"/>
              <a:buChar char="p"/>
            </a:pPr>
            <a:r>
              <a:rPr kumimoji="1" lang="en-CA" altLang="zh-TW" b="1" dirty="0" smtClean="0">
                <a:solidFill>
                  <a:srgbClr val="000000"/>
                </a:solidFill>
                <a:latin typeface="Arial" charset="0"/>
              </a:rPr>
              <a:t>is a</a:t>
            </a:r>
            <a:r>
              <a:rPr kumimoji="1" lang="en-CA" altLang="zh-TW" b="1" dirty="0" smtClean="0">
                <a:latin typeface="Arial" charset="0"/>
              </a:rPr>
              <a:t> </a:t>
            </a:r>
            <a:r>
              <a:rPr kumimoji="1" lang="en-CA" altLang="zh-TW" b="1" dirty="0" smtClean="0">
                <a:solidFill>
                  <a:srgbClr val="FF0000"/>
                </a:solidFill>
                <a:latin typeface="Arial" charset="0"/>
              </a:rPr>
              <a:t>formal arrangement </a:t>
            </a:r>
            <a:r>
              <a:rPr kumimoji="1" lang="en-CA" altLang="zh-TW" b="1" dirty="0" smtClean="0">
                <a:solidFill>
                  <a:srgbClr val="000000"/>
                </a:solidFill>
                <a:latin typeface="Arial" charset="0"/>
              </a:rPr>
              <a:t>among PAC AB members</a:t>
            </a:r>
          </a:p>
          <a:p>
            <a:pPr marL="542925" indent="-542925" eaLnBrk="1" hangingPunct="1">
              <a:lnSpc>
                <a:spcPct val="80000"/>
              </a:lnSpc>
              <a:buClr>
                <a:srgbClr val="ED2A09"/>
              </a:buClr>
              <a:buSzTx/>
              <a:buFont typeface="Wingdings" pitchFamily="2" charset="2"/>
              <a:buChar char="p"/>
            </a:pPr>
            <a:r>
              <a:rPr kumimoji="1" lang="en-CA" altLang="zh-TW" b="1" dirty="0" smtClean="0">
                <a:solidFill>
                  <a:srgbClr val="000000"/>
                </a:solidFill>
                <a:latin typeface="Arial" charset="0"/>
              </a:rPr>
              <a:t>is based on the </a:t>
            </a:r>
            <a:r>
              <a:rPr kumimoji="1" lang="en-CA" altLang="zh-TW" b="1" dirty="0" smtClean="0">
                <a:solidFill>
                  <a:srgbClr val="FA2E3D"/>
                </a:solidFill>
                <a:latin typeface="Arial" charset="0"/>
              </a:rPr>
              <a:t>equivalence</a:t>
            </a:r>
            <a:r>
              <a:rPr kumimoji="1" lang="en-CA" altLang="zh-TW" b="1" dirty="0" smtClean="0">
                <a:latin typeface="Arial" charset="0"/>
              </a:rPr>
              <a:t> </a:t>
            </a:r>
            <a:r>
              <a:rPr kumimoji="1" lang="en-CA" altLang="zh-TW" b="1" dirty="0" smtClean="0">
                <a:solidFill>
                  <a:srgbClr val="000000"/>
                </a:solidFill>
                <a:latin typeface="Arial" charset="0"/>
              </a:rPr>
              <a:t>of accreditation programs operated by accreditation body members, </a:t>
            </a:r>
            <a:endParaRPr kumimoji="1" lang="en-CA" altLang="ja-JP" b="1" dirty="0" smtClean="0">
              <a:solidFill>
                <a:srgbClr val="000000"/>
              </a:solidFill>
              <a:latin typeface="Arial" charset="0"/>
            </a:endParaRPr>
          </a:p>
          <a:p>
            <a:pPr marL="542925" indent="-542925" eaLnBrk="1" hangingPunct="1">
              <a:lnSpc>
                <a:spcPct val="80000"/>
              </a:lnSpc>
              <a:buClr>
                <a:srgbClr val="ED2A09"/>
              </a:buClr>
              <a:buSzTx/>
              <a:buFont typeface="Wingdings" pitchFamily="2" charset="2"/>
              <a:buChar char="p"/>
            </a:pPr>
            <a:r>
              <a:rPr kumimoji="1" lang="en-CA" altLang="ja-JP" b="1" dirty="0" smtClean="0">
                <a:solidFill>
                  <a:srgbClr val="000000"/>
                </a:solidFill>
                <a:latin typeface="Arial" charset="0"/>
              </a:rPr>
              <a:t>is </a:t>
            </a:r>
            <a:r>
              <a:rPr kumimoji="1" lang="en-CA" altLang="zh-TW" b="1" dirty="0" smtClean="0">
                <a:solidFill>
                  <a:srgbClr val="000000"/>
                </a:solidFill>
                <a:latin typeface="Arial" charset="0"/>
              </a:rPr>
              <a:t>verified through </a:t>
            </a:r>
            <a:r>
              <a:rPr kumimoji="1" lang="en-CA" altLang="zh-TW" b="1" dirty="0" smtClean="0">
                <a:solidFill>
                  <a:srgbClr val="FA2E3D"/>
                </a:solidFill>
                <a:latin typeface="Arial" charset="0"/>
              </a:rPr>
              <a:t>peer evaluation</a:t>
            </a:r>
            <a:r>
              <a:rPr kumimoji="1" lang="en-CA" altLang="zh-TW" b="1" dirty="0" smtClean="0">
                <a:latin typeface="Arial" charset="0"/>
              </a:rPr>
              <a:t> </a:t>
            </a:r>
            <a:r>
              <a:rPr kumimoji="1" lang="en-CA" altLang="zh-TW" b="1" dirty="0" smtClean="0">
                <a:solidFill>
                  <a:srgbClr val="000000"/>
                </a:solidFill>
                <a:latin typeface="Arial" charset="0"/>
              </a:rPr>
              <a:t>among those accreditation body members</a:t>
            </a:r>
          </a:p>
          <a:p>
            <a:pPr marL="542925" indent="-542925" eaLnBrk="1" hangingPunct="1">
              <a:lnSpc>
                <a:spcPct val="80000"/>
              </a:lnSpc>
              <a:buClr>
                <a:srgbClr val="ED2A09"/>
              </a:buClr>
              <a:buSzTx/>
              <a:buFont typeface="Wingdings" pitchFamily="2" charset="2"/>
              <a:buChar char="p"/>
            </a:pPr>
            <a:r>
              <a:rPr lang="en-CA" altLang="zh-TW" b="1" dirty="0">
                <a:solidFill>
                  <a:srgbClr val="000000"/>
                </a:solidFill>
                <a:latin typeface="Arial" charset="0"/>
              </a:rPr>
              <a:t>i</a:t>
            </a:r>
            <a:r>
              <a:rPr kumimoji="1" lang="en-CA" altLang="zh-TW" b="1" dirty="0" smtClean="0">
                <a:solidFill>
                  <a:srgbClr val="000000"/>
                </a:solidFill>
                <a:latin typeface="Arial" charset="0"/>
              </a:rPr>
              <a:t>s</a:t>
            </a:r>
            <a:r>
              <a:rPr kumimoji="1" lang="en-CA" altLang="zh-TW" b="1" dirty="0" smtClean="0">
                <a:latin typeface="Arial" charset="0"/>
              </a:rPr>
              <a:t> </a:t>
            </a:r>
            <a:r>
              <a:rPr kumimoji="1" lang="en-CA" altLang="zh-TW" b="1" dirty="0" smtClean="0">
                <a:solidFill>
                  <a:srgbClr val="FF0000"/>
                </a:solidFill>
                <a:latin typeface="Arial" charset="0"/>
              </a:rPr>
              <a:t>recognised</a:t>
            </a:r>
            <a:r>
              <a:rPr kumimoji="1" lang="en-CA" altLang="zh-TW" b="1" dirty="0" smtClean="0">
                <a:latin typeface="Arial" charset="0"/>
              </a:rPr>
              <a:t> </a:t>
            </a:r>
            <a:r>
              <a:rPr kumimoji="1" lang="en-CA" altLang="zh-TW" b="1" dirty="0" smtClean="0">
                <a:solidFill>
                  <a:srgbClr val="000000"/>
                </a:solidFill>
                <a:latin typeface="Arial" charset="0"/>
              </a:rPr>
              <a:t>as a regional arrangement by the IAF and its membership worldwide</a:t>
            </a:r>
            <a:endParaRPr kumimoji="1" lang="ja-JP" altLang="en-US" b="1" dirty="0" smtClean="0">
              <a:solidFill>
                <a:srgbClr val="000000"/>
              </a:solidFill>
              <a:latin typeface="Arial" charset="0"/>
            </a:endParaRPr>
          </a:p>
        </p:txBody>
      </p:sp>
      <p:pic>
        <p:nvPicPr>
          <p:cNvPr id="5" name="Picture 3"/>
          <p:cNvPicPr>
            <a:picLocks noChangeAspect="1"/>
          </p:cNvPicPr>
          <p:nvPr/>
        </p:nvPicPr>
        <p:blipFill>
          <a:blip r:embed="rId3"/>
          <a:srcRect/>
          <a:stretch>
            <a:fillRect/>
          </a:stretch>
        </p:blipFill>
        <p:spPr bwMode="auto">
          <a:xfrm>
            <a:off x="179512" y="116632"/>
            <a:ext cx="1979613" cy="1168400"/>
          </a:xfrm>
          <a:prstGeom prst="rect">
            <a:avLst/>
          </a:prstGeom>
          <a:noFill/>
          <a:ln w="9525">
            <a:noFill/>
            <a:miter lim="800000"/>
            <a:headEnd/>
            <a:tailEnd/>
          </a:ln>
        </p:spPr>
      </p:pic>
      <p:sp>
        <p:nvSpPr>
          <p:cNvPr id="2" name="スライド番号プレースホルダー 1"/>
          <p:cNvSpPr>
            <a:spLocks noGrp="1"/>
          </p:cNvSpPr>
          <p:nvPr>
            <p:ph type="sldNum" sz="quarter" idx="12"/>
          </p:nvPr>
        </p:nvSpPr>
        <p:spPr>
          <a:xfrm>
            <a:off x="8153400" y="6309320"/>
            <a:ext cx="990600" cy="365125"/>
          </a:xfrm>
        </p:spPr>
        <p:txBody>
          <a:bodyPr/>
          <a:lstStyle/>
          <a:p>
            <a:fld id="{7F5CE407-6216-4202-80E4-A30DC2F709B2}" type="slidenum">
              <a:rPr lang="en-US" smtClean="0"/>
              <a:pPr/>
              <a:t>6</a:t>
            </a:fld>
            <a:endParaRPr lang="en-US"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5265" name="Title 1"/>
          <p:cNvSpPr>
            <a:spLocks noGrp="1"/>
          </p:cNvSpPr>
          <p:nvPr>
            <p:ph type="title"/>
          </p:nvPr>
        </p:nvSpPr>
        <p:spPr>
          <a:xfrm>
            <a:off x="1187624" y="404664"/>
            <a:ext cx="7632575" cy="995362"/>
          </a:xfrm>
        </p:spPr>
        <p:txBody>
          <a:bodyPr/>
          <a:lstStyle/>
          <a:p>
            <a:pPr algn="r" eaLnBrk="1" hangingPunct="1"/>
            <a:r>
              <a:rPr lang="en-AU" altLang="ja-JP" sz="3600" dirty="0" smtClean="0">
                <a:solidFill>
                  <a:srgbClr val="0000FF"/>
                </a:solidFill>
                <a:latin typeface="Arial Black"/>
                <a:cs typeface="Arial Black"/>
              </a:rPr>
              <a:t>Established MLA Programs</a:t>
            </a:r>
          </a:p>
        </p:txBody>
      </p:sp>
      <p:sp>
        <p:nvSpPr>
          <p:cNvPr id="395266" name="Content Placeholder 2"/>
          <p:cNvSpPr>
            <a:spLocks noGrp="1"/>
          </p:cNvSpPr>
          <p:nvPr>
            <p:ph idx="1"/>
          </p:nvPr>
        </p:nvSpPr>
        <p:spPr>
          <a:xfrm>
            <a:off x="1475656" y="1700808"/>
            <a:ext cx="7273925" cy="4458162"/>
          </a:xfrm>
        </p:spPr>
        <p:txBody>
          <a:bodyPr/>
          <a:lstStyle/>
          <a:p>
            <a:pPr marL="0" indent="0" eaLnBrk="1" hangingPunct="1">
              <a:spcBef>
                <a:spcPct val="80000"/>
              </a:spcBef>
              <a:buClr>
                <a:srgbClr val="FF0000"/>
              </a:buClr>
              <a:buFont typeface="Gill Sans Light"/>
              <a:buNone/>
            </a:pPr>
            <a:r>
              <a:rPr lang="en-US" altLang="zh-TW" b="1" dirty="0" smtClean="0">
                <a:solidFill>
                  <a:srgbClr val="000000"/>
                </a:solidFill>
                <a:latin typeface="Arial" charset="0"/>
                <a:ea typeface="PMingLiU" pitchFamily="18" charset="-120"/>
                <a:cs typeface="Tahoma" pitchFamily="34" charset="0"/>
              </a:rPr>
              <a:t>PAC currently operates Multilateral Recognition Arrangements (MLAs) in the following three areas:</a:t>
            </a:r>
          </a:p>
          <a:p>
            <a:pPr marL="0" indent="0" eaLnBrk="1" hangingPunct="1">
              <a:spcBef>
                <a:spcPct val="80000"/>
              </a:spcBef>
              <a:buClr>
                <a:srgbClr val="FF0000"/>
              </a:buClr>
              <a:buFont typeface="Gill Sans Light"/>
              <a:buNone/>
            </a:pPr>
            <a:endParaRPr lang="en-US" altLang="zh-TW" sz="800" b="1" dirty="0" smtClean="0">
              <a:latin typeface="Arial" charset="0"/>
              <a:ea typeface="PMingLiU" pitchFamily="18" charset="-120"/>
              <a:cs typeface="Tahoma" pitchFamily="34" charset="0"/>
            </a:endParaRPr>
          </a:p>
          <a:p>
            <a:pPr marL="542925" indent="-542925" eaLnBrk="1" hangingPunct="1">
              <a:lnSpc>
                <a:spcPct val="35000"/>
              </a:lnSpc>
              <a:spcBef>
                <a:spcPct val="80000"/>
              </a:spcBef>
              <a:buClr>
                <a:srgbClr val="FF0000"/>
              </a:buClr>
              <a:buFont typeface="Wingdings" pitchFamily="2" charset="2"/>
              <a:buChar char="q"/>
              <a:tabLst>
                <a:tab pos="542925" algn="l"/>
              </a:tabLst>
            </a:pPr>
            <a:r>
              <a:rPr lang="en-US" altLang="zh-TW" b="1" dirty="0" smtClean="0">
                <a:solidFill>
                  <a:srgbClr val="FF0000"/>
                </a:solidFill>
                <a:latin typeface="Arial" charset="0"/>
                <a:ea typeface="PMingLiU" pitchFamily="18" charset="-120"/>
                <a:cs typeface="Tahoma" pitchFamily="34" charset="0"/>
              </a:rPr>
              <a:t>Quality Management Systems </a:t>
            </a:r>
            <a:r>
              <a:rPr lang="en-US" altLang="zh-TW" b="1" dirty="0" smtClean="0">
                <a:solidFill>
                  <a:srgbClr val="000000"/>
                </a:solidFill>
                <a:latin typeface="Arial" charset="0"/>
                <a:ea typeface="PMingLiU" pitchFamily="18" charset="-120"/>
                <a:cs typeface="Tahoma" pitchFamily="34" charset="0"/>
              </a:rPr>
              <a:t>(QMS) </a:t>
            </a:r>
            <a:endParaRPr lang="en-US" altLang="ja-JP" b="1" dirty="0" smtClean="0">
              <a:solidFill>
                <a:srgbClr val="000000"/>
              </a:solidFill>
              <a:latin typeface="Arial" charset="0"/>
              <a:ea typeface="PMingLiU" pitchFamily="18" charset="-120"/>
              <a:cs typeface="Tahoma" pitchFamily="34" charset="0"/>
            </a:endParaRPr>
          </a:p>
          <a:p>
            <a:pPr marL="542925" indent="-542925" eaLnBrk="1" hangingPunct="1">
              <a:lnSpc>
                <a:spcPct val="35000"/>
              </a:lnSpc>
              <a:spcBef>
                <a:spcPct val="80000"/>
              </a:spcBef>
              <a:buClr>
                <a:srgbClr val="FF0000"/>
              </a:buClr>
              <a:buFont typeface="Wingdings" pitchFamily="2" charset="2"/>
              <a:buNone/>
              <a:tabLst>
                <a:tab pos="542925" algn="l"/>
              </a:tabLst>
            </a:pPr>
            <a:r>
              <a:rPr lang="en-US" altLang="ja-JP" b="1" dirty="0" smtClean="0">
                <a:latin typeface="Arial" charset="0"/>
                <a:ea typeface="PMingLiU" pitchFamily="18" charset="-120"/>
                <a:cs typeface="Tahoma" pitchFamily="34" charset="0"/>
              </a:rPr>
              <a:t>	</a:t>
            </a:r>
            <a:r>
              <a:rPr lang="en-US" altLang="zh-TW" b="1" dirty="0" smtClean="0">
                <a:solidFill>
                  <a:srgbClr val="000000"/>
                </a:solidFill>
                <a:latin typeface="Arial" charset="0"/>
                <a:ea typeface="PMingLiU" pitchFamily="18" charset="-120"/>
                <a:cs typeface="Tahoma" pitchFamily="34" charset="0"/>
              </a:rPr>
              <a:t>- 15 members and 3 Applicants</a:t>
            </a:r>
          </a:p>
          <a:p>
            <a:pPr marL="542925" indent="-542925" eaLnBrk="1" hangingPunct="1">
              <a:lnSpc>
                <a:spcPct val="35000"/>
              </a:lnSpc>
              <a:spcBef>
                <a:spcPct val="80000"/>
              </a:spcBef>
              <a:buClr>
                <a:srgbClr val="FF0000"/>
              </a:buClr>
              <a:buFont typeface="Wingdings" pitchFamily="2" charset="2"/>
              <a:buChar char="q"/>
              <a:tabLst>
                <a:tab pos="542925" algn="l"/>
              </a:tabLst>
            </a:pPr>
            <a:r>
              <a:rPr lang="en-US" altLang="zh-TW" b="1" dirty="0" smtClean="0">
                <a:solidFill>
                  <a:srgbClr val="FF0000"/>
                </a:solidFill>
                <a:latin typeface="Arial" charset="0"/>
                <a:ea typeface="PMingLiU" pitchFamily="18" charset="-120"/>
                <a:cs typeface="Tahoma" pitchFamily="34" charset="0"/>
              </a:rPr>
              <a:t>Environmental Management Systems </a:t>
            </a:r>
            <a:r>
              <a:rPr lang="en-US" altLang="zh-TW" b="1" dirty="0" smtClean="0">
                <a:latin typeface="Arial" charset="0"/>
                <a:ea typeface="PMingLiU" pitchFamily="18" charset="-120"/>
                <a:cs typeface="Tahoma" pitchFamily="34" charset="0"/>
              </a:rPr>
              <a:t> </a:t>
            </a:r>
            <a:r>
              <a:rPr lang="en-US" altLang="zh-TW" b="1" dirty="0" smtClean="0">
                <a:solidFill>
                  <a:srgbClr val="000000"/>
                </a:solidFill>
                <a:latin typeface="Arial" charset="0"/>
                <a:ea typeface="PMingLiU" pitchFamily="18" charset="-120"/>
                <a:cs typeface="Tahoma" pitchFamily="34" charset="0"/>
              </a:rPr>
              <a:t>(EMS)</a:t>
            </a:r>
            <a:r>
              <a:rPr lang="en-US" altLang="zh-TW" b="1" dirty="0" smtClean="0">
                <a:latin typeface="Arial" charset="0"/>
                <a:ea typeface="PMingLiU" pitchFamily="18" charset="-120"/>
                <a:cs typeface="Tahoma" pitchFamily="34" charset="0"/>
              </a:rPr>
              <a:t> </a:t>
            </a:r>
            <a:endParaRPr lang="en-US" altLang="ja-JP" b="1" dirty="0" smtClean="0">
              <a:latin typeface="Arial" charset="0"/>
              <a:ea typeface="PMingLiU" pitchFamily="18" charset="-120"/>
              <a:cs typeface="Tahoma" pitchFamily="34" charset="0"/>
            </a:endParaRPr>
          </a:p>
          <a:p>
            <a:pPr marL="542925" indent="-542925" eaLnBrk="1" hangingPunct="1">
              <a:lnSpc>
                <a:spcPct val="35000"/>
              </a:lnSpc>
              <a:spcBef>
                <a:spcPct val="80000"/>
              </a:spcBef>
              <a:buClr>
                <a:srgbClr val="FF0000"/>
              </a:buClr>
              <a:buFont typeface="Wingdings" pitchFamily="2" charset="2"/>
              <a:buNone/>
              <a:tabLst>
                <a:tab pos="542925" algn="l"/>
              </a:tabLst>
            </a:pPr>
            <a:r>
              <a:rPr lang="en-US" altLang="ja-JP" b="1" dirty="0" smtClean="0">
                <a:latin typeface="Arial" charset="0"/>
                <a:ea typeface="PMingLiU" pitchFamily="18" charset="-120"/>
                <a:cs typeface="Tahoma" pitchFamily="34" charset="0"/>
              </a:rPr>
              <a:t>	</a:t>
            </a:r>
            <a:r>
              <a:rPr lang="en-US" altLang="zh-TW" b="1" dirty="0" smtClean="0">
                <a:solidFill>
                  <a:srgbClr val="000000"/>
                </a:solidFill>
                <a:latin typeface="Arial" charset="0"/>
                <a:ea typeface="PMingLiU" pitchFamily="18" charset="-120"/>
                <a:cs typeface="Tahoma" pitchFamily="34" charset="0"/>
              </a:rPr>
              <a:t>- 13 members and 3 Applicants</a:t>
            </a:r>
          </a:p>
          <a:p>
            <a:pPr marL="542925" indent="-542925" eaLnBrk="1" hangingPunct="1">
              <a:lnSpc>
                <a:spcPct val="35000"/>
              </a:lnSpc>
              <a:spcBef>
                <a:spcPct val="80000"/>
              </a:spcBef>
              <a:buClr>
                <a:srgbClr val="FF0000"/>
              </a:buClr>
              <a:buFont typeface="Wingdings" pitchFamily="2" charset="2"/>
              <a:buChar char="q"/>
              <a:tabLst>
                <a:tab pos="542925" algn="l"/>
              </a:tabLst>
            </a:pPr>
            <a:r>
              <a:rPr lang="en-US" altLang="zh-TW" b="1" dirty="0" smtClean="0">
                <a:solidFill>
                  <a:srgbClr val="FF0000"/>
                </a:solidFill>
                <a:latin typeface="Arial" charset="0"/>
                <a:ea typeface="PMingLiU" pitchFamily="18" charset="-120"/>
                <a:cs typeface="Tahoma" pitchFamily="34" charset="0"/>
              </a:rPr>
              <a:t>Product Certification Systems </a:t>
            </a:r>
            <a:r>
              <a:rPr lang="en-US" altLang="zh-TW" b="1" dirty="0" smtClean="0">
                <a:latin typeface="Arial" charset="0"/>
                <a:ea typeface="PMingLiU" pitchFamily="18" charset="-120"/>
                <a:cs typeface="Tahoma" pitchFamily="34" charset="0"/>
              </a:rPr>
              <a:t> </a:t>
            </a:r>
            <a:endParaRPr lang="en-US" altLang="ja-JP" b="1" dirty="0" smtClean="0">
              <a:latin typeface="Arial" charset="0"/>
              <a:ea typeface="PMingLiU" pitchFamily="18" charset="-120"/>
              <a:cs typeface="Tahoma" pitchFamily="34" charset="0"/>
            </a:endParaRPr>
          </a:p>
          <a:p>
            <a:pPr marL="542925" indent="-542925" eaLnBrk="1" hangingPunct="1">
              <a:lnSpc>
                <a:spcPct val="35000"/>
              </a:lnSpc>
              <a:spcBef>
                <a:spcPct val="80000"/>
              </a:spcBef>
              <a:buClr>
                <a:srgbClr val="FF0000"/>
              </a:buClr>
              <a:buFont typeface="Wingdings" pitchFamily="2" charset="2"/>
              <a:buNone/>
              <a:tabLst>
                <a:tab pos="542925" algn="l"/>
              </a:tabLst>
            </a:pPr>
            <a:r>
              <a:rPr lang="en-US" altLang="ja-JP" b="1" dirty="0" smtClean="0">
                <a:latin typeface="Arial" charset="0"/>
                <a:ea typeface="PMingLiU" pitchFamily="18" charset="-120"/>
                <a:cs typeface="Tahoma" pitchFamily="34" charset="0"/>
              </a:rPr>
              <a:t>	</a:t>
            </a:r>
            <a:r>
              <a:rPr lang="en-US" altLang="zh-TW" b="1" dirty="0" smtClean="0">
                <a:solidFill>
                  <a:srgbClr val="000000"/>
                </a:solidFill>
                <a:latin typeface="Arial" charset="0"/>
                <a:ea typeface="PMingLiU" pitchFamily="18" charset="-120"/>
                <a:cs typeface="Tahoma" pitchFamily="34" charset="0"/>
              </a:rPr>
              <a:t>- 16 members and 3 Applicants</a:t>
            </a:r>
            <a:r>
              <a:rPr lang="en-US" altLang="zh-TW" sz="2000" b="1" dirty="0" smtClean="0">
                <a:solidFill>
                  <a:srgbClr val="000000"/>
                </a:solidFill>
                <a:latin typeface="Arial" charset="0"/>
                <a:ea typeface="PMingLiU" pitchFamily="18" charset="-120"/>
                <a:cs typeface="Tahoma" pitchFamily="34" charset="0"/>
              </a:rPr>
              <a:t> </a:t>
            </a:r>
            <a:r>
              <a:rPr lang="en-US" altLang="zh-TW" sz="2000" b="1" dirty="0" smtClean="0">
                <a:latin typeface="Arial" charset="0"/>
                <a:ea typeface="PMingLiU" pitchFamily="18" charset="-120"/>
                <a:cs typeface="Tahoma" pitchFamily="34" charset="0"/>
              </a:rPr>
              <a:t>	 </a:t>
            </a:r>
          </a:p>
        </p:txBody>
      </p:sp>
      <p:pic>
        <p:nvPicPr>
          <p:cNvPr id="395267" name="Picture 3"/>
          <p:cNvPicPr>
            <a:picLocks noChangeAspect="1"/>
          </p:cNvPicPr>
          <p:nvPr/>
        </p:nvPicPr>
        <p:blipFill>
          <a:blip r:embed="rId3"/>
          <a:srcRect/>
          <a:stretch>
            <a:fillRect/>
          </a:stretch>
        </p:blipFill>
        <p:spPr bwMode="auto">
          <a:xfrm>
            <a:off x="10840" y="116632"/>
            <a:ext cx="1979613" cy="1168400"/>
          </a:xfrm>
          <a:prstGeom prst="rect">
            <a:avLst/>
          </a:prstGeom>
          <a:noFill/>
          <a:ln w="9525">
            <a:noFill/>
            <a:miter lim="800000"/>
            <a:headEnd/>
            <a:tailEnd/>
          </a:ln>
        </p:spPr>
      </p:pic>
      <p:sp>
        <p:nvSpPr>
          <p:cNvPr id="2" name="スライド番号プレースホルダー 1"/>
          <p:cNvSpPr>
            <a:spLocks noGrp="1"/>
          </p:cNvSpPr>
          <p:nvPr>
            <p:ph type="sldNum" sz="quarter" idx="12"/>
          </p:nvPr>
        </p:nvSpPr>
        <p:spPr/>
        <p:txBody>
          <a:bodyPr/>
          <a:lstStyle/>
          <a:p>
            <a:fld id="{7F5CE407-6216-4202-80E4-A30DC2F709B2}" type="slidenum">
              <a:rPr lang="en-US" smtClean="0"/>
              <a:pPr/>
              <a:t>7</a:t>
            </a:fld>
            <a:endParaRPr lang="en-US"/>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7313" name="Title 1"/>
          <p:cNvSpPr>
            <a:spLocks noGrp="1"/>
          </p:cNvSpPr>
          <p:nvPr>
            <p:ph type="title"/>
          </p:nvPr>
        </p:nvSpPr>
        <p:spPr>
          <a:xfrm>
            <a:off x="1619672" y="764704"/>
            <a:ext cx="7018338" cy="792088"/>
          </a:xfrm>
        </p:spPr>
        <p:txBody>
          <a:bodyPr/>
          <a:lstStyle/>
          <a:p>
            <a:pPr eaLnBrk="1" hangingPunct="1"/>
            <a:r>
              <a:rPr lang="en-AU" altLang="ja-JP" sz="3600" dirty="0" smtClean="0">
                <a:solidFill>
                  <a:srgbClr val="0000FF"/>
                </a:solidFill>
                <a:latin typeface="Arial Black"/>
                <a:cs typeface="Arial Black"/>
              </a:rPr>
              <a:t>Newly launched MLAs</a:t>
            </a:r>
          </a:p>
        </p:txBody>
      </p:sp>
      <p:sp>
        <p:nvSpPr>
          <p:cNvPr id="397314" name="Rectangle 3"/>
          <p:cNvSpPr>
            <a:spLocks noChangeArrowheads="1"/>
          </p:cNvSpPr>
          <p:nvPr/>
        </p:nvSpPr>
        <p:spPr bwMode="auto">
          <a:xfrm>
            <a:off x="522476" y="2087463"/>
            <a:ext cx="8640441" cy="4124206"/>
          </a:xfrm>
          <a:prstGeom prst="rect">
            <a:avLst/>
          </a:prstGeom>
          <a:noFill/>
          <a:ln w="9525">
            <a:noFill/>
            <a:miter lim="800000"/>
            <a:headEnd/>
            <a:tailEnd/>
          </a:ln>
        </p:spPr>
        <p:txBody>
          <a:bodyPr wrap="square">
            <a:spAutoFit/>
          </a:bodyPr>
          <a:lstStyle/>
          <a:p>
            <a:pPr marL="715963" indent="-715963">
              <a:spcBef>
                <a:spcPts val="1200"/>
              </a:spcBef>
              <a:buFont typeface="Wingdings" pitchFamily="2" charset="2"/>
              <a:buChar char="q"/>
            </a:pPr>
            <a:r>
              <a:rPr kumimoji="0" lang="en-US" altLang="zh-TW" sz="2400" b="1" dirty="0">
                <a:solidFill>
                  <a:srgbClr val="FF0000"/>
                </a:solidFill>
                <a:latin typeface="Arial" charset="0"/>
                <a:ea typeface="PMingLiU" pitchFamily="18" charset="-120"/>
                <a:cs typeface="Tahoma" pitchFamily="34" charset="0"/>
              </a:rPr>
              <a:t>Food Safety Management Systems </a:t>
            </a:r>
            <a:r>
              <a:rPr kumimoji="0" lang="en-US" altLang="zh-TW" sz="2400" b="1" dirty="0">
                <a:solidFill>
                  <a:schemeClr val="tx1"/>
                </a:solidFill>
                <a:latin typeface="Arial" charset="0"/>
                <a:ea typeface="PMingLiU" pitchFamily="18" charset="-120"/>
                <a:cs typeface="Tahoma" pitchFamily="34" charset="0"/>
              </a:rPr>
              <a:t>(FSMS) </a:t>
            </a:r>
            <a:endParaRPr kumimoji="0" lang="en-US" altLang="ja-JP" sz="2400" b="1" dirty="0">
              <a:solidFill>
                <a:schemeClr val="tx1"/>
              </a:solidFill>
              <a:latin typeface="Arial" charset="0"/>
              <a:ea typeface="PMingLiU" pitchFamily="18" charset="-120"/>
              <a:cs typeface="Tahoma" pitchFamily="34" charset="0"/>
            </a:endParaRPr>
          </a:p>
          <a:p>
            <a:pPr marL="715963" indent="-715963">
              <a:spcBef>
                <a:spcPts val="1200"/>
              </a:spcBef>
              <a:buFont typeface="Wingdings" pitchFamily="2" charset="2"/>
              <a:buNone/>
            </a:pPr>
            <a:r>
              <a:rPr kumimoji="0" lang="en-US" altLang="ja-JP" sz="2400" b="1" dirty="0">
                <a:solidFill>
                  <a:schemeClr val="tx1"/>
                </a:solidFill>
                <a:latin typeface="Arial" charset="0"/>
                <a:ea typeface="PMingLiU" pitchFamily="18" charset="-120"/>
                <a:cs typeface="Tahoma" pitchFamily="34" charset="0"/>
              </a:rPr>
              <a:t>	-</a:t>
            </a:r>
            <a:r>
              <a:rPr kumimoji="0" lang="en-US" altLang="zh-TW" sz="2400" b="1" dirty="0" smtClean="0">
                <a:solidFill>
                  <a:schemeClr val="tx1"/>
                </a:solidFill>
                <a:latin typeface="Arial" charset="0"/>
                <a:ea typeface="PMingLiU" pitchFamily="18" charset="-120"/>
                <a:cs typeface="Tahoma" pitchFamily="34" charset="0"/>
              </a:rPr>
              <a:t> launched </a:t>
            </a:r>
            <a:r>
              <a:rPr kumimoji="0" lang="en-US" altLang="zh-TW" sz="2400" b="1" dirty="0">
                <a:solidFill>
                  <a:schemeClr val="tx1"/>
                </a:solidFill>
                <a:latin typeface="Arial" charset="0"/>
                <a:ea typeface="PMingLiU" pitchFamily="18" charset="-120"/>
                <a:cs typeface="Tahoma" pitchFamily="34" charset="0"/>
              </a:rPr>
              <a:t>in </a:t>
            </a:r>
            <a:r>
              <a:rPr kumimoji="0" lang="en-US" altLang="zh-TW" sz="2400" b="1" dirty="0" smtClean="0">
                <a:solidFill>
                  <a:schemeClr val="tx1"/>
                </a:solidFill>
                <a:latin typeface="Arial" charset="0"/>
                <a:ea typeface="PMingLiU" pitchFamily="18" charset="-120"/>
                <a:cs typeface="Tahoma" pitchFamily="34" charset="0"/>
              </a:rPr>
              <a:t>June 2012</a:t>
            </a:r>
          </a:p>
          <a:p>
            <a:pPr marL="715963" indent="-715963">
              <a:spcBef>
                <a:spcPts val="1200"/>
              </a:spcBef>
              <a:buFont typeface="Wingdings" pitchFamily="2" charset="2"/>
              <a:buChar char="q"/>
            </a:pPr>
            <a:r>
              <a:rPr kumimoji="0" lang="en-US" altLang="zh-TW" sz="2400" b="1" dirty="0" smtClean="0">
                <a:solidFill>
                  <a:srgbClr val="FF0000"/>
                </a:solidFill>
                <a:latin typeface="Arial" charset="0"/>
                <a:ea typeface="PMingLiU" pitchFamily="18" charset="-120"/>
                <a:cs typeface="Tahoma" pitchFamily="34" charset="0"/>
              </a:rPr>
              <a:t>Greenhouse Gases </a:t>
            </a:r>
            <a:r>
              <a:rPr kumimoji="0" lang="en-US" altLang="zh-TW" sz="2400" b="1" dirty="0" smtClean="0">
                <a:solidFill>
                  <a:schemeClr val="tx1"/>
                </a:solidFill>
                <a:latin typeface="Arial" charset="0"/>
                <a:ea typeface="PMingLiU" pitchFamily="18" charset="-120"/>
                <a:cs typeface="Tahoma" pitchFamily="34" charset="0"/>
              </a:rPr>
              <a:t>(GHG) </a:t>
            </a:r>
            <a:endParaRPr kumimoji="0" lang="en-US" altLang="ja-JP" sz="2400" b="1" dirty="0" smtClean="0">
              <a:solidFill>
                <a:schemeClr val="tx1"/>
              </a:solidFill>
              <a:latin typeface="Arial" charset="0"/>
              <a:ea typeface="PMingLiU" pitchFamily="18" charset="-120"/>
              <a:cs typeface="Tahoma" pitchFamily="34" charset="0"/>
            </a:endParaRPr>
          </a:p>
          <a:p>
            <a:pPr marL="715963" indent="-715963">
              <a:spcBef>
                <a:spcPts val="1200"/>
              </a:spcBef>
              <a:buFont typeface="Wingdings" pitchFamily="2" charset="2"/>
              <a:buNone/>
            </a:pPr>
            <a:r>
              <a:rPr kumimoji="0" lang="en-US" altLang="ja-JP" sz="2400" b="1" dirty="0">
                <a:solidFill>
                  <a:schemeClr val="tx1"/>
                </a:solidFill>
                <a:latin typeface="Arial" charset="0"/>
                <a:ea typeface="PMingLiU" pitchFamily="18" charset="-120"/>
                <a:cs typeface="Tahoma" pitchFamily="34" charset="0"/>
              </a:rPr>
              <a:t>	</a:t>
            </a:r>
            <a:r>
              <a:rPr kumimoji="0" lang="en-US" altLang="ja-JP" sz="2400" b="1" dirty="0" smtClean="0">
                <a:solidFill>
                  <a:schemeClr val="tx1"/>
                </a:solidFill>
                <a:latin typeface="Arial" charset="0"/>
                <a:ea typeface="PMingLiU" pitchFamily="18" charset="-120"/>
                <a:cs typeface="Tahoma" pitchFamily="34" charset="0"/>
              </a:rPr>
              <a:t>- </a:t>
            </a:r>
            <a:r>
              <a:rPr kumimoji="0" lang="en-US" altLang="zh-TW" sz="2400" b="1" dirty="0">
                <a:solidFill>
                  <a:schemeClr val="tx1"/>
                </a:solidFill>
                <a:latin typeface="Arial" charset="0"/>
                <a:ea typeface="PMingLiU" pitchFamily="18" charset="-120"/>
                <a:cs typeface="Tahoma" pitchFamily="34" charset="0"/>
              </a:rPr>
              <a:t>launched in June </a:t>
            </a:r>
            <a:r>
              <a:rPr kumimoji="0" lang="en-US" altLang="zh-TW" sz="2400" b="1" dirty="0" smtClean="0">
                <a:solidFill>
                  <a:schemeClr val="tx1"/>
                </a:solidFill>
                <a:latin typeface="Arial" charset="0"/>
                <a:ea typeface="PMingLiU" pitchFamily="18" charset="-120"/>
                <a:cs typeface="Tahoma" pitchFamily="34" charset="0"/>
              </a:rPr>
              <a:t>2012</a:t>
            </a:r>
          </a:p>
          <a:p>
            <a:pPr marL="715963" lvl="0" indent="-715963">
              <a:spcBef>
                <a:spcPts val="1200"/>
              </a:spcBef>
              <a:buFont typeface="Wingdings" pitchFamily="2" charset="2"/>
              <a:buChar char="q"/>
            </a:pPr>
            <a:r>
              <a:rPr kumimoji="0" lang="en-US" altLang="zh-TW" sz="2400" b="1" dirty="0">
                <a:solidFill>
                  <a:srgbClr val="FF0000"/>
                </a:solidFill>
                <a:latin typeface="Arial" charset="0"/>
                <a:ea typeface="PMingLiU" pitchFamily="18" charset="-120"/>
                <a:cs typeface="Tahoma" pitchFamily="34" charset="0"/>
              </a:rPr>
              <a:t>Information Security Management Systems </a:t>
            </a:r>
            <a:r>
              <a:rPr kumimoji="0" lang="en-US" altLang="zh-TW" sz="2400" b="1" dirty="0">
                <a:solidFill>
                  <a:prstClr val="black"/>
                </a:solidFill>
                <a:latin typeface="Arial" charset="0"/>
                <a:ea typeface="PMingLiU" pitchFamily="18" charset="-120"/>
                <a:cs typeface="Tahoma" pitchFamily="34" charset="0"/>
              </a:rPr>
              <a:t>(ISMS</a:t>
            </a:r>
            <a:r>
              <a:rPr kumimoji="0" lang="en-US" altLang="zh-TW" sz="2400" b="1" dirty="0" smtClean="0">
                <a:solidFill>
                  <a:prstClr val="black"/>
                </a:solidFill>
                <a:latin typeface="Arial" charset="0"/>
                <a:ea typeface="PMingLiU" pitchFamily="18" charset="-120"/>
                <a:cs typeface="Tahoma" pitchFamily="34" charset="0"/>
              </a:rPr>
              <a:t>)</a:t>
            </a:r>
          </a:p>
          <a:p>
            <a:pPr lvl="0">
              <a:spcBef>
                <a:spcPts val="1200"/>
              </a:spcBef>
            </a:pPr>
            <a:r>
              <a:rPr kumimoji="0" lang="en-US" altLang="zh-TW" sz="2400" b="1" dirty="0" smtClean="0">
                <a:solidFill>
                  <a:prstClr val="black"/>
                </a:solidFill>
                <a:latin typeface="Arial" charset="0"/>
                <a:ea typeface="PMingLiU" pitchFamily="18" charset="-120"/>
                <a:cs typeface="Tahoma" pitchFamily="34" charset="0"/>
              </a:rPr>
              <a:t>        - launched </a:t>
            </a:r>
            <a:r>
              <a:rPr kumimoji="0" lang="en-US" altLang="zh-TW" sz="2400" b="1" dirty="0">
                <a:solidFill>
                  <a:prstClr val="black"/>
                </a:solidFill>
                <a:latin typeface="Arial" charset="0"/>
                <a:ea typeface="PMingLiU" pitchFamily="18" charset="-120"/>
                <a:cs typeface="Tahoma" pitchFamily="34" charset="0"/>
              </a:rPr>
              <a:t>in </a:t>
            </a:r>
            <a:r>
              <a:rPr kumimoji="0" lang="en-US" altLang="zh-TW" sz="2400" b="1" dirty="0" smtClean="0">
                <a:solidFill>
                  <a:prstClr val="black"/>
                </a:solidFill>
                <a:latin typeface="Arial" charset="0"/>
                <a:ea typeface="PMingLiU" pitchFamily="18" charset="-120"/>
                <a:cs typeface="Tahoma" pitchFamily="34" charset="0"/>
              </a:rPr>
              <a:t>February 2013</a:t>
            </a:r>
            <a:endParaRPr kumimoji="0" lang="en-US" altLang="zh-TW" sz="2400" b="1" dirty="0">
              <a:solidFill>
                <a:prstClr val="black"/>
              </a:solidFill>
              <a:latin typeface="Arial" charset="0"/>
              <a:ea typeface="PMingLiU" pitchFamily="18" charset="-120"/>
              <a:cs typeface="Tahoma" pitchFamily="34" charset="0"/>
            </a:endParaRPr>
          </a:p>
          <a:p>
            <a:pPr marL="715963" lvl="0" indent="-715963">
              <a:spcBef>
                <a:spcPts val="1200"/>
              </a:spcBef>
              <a:buFont typeface="Wingdings" pitchFamily="2" charset="2"/>
              <a:buChar char="q"/>
            </a:pPr>
            <a:r>
              <a:rPr kumimoji="0" lang="en-US" altLang="zh-TW" sz="2400" b="1" dirty="0">
                <a:solidFill>
                  <a:srgbClr val="FF0000"/>
                </a:solidFill>
                <a:latin typeface="Arial" charset="0"/>
                <a:ea typeface="PMingLiU" pitchFamily="18" charset="-120"/>
                <a:cs typeface="Tahoma" pitchFamily="34" charset="0"/>
              </a:rPr>
              <a:t>Certification of Persons</a:t>
            </a:r>
            <a:r>
              <a:rPr kumimoji="0" lang="en-US" altLang="zh-TW" sz="2400" b="1" dirty="0">
                <a:solidFill>
                  <a:prstClr val="black"/>
                </a:solidFill>
                <a:latin typeface="Arial" charset="0"/>
                <a:ea typeface="PMingLiU" pitchFamily="18" charset="-120"/>
                <a:cs typeface="Tahoma" pitchFamily="34" charset="0"/>
              </a:rPr>
              <a:t> </a:t>
            </a:r>
            <a:endParaRPr kumimoji="0" lang="en-US" altLang="ja-JP" sz="2400" b="1" dirty="0">
              <a:solidFill>
                <a:prstClr val="black"/>
              </a:solidFill>
              <a:latin typeface="Arial" charset="0"/>
              <a:ea typeface="PMingLiU" pitchFamily="18" charset="-120"/>
              <a:cs typeface="Tahoma" pitchFamily="34" charset="0"/>
            </a:endParaRPr>
          </a:p>
          <a:p>
            <a:pPr marL="715963" lvl="0" indent="-715963">
              <a:spcBef>
                <a:spcPts val="1200"/>
              </a:spcBef>
            </a:pPr>
            <a:r>
              <a:rPr kumimoji="0" lang="en-US" altLang="ja-JP" sz="2400" b="1" dirty="0">
                <a:solidFill>
                  <a:prstClr val="black"/>
                </a:solidFill>
                <a:latin typeface="Arial" charset="0"/>
                <a:ea typeface="PMingLiU" pitchFamily="18" charset="-120"/>
                <a:cs typeface="Tahoma" pitchFamily="34" charset="0"/>
              </a:rPr>
              <a:t>	</a:t>
            </a:r>
            <a:r>
              <a:rPr kumimoji="0" lang="en-US" altLang="zh-TW" sz="2400" b="1" dirty="0">
                <a:solidFill>
                  <a:prstClr val="black"/>
                </a:solidFill>
                <a:latin typeface="Arial" charset="0"/>
                <a:ea typeface="PMingLiU" pitchFamily="18" charset="-120"/>
                <a:cs typeface="Tahoma" pitchFamily="34" charset="0"/>
              </a:rPr>
              <a:t>- to be launched in </a:t>
            </a:r>
            <a:r>
              <a:rPr kumimoji="0" lang="en-US" altLang="zh-TW" sz="2400" b="1" dirty="0" smtClean="0">
                <a:solidFill>
                  <a:prstClr val="black"/>
                </a:solidFill>
                <a:latin typeface="Arial" charset="0"/>
                <a:ea typeface="PMingLiU" pitchFamily="18" charset="-120"/>
                <a:cs typeface="Tahoma" pitchFamily="34" charset="0"/>
              </a:rPr>
              <a:t>2013</a:t>
            </a:r>
            <a:endParaRPr kumimoji="0" lang="en-US" altLang="zh-TW" sz="2400" b="1" dirty="0">
              <a:solidFill>
                <a:prstClr val="black"/>
              </a:solidFill>
              <a:latin typeface="Arial" charset="0"/>
              <a:ea typeface="PMingLiU" pitchFamily="18" charset="-120"/>
              <a:cs typeface="Tahoma" pitchFamily="34" charset="0"/>
            </a:endParaRPr>
          </a:p>
        </p:txBody>
      </p:sp>
      <p:pic>
        <p:nvPicPr>
          <p:cNvPr id="397315" name="Picture 4"/>
          <p:cNvPicPr>
            <a:picLocks noChangeAspect="1"/>
          </p:cNvPicPr>
          <p:nvPr/>
        </p:nvPicPr>
        <p:blipFill>
          <a:blip r:embed="rId3"/>
          <a:srcRect/>
          <a:stretch>
            <a:fillRect/>
          </a:stretch>
        </p:blipFill>
        <p:spPr bwMode="auto">
          <a:xfrm>
            <a:off x="0" y="116632"/>
            <a:ext cx="1979613" cy="1168400"/>
          </a:xfrm>
          <a:prstGeom prst="rect">
            <a:avLst/>
          </a:prstGeom>
          <a:noFill/>
          <a:ln w="9525">
            <a:noFill/>
            <a:miter lim="800000"/>
            <a:headEnd/>
            <a:tailEnd/>
          </a:ln>
        </p:spPr>
      </p:pic>
      <p:sp>
        <p:nvSpPr>
          <p:cNvPr id="2" name="スライド番号プレースホルダー 1"/>
          <p:cNvSpPr>
            <a:spLocks noGrp="1"/>
          </p:cNvSpPr>
          <p:nvPr>
            <p:ph type="sldNum" sz="quarter" idx="12"/>
          </p:nvPr>
        </p:nvSpPr>
        <p:spPr/>
        <p:txBody>
          <a:bodyPr/>
          <a:lstStyle/>
          <a:p>
            <a:fld id="{7F5CE407-6216-4202-80E4-A30DC2F709B2}" type="slidenum">
              <a:rPr lang="en-US" smtClean="0"/>
              <a:pPr/>
              <a:t>8</a:t>
            </a:fld>
            <a:endParaRPr lang="en-US"/>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27584" y="2780928"/>
            <a:ext cx="7704856" cy="2954655"/>
          </a:xfrm>
          <a:prstGeom prst="rect">
            <a:avLst/>
          </a:prstGeom>
        </p:spPr>
        <p:txBody>
          <a:bodyPr wrap="square">
            <a:spAutoFit/>
          </a:bodyPr>
          <a:lstStyle/>
          <a:p>
            <a:pPr marL="542925" indent="-542925">
              <a:buClr>
                <a:srgbClr val="FF0000"/>
              </a:buClr>
              <a:buFont typeface="Wingdings" pitchFamily="2" charset="2"/>
              <a:buChar char="q"/>
              <a:tabLst>
                <a:tab pos="542925" algn="l"/>
              </a:tabLst>
            </a:pPr>
            <a:r>
              <a:rPr kumimoji="0" lang="en-AU" altLang="zh-TW" sz="2400" b="1" dirty="0" smtClean="0">
                <a:solidFill>
                  <a:schemeClr val="tx1"/>
                </a:solidFill>
                <a:latin typeface="Arial" charset="0"/>
                <a:ea typeface="PMingLiU" pitchFamily="18" charset="-120"/>
                <a:cs typeface="Tahoma" pitchFamily="34" charset="0"/>
              </a:rPr>
              <a:t>Recognised need in the region for a MLA (complements stated APEC priorities)</a:t>
            </a:r>
          </a:p>
          <a:p>
            <a:pPr marL="542925" indent="-542925">
              <a:buClr>
                <a:srgbClr val="FF0000"/>
              </a:buClr>
              <a:buFont typeface="Wingdings" pitchFamily="2" charset="2"/>
              <a:buChar char="q"/>
              <a:tabLst>
                <a:tab pos="542925" algn="l"/>
              </a:tabLst>
            </a:pPr>
            <a:endParaRPr kumimoji="0" lang="en-AU" altLang="zh-TW" sz="2400" b="1" dirty="0">
              <a:solidFill>
                <a:schemeClr val="tx1"/>
              </a:solidFill>
              <a:latin typeface="Arial" charset="0"/>
              <a:ea typeface="PMingLiU" pitchFamily="18" charset="-120"/>
              <a:cs typeface="Tahoma" pitchFamily="34" charset="0"/>
            </a:endParaRPr>
          </a:p>
          <a:p>
            <a:pPr marL="542925" indent="-542925">
              <a:buClr>
                <a:srgbClr val="FF0000"/>
              </a:buClr>
              <a:buFont typeface="Wingdings" pitchFamily="2" charset="2"/>
              <a:buChar char="q"/>
              <a:tabLst>
                <a:tab pos="542925" algn="l"/>
              </a:tabLst>
            </a:pPr>
            <a:r>
              <a:rPr kumimoji="0" lang="en-AU" altLang="ja-JP" sz="2400" b="1" dirty="0">
                <a:solidFill>
                  <a:schemeClr val="tx1"/>
                </a:solidFill>
                <a:latin typeface="Arial" charset="0"/>
              </a:rPr>
              <a:t>International Standard is available for use</a:t>
            </a:r>
          </a:p>
          <a:p>
            <a:pPr>
              <a:buClr>
                <a:srgbClr val="FF0000"/>
              </a:buClr>
              <a:tabLst>
                <a:tab pos="542925" algn="l"/>
              </a:tabLst>
            </a:pPr>
            <a:endParaRPr kumimoji="0" lang="en-AU" altLang="zh-TW" sz="2400" b="1" dirty="0">
              <a:solidFill>
                <a:schemeClr val="tx1"/>
              </a:solidFill>
              <a:latin typeface="Arial" charset="0"/>
              <a:ea typeface="PMingLiU" pitchFamily="18" charset="-120"/>
              <a:cs typeface="Tahoma" pitchFamily="34" charset="0"/>
            </a:endParaRPr>
          </a:p>
          <a:p>
            <a:pPr marL="542925" indent="-542925">
              <a:buClr>
                <a:srgbClr val="FF0000"/>
              </a:buClr>
              <a:buFont typeface="Wingdings" pitchFamily="2" charset="2"/>
              <a:buChar char="q"/>
              <a:tabLst>
                <a:tab pos="542925" algn="l"/>
              </a:tabLst>
            </a:pPr>
            <a:r>
              <a:rPr kumimoji="0" lang="en-AU" altLang="zh-TW" sz="2400" b="1" dirty="0">
                <a:solidFill>
                  <a:schemeClr val="tx1"/>
                </a:solidFill>
                <a:latin typeface="Arial" charset="0"/>
                <a:ea typeface="PMingLiU" pitchFamily="18" charset="-120"/>
                <a:cs typeface="Tahoma" pitchFamily="34" charset="0"/>
              </a:rPr>
              <a:t>Membership of PAC are performing accreditations to this </a:t>
            </a:r>
            <a:r>
              <a:rPr kumimoji="0" lang="en-AU" altLang="zh-TW" sz="2400" b="1" dirty="0" smtClean="0">
                <a:solidFill>
                  <a:schemeClr val="tx1"/>
                </a:solidFill>
                <a:latin typeface="Arial" charset="0"/>
                <a:ea typeface="PMingLiU" pitchFamily="18" charset="-120"/>
                <a:cs typeface="Tahoma" pitchFamily="34" charset="0"/>
              </a:rPr>
              <a:t>standard (Market needs)</a:t>
            </a:r>
            <a:endParaRPr kumimoji="0" lang="en-AU" altLang="zh-TW" sz="2400" b="1" dirty="0">
              <a:solidFill>
                <a:schemeClr val="tx1"/>
              </a:solidFill>
              <a:latin typeface="Arial" charset="0"/>
              <a:ea typeface="PMingLiU" pitchFamily="18" charset="-120"/>
              <a:cs typeface="Tahoma" pitchFamily="34" charset="0"/>
            </a:endParaRPr>
          </a:p>
          <a:p>
            <a:pPr marL="542925" indent="-542925">
              <a:buClr>
                <a:srgbClr val="FF0000"/>
              </a:buClr>
              <a:buFont typeface="Wingdings" pitchFamily="2" charset="2"/>
              <a:buChar char="q"/>
              <a:tabLst>
                <a:tab pos="542925" algn="l"/>
              </a:tabLst>
            </a:pPr>
            <a:endParaRPr kumimoji="0" lang="en-US" altLang="zh-TW" b="1" dirty="0">
              <a:solidFill>
                <a:schemeClr val="tx2"/>
              </a:solidFill>
              <a:latin typeface="Arial" charset="0"/>
              <a:ea typeface="PMingLiU" pitchFamily="18" charset="-120"/>
              <a:cs typeface="Tahoma" pitchFamily="34" charset="0"/>
            </a:endParaRPr>
          </a:p>
        </p:txBody>
      </p:sp>
      <p:pic>
        <p:nvPicPr>
          <p:cNvPr id="3" name="Picture 3"/>
          <p:cNvPicPr>
            <a:picLocks noChangeAspect="1"/>
          </p:cNvPicPr>
          <p:nvPr/>
        </p:nvPicPr>
        <p:blipFill>
          <a:blip r:embed="rId3"/>
          <a:srcRect/>
          <a:stretch>
            <a:fillRect/>
          </a:stretch>
        </p:blipFill>
        <p:spPr bwMode="auto">
          <a:xfrm>
            <a:off x="0" y="116632"/>
            <a:ext cx="1979613" cy="1168400"/>
          </a:xfrm>
          <a:prstGeom prst="rect">
            <a:avLst/>
          </a:prstGeom>
          <a:noFill/>
          <a:ln w="9525">
            <a:noFill/>
            <a:miter lim="800000"/>
            <a:headEnd/>
            <a:tailEnd/>
          </a:ln>
        </p:spPr>
      </p:pic>
      <p:sp>
        <p:nvSpPr>
          <p:cNvPr id="4" name="Text Box 5"/>
          <p:cNvSpPr txBox="1">
            <a:spLocks noChangeArrowheads="1"/>
          </p:cNvSpPr>
          <p:nvPr/>
        </p:nvSpPr>
        <p:spPr bwMode="auto">
          <a:xfrm>
            <a:off x="1907704" y="476672"/>
            <a:ext cx="5688632" cy="1200329"/>
          </a:xfrm>
          <a:prstGeom prst="rect">
            <a:avLst/>
          </a:prstGeom>
          <a:noFill/>
          <a:ln w="9525">
            <a:noFill/>
            <a:miter lim="800000"/>
            <a:headEnd/>
            <a:tailEnd/>
          </a:ln>
        </p:spPr>
        <p:txBody>
          <a:bodyPr wrap="square">
            <a:spAutoFit/>
          </a:bodyPr>
          <a:lstStyle/>
          <a:p>
            <a:pPr algn="ctr">
              <a:spcBef>
                <a:spcPct val="50000"/>
              </a:spcBef>
            </a:pPr>
            <a:r>
              <a:rPr lang="en-AU" altLang="ja-JP" sz="3600" dirty="0" smtClean="0">
                <a:solidFill>
                  <a:srgbClr val="0000FF"/>
                </a:solidFill>
                <a:latin typeface="Arial Black"/>
                <a:cs typeface="Arial Black"/>
              </a:rPr>
              <a:t>Rationale to develop a new MLA</a:t>
            </a:r>
            <a:endParaRPr lang="ja-JP" altLang="en-US" sz="3600" b="1" dirty="0">
              <a:solidFill>
                <a:srgbClr val="0000FF"/>
              </a:solidFill>
              <a:latin typeface="Arial Black"/>
              <a:cs typeface="Arial Black"/>
            </a:endParaRPr>
          </a:p>
        </p:txBody>
      </p:sp>
      <p:sp>
        <p:nvSpPr>
          <p:cNvPr id="5" name="スライド番号プレースホルダー 4"/>
          <p:cNvSpPr>
            <a:spLocks noGrp="1"/>
          </p:cNvSpPr>
          <p:nvPr>
            <p:ph type="sldNum" sz="quarter" idx="12"/>
          </p:nvPr>
        </p:nvSpPr>
        <p:spPr/>
        <p:txBody>
          <a:bodyPr/>
          <a:lstStyle/>
          <a:p>
            <a:fld id="{7F5CE407-6216-4202-80E4-A30DC2F709B2}" type="slidenum">
              <a:rPr lang="en-US" smtClean="0"/>
              <a:pPr/>
              <a:t>9</a:t>
            </a:fld>
            <a:endParaRPr lang="en-US"/>
          </a:p>
        </p:txBody>
      </p:sp>
    </p:spTree>
    <p:extLst>
      <p:ext uri="{BB962C8B-B14F-4D97-AF65-F5344CB8AC3E}">
        <p14:creationId xmlns:p14="http://schemas.microsoft.com/office/powerpoint/2010/main" xmlns="" val="19962793"/>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heme/_rels/theme31.xml.rels><?xml version="1.0" encoding="UTF-8" standalone="yes"?>
<Relationships xmlns="http://schemas.openxmlformats.org/package/2006/relationships"><Relationship Id="rId1" Type="http://schemas.openxmlformats.org/officeDocument/2006/relationships/image" Target="../media/image6.jpeg"/></Relationships>
</file>

<file path=ppt/theme/theme1.xml><?xml version="1.0" encoding="utf-8"?>
<a:theme xmlns:a="http://schemas.openxmlformats.org/drawingml/2006/main" name="タイトル &amp; 箇条書き">
  <a:themeElements>
    <a:clrScheme name="">
      <a:dk1>
        <a:srgbClr val="5F7BAE"/>
      </a:dk1>
      <a:lt1>
        <a:srgbClr val="A08451"/>
      </a:lt1>
      <a:dk2>
        <a:srgbClr val="000000"/>
      </a:dk2>
      <a:lt2>
        <a:srgbClr val="808080"/>
      </a:lt2>
      <a:accent1>
        <a:srgbClr val="6796EB"/>
      </a:accent1>
      <a:accent2>
        <a:srgbClr val="333399"/>
      </a:accent2>
      <a:accent3>
        <a:srgbClr val="CDC2B3"/>
      </a:accent3>
      <a:accent4>
        <a:srgbClr val="506894"/>
      </a:accent4>
      <a:accent5>
        <a:srgbClr val="B8C9F3"/>
      </a:accent5>
      <a:accent6>
        <a:srgbClr val="2D2D8A"/>
      </a:accent6>
      <a:hlink>
        <a:srgbClr val="009999"/>
      </a:hlink>
      <a:folHlink>
        <a:srgbClr val="99CC00"/>
      </a:folHlink>
    </a:clrScheme>
    <a:fontScheme name="タイトル &amp; 箇条書き">
      <a:majorFont>
        <a:latin typeface="Herculanum"/>
        <a:ea typeface="ヒラギノ明朝 ProN W3"/>
        <a:cs typeface="ヒラギノ明朝 ProN W3"/>
      </a:majorFont>
      <a:minorFont>
        <a:latin typeface="Palatino"/>
        <a:ea typeface="ヒラギノ明朝 ProN W3"/>
        <a:cs typeface="ヒラギノ明朝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spDef>
    <a:ln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lnDef>
  </a:objectDefaults>
  <a:extraClrSchemeLst>
    <a:extraClrScheme>
      <a:clrScheme name="タイトル &amp; 箇条書き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タイトル &amp; 箇条書き（2 段組み）">
  <a:themeElements>
    <a:clrScheme name="">
      <a:dk1>
        <a:srgbClr val="5F7BAE"/>
      </a:dk1>
      <a:lt1>
        <a:srgbClr val="A08451"/>
      </a:lt1>
      <a:dk2>
        <a:srgbClr val="000000"/>
      </a:dk2>
      <a:lt2>
        <a:srgbClr val="808080"/>
      </a:lt2>
      <a:accent1>
        <a:srgbClr val="6796EB"/>
      </a:accent1>
      <a:accent2>
        <a:srgbClr val="333399"/>
      </a:accent2>
      <a:accent3>
        <a:srgbClr val="CDC2B3"/>
      </a:accent3>
      <a:accent4>
        <a:srgbClr val="506894"/>
      </a:accent4>
      <a:accent5>
        <a:srgbClr val="B8C9F3"/>
      </a:accent5>
      <a:accent6>
        <a:srgbClr val="2D2D8A"/>
      </a:accent6>
      <a:hlink>
        <a:srgbClr val="009999"/>
      </a:hlink>
      <a:folHlink>
        <a:srgbClr val="99CC00"/>
      </a:folHlink>
    </a:clrScheme>
    <a:fontScheme name="タイトル &amp; 箇条書き（2 段組み）">
      <a:majorFont>
        <a:latin typeface="Herculanum"/>
        <a:ea typeface="ヒラギノ明朝 ProN W3"/>
        <a:cs typeface="ヒラギノ明朝 ProN W3"/>
      </a:majorFont>
      <a:minorFont>
        <a:latin typeface="Palatino"/>
        <a:ea typeface="ヒラギノ明朝 ProN W3"/>
        <a:cs typeface="ヒラギノ明朝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spDef>
    <a:ln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lnDef>
  </a:objectDefaults>
  <a:extraClrSchemeLst>
    <a:extraClrScheme>
      <a:clrScheme name="タイトル &amp; 箇条書き（2 段組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タイトル、箇条書き、画像">
  <a:themeElements>
    <a:clrScheme name="">
      <a:dk1>
        <a:srgbClr val="5F7BAE"/>
      </a:dk1>
      <a:lt1>
        <a:srgbClr val="A08451"/>
      </a:lt1>
      <a:dk2>
        <a:srgbClr val="000000"/>
      </a:dk2>
      <a:lt2>
        <a:srgbClr val="808080"/>
      </a:lt2>
      <a:accent1>
        <a:srgbClr val="6796EB"/>
      </a:accent1>
      <a:accent2>
        <a:srgbClr val="333399"/>
      </a:accent2>
      <a:accent3>
        <a:srgbClr val="CDC2B3"/>
      </a:accent3>
      <a:accent4>
        <a:srgbClr val="506894"/>
      </a:accent4>
      <a:accent5>
        <a:srgbClr val="B8C9F3"/>
      </a:accent5>
      <a:accent6>
        <a:srgbClr val="2D2D8A"/>
      </a:accent6>
      <a:hlink>
        <a:srgbClr val="009999"/>
      </a:hlink>
      <a:folHlink>
        <a:srgbClr val="99CC00"/>
      </a:folHlink>
    </a:clrScheme>
    <a:fontScheme name="タイトル、箇条書き、画像">
      <a:majorFont>
        <a:latin typeface="Herculanum"/>
        <a:ea typeface="ヒラギノ明朝 ProN W3"/>
        <a:cs typeface="ヒラギノ明朝 ProN W3"/>
      </a:majorFont>
      <a:minorFont>
        <a:latin typeface="Palatino"/>
        <a:ea typeface="ヒラギノ明朝 ProN W3"/>
        <a:cs typeface="ヒラギノ明朝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spDef>
    <a:ln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lnDef>
  </a:objectDefaults>
  <a:extraClrSchemeLst>
    <a:extraClrScheme>
      <a:clrScheme name="タイトル、箇条書き、画像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タイトル &amp; 箇条書き（右）">
  <a:themeElements>
    <a:clrScheme name="">
      <a:dk1>
        <a:srgbClr val="5F7BAE"/>
      </a:dk1>
      <a:lt1>
        <a:srgbClr val="A08451"/>
      </a:lt1>
      <a:dk2>
        <a:srgbClr val="000000"/>
      </a:dk2>
      <a:lt2>
        <a:srgbClr val="808080"/>
      </a:lt2>
      <a:accent1>
        <a:srgbClr val="6796EB"/>
      </a:accent1>
      <a:accent2>
        <a:srgbClr val="333399"/>
      </a:accent2>
      <a:accent3>
        <a:srgbClr val="CDC2B3"/>
      </a:accent3>
      <a:accent4>
        <a:srgbClr val="506894"/>
      </a:accent4>
      <a:accent5>
        <a:srgbClr val="B8C9F3"/>
      </a:accent5>
      <a:accent6>
        <a:srgbClr val="2D2D8A"/>
      </a:accent6>
      <a:hlink>
        <a:srgbClr val="009999"/>
      </a:hlink>
      <a:folHlink>
        <a:srgbClr val="99CC00"/>
      </a:folHlink>
    </a:clrScheme>
    <a:fontScheme name="タイトル &amp; 箇条書き（右）">
      <a:majorFont>
        <a:latin typeface="Herculanum"/>
        <a:ea typeface="ヒラギノ明朝 ProN W3"/>
        <a:cs typeface="ヒラギノ明朝 ProN W3"/>
      </a:majorFont>
      <a:minorFont>
        <a:latin typeface="Palatino"/>
        <a:ea typeface="ヒラギノ明朝 ProN W3"/>
        <a:cs typeface="ヒラギノ明朝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spDef>
    <a:ln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lnDef>
  </a:objectDefaults>
  <a:extraClrSchemeLst>
    <a:extraClrScheme>
      <a:clrScheme name="タイトル &amp; 箇条書き（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blank">
  <a:themeElements>
    <a:clrScheme name="">
      <a:dk1>
        <a:srgbClr val="000000"/>
      </a:dk1>
      <a:lt1>
        <a:srgbClr val="FFFFFF"/>
      </a:lt1>
      <a:dk2>
        <a:srgbClr val="000000"/>
      </a:dk2>
      <a:lt2>
        <a:srgbClr val="808080"/>
      </a:lt2>
      <a:accent1>
        <a:srgbClr val="4F81BD"/>
      </a:accent1>
      <a:accent2>
        <a:srgbClr val="333399"/>
      </a:accent2>
      <a:accent3>
        <a:srgbClr val="FFFFFF"/>
      </a:accent3>
      <a:accent4>
        <a:srgbClr val="000000"/>
      </a:accent4>
      <a:accent5>
        <a:srgbClr val="B2C1DB"/>
      </a:accent5>
      <a:accent6>
        <a:srgbClr val="2D2D8A"/>
      </a:accent6>
      <a:hlink>
        <a:srgbClr val="009999"/>
      </a:hlink>
      <a:folHlink>
        <a:srgbClr val="99CC00"/>
      </a:folHlink>
    </a:clrScheme>
    <a:fontScheme name="blank">
      <a:majorFont>
        <a:latin typeface="Lucida Grande"/>
        <a:ea typeface="ヒラギノ角ゴ ProN W3"/>
        <a:cs typeface="ヒラギノ角ゴ ProN W3"/>
      </a:majorFont>
      <a:minorFont>
        <a:latin typeface="Lucida Grande"/>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spDef>
    <a:ln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lnDef>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タイトル &amp; サブタイトル">
  <a:themeElements>
    <a:clrScheme name="">
      <a:dk1>
        <a:srgbClr val="414141"/>
      </a:dk1>
      <a:lt1>
        <a:srgbClr val="FFFFFF"/>
      </a:lt1>
      <a:dk2>
        <a:srgbClr val="000000"/>
      </a:dk2>
      <a:lt2>
        <a:srgbClr val="808080"/>
      </a:lt2>
      <a:accent1>
        <a:srgbClr val="6C7472"/>
      </a:accent1>
      <a:accent2>
        <a:srgbClr val="333399"/>
      </a:accent2>
      <a:accent3>
        <a:srgbClr val="FFFFFF"/>
      </a:accent3>
      <a:accent4>
        <a:srgbClr val="363636"/>
      </a:accent4>
      <a:accent5>
        <a:srgbClr val="BABCBC"/>
      </a:accent5>
      <a:accent6>
        <a:srgbClr val="2D2D8A"/>
      </a:accent6>
      <a:hlink>
        <a:srgbClr val="009999"/>
      </a:hlink>
      <a:folHlink>
        <a:srgbClr val="99CC00"/>
      </a:folHlink>
    </a:clrScheme>
    <a:fontScheme name="タイトル &amp; サブタイトル">
      <a:majorFont>
        <a:latin typeface="Gill Sans Light"/>
        <a:ea typeface="ヒラギノ角ゴ ProN W3"/>
        <a:cs typeface="ヒラギノ角ゴ ProN W3"/>
      </a:majorFont>
      <a:minorFont>
        <a:latin typeface="Gill Sans Light"/>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spDef>
    <a:ln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lnDef>
  </a:objectDefaults>
  <a:extraClrSchemeLst>
    <a:extraClrScheme>
      <a:clrScheme name="タイトル &amp; サブタイトル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画像（縦長）">
  <a:themeElements>
    <a:clrScheme name="">
      <a:dk1>
        <a:srgbClr val="414141"/>
      </a:dk1>
      <a:lt1>
        <a:srgbClr val="FFFFFF"/>
      </a:lt1>
      <a:dk2>
        <a:srgbClr val="000000"/>
      </a:dk2>
      <a:lt2>
        <a:srgbClr val="808080"/>
      </a:lt2>
      <a:accent1>
        <a:srgbClr val="6C7472"/>
      </a:accent1>
      <a:accent2>
        <a:srgbClr val="333399"/>
      </a:accent2>
      <a:accent3>
        <a:srgbClr val="FFFFFF"/>
      </a:accent3>
      <a:accent4>
        <a:srgbClr val="363636"/>
      </a:accent4>
      <a:accent5>
        <a:srgbClr val="BABCBC"/>
      </a:accent5>
      <a:accent6>
        <a:srgbClr val="2D2D8A"/>
      </a:accent6>
      <a:hlink>
        <a:srgbClr val="009999"/>
      </a:hlink>
      <a:folHlink>
        <a:srgbClr val="99CC00"/>
      </a:folHlink>
    </a:clrScheme>
    <a:fontScheme name="画像（縦長）">
      <a:majorFont>
        <a:latin typeface="Gill Sans Light"/>
        <a:ea typeface="ヒラギノ角ゴ ProN W3"/>
        <a:cs typeface="ヒラギノ角ゴ ProN W3"/>
      </a:majorFont>
      <a:minorFont>
        <a:latin typeface="Gill Sans Light"/>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spDef>
    <a:ln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lnDef>
  </a:objectDefaults>
  <a:extraClrSchemeLst>
    <a:extraClrScheme>
      <a:clrScheme name="画像（縦長）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画像（縦長、ダーク）">
  <a:themeElements>
    <a:clrScheme name="">
      <a:dk1>
        <a:srgbClr val="414141"/>
      </a:dk1>
      <a:lt1>
        <a:srgbClr val="FFFFFF"/>
      </a:lt1>
      <a:dk2>
        <a:srgbClr val="000000"/>
      </a:dk2>
      <a:lt2>
        <a:srgbClr val="808080"/>
      </a:lt2>
      <a:accent1>
        <a:srgbClr val="6C7472"/>
      </a:accent1>
      <a:accent2>
        <a:srgbClr val="333399"/>
      </a:accent2>
      <a:accent3>
        <a:srgbClr val="FFFFFF"/>
      </a:accent3>
      <a:accent4>
        <a:srgbClr val="363636"/>
      </a:accent4>
      <a:accent5>
        <a:srgbClr val="BABCBC"/>
      </a:accent5>
      <a:accent6>
        <a:srgbClr val="2D2D8A"/>
      </a:accent6>
      <a:hlink>
        <a:srgbClr val="009999"/>
      </a:hlink>
      <a:folHlink>
        <a:srgbClr val="99CC00"/>
      </a:folHlink>
    </a:clrScheme>
    <a:fontScheme name="画像（縦長、ダーク）">
      <a:majorFont>
        <a:latin typeface="Gill Sans Light"/>
        <a:ea typeface="ヒラギノ角ゴ ProN W3"/>
        <a:cs typeface="ヒラギノ角ゴ ProN W3"/>
      </a:majorFont>
      <a:minorFont>
        <a:latin typeface="Gill Sans Light"/>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spDef>
    <a:ln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lnDef>
  </a:objectDefaults>
  <a:extraClrSchemeLst>
    <a:extraClrScheme>
      <a:clrScheme name="画像（縦長、ダーク）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タイトル（中央）">
  <a:themeElements>
    <a:clrScheme name="">
      <a:dk1>
        <a:srgbClr val="414141"/>
      </a:dk1>
      <a:lt1>
        <a:srgbClr val="FFFFFF"/>
      </a:lt1>
      <a:dk2>
        <a:srgbClr val="000000"/>
      </a:dk2>
      <a:lt2>
        <a:srgbClr val="808080"/>
      </a:lt2>
      <a:accent1>
        <a:srgbClr val="6C7472"/>
      </a:accent1>
      <a:accent2>
        <a:srgbClr val="333399"/>
      </a:accent2>
      <a:accent3>
        <a:srgbClr val="FFFFFF"/>
      </a:accent3>
      <a:accent4>
        <a:srgbClr val="363636"/>
      </a:accent4>
      <a:accent5>
        <a:srgbClr val="BABCBC"/>
      </a:accent5>
      <a:accent6>
        <a:srgbClr val="2D2D8A"/>
      </a:accent6>
      <a:hlink>
        <a:srgbClr val="009999"/>
      </a:hlink>
      <a:folHlink>
        <a:srgbClr val="99CC00"/>
      </a:folHlink>
    </a:clrScheme>
    <a:fontScheme name="タイトル（中央）">
      <a:majorFont>
        <a:latin typeface="Gill Sans Light"/>
        <a:ea typeface="ヒラギノ角ゴ ProN W3"/>
        <a:cs typeface="ヒラギノ角ゴ ProN W3"/>
      </a:majorFont>
      <a:minorFont>
        <a:latin typeface="Gill Sans Light"/>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spDef>
    <a:ln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lnDef>
  </a:objectDefaults>
  <a:extraClrSchemeLst>
    <a:extraClrScheme>
      <a:clrScheme name="タイトル（中央）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画像（横長）">
  <a:themeElements>
    <a:clrScheme name="">
      <a:dk1>
        <a:srgbClr val="414141"/>
      </a:dk1>
      <a:lt1>
        <a:srgbClr val="FFFFFF"/>
      </a:lt1>
      <a:dk2>
        <a:srgbClr val="000000"/>
      </a:dk2>
      <a:lt2>
        <a:srgbClr val="808080"/>
      </a:lt2>
      <a:accent1>
        <a:srgbClr val="6C7472"/>
      </a:accent1>
      <a:accent2>
        <a:srgbClr val="333399"/>
      </a:accent2>
      <a:accent3>
        <a:srgbClr val="FFFFFF"/>
      </a:accent3>
      <a:accent4>
        <a:srgbClr val="363636"/>
      </a:accent4>
      <a:accent5>
        <a:srgbClr val="BABCBC"/>
      </a:accent5>
      <a:accent6>
        <a:srgbClr val="2D2D8A"/>
      </a:accent6>
      <a:hlink>
        <a:srgbClr val="009999"/>
      </a:hlink>
      <a:folHlink>
        <a:srgbClr val="99CC00"/>
      </a:folHlink>
    </a:clrScheme>
    <a:fontScheme name="画像（横長）">
      <a:majorFont>
        <a:latin typeface="Gill Sans Light"/>
        <a:ea typeface="ヒラギノ角ゴ ProN W3"/>
        <a:cs typeface="ヒラギノ角ゴ ProN W3"/>
      </a:majorFont>
      <a:minorFont>
        <a:latin typeface="Gill Sans Light"/>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spDef>
    <a:ln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lnDef>
  </a:objectDefaults>
  <a:extraClrSchemeLst>
    <a:extraClrScheme>
      <a:clrScheme name="画像（横長）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画像（横長、ダーク）">
  <a:themeElements>
    <a:clrScheme name="">
      <a:dk1>
        <a:srgbClr val="414141"/>
      </a:dk1>
      <a:lt1>
        <a:srgbClr val="FFFFFF"/>
      </a:lt1>
      <a:dk2>
        <a:srgbClr val="000000"/>
      </a:dk2>
      <a:lt2>
        <a:srgbClr val="808080"/>
      </a:lt2>
      <a:accent1>
        <a:srgbClr val="6C7472"/>
      </a:accent1>
      <a:accent2>
        <a:srgbClr val="333399"/>
      </a:accent2>
      <a:accent3>
        <a:srgbClr val="FFFFFF"/>
      </a:accent3>
      <a:accent4>
        <a:srgbClr val="363636"/>
      </a:accent4>
      <a:accent5>
        <a:srgbClr val="BABCBC"/>
      </a:accent5>
      <a:accent6>
        <a:srgbClr val="2D2D8A"/>
      </a:accent6>
      <a:hlink>
        <a:srgbClr val="009999"/>
      </a:hlink>
      <a:folHlink>
        <a:srgbClr val="99CC00"/>
      </a:folHlink>
    </a:clrScheme>
    <a:fontScheme name="画像（横長、ダーク）">
      <a:majorFont>
        <a:latin typeface="Gill Sans Light"/>
        <a:ea typeface="ヒラギノ角ゴ ProN W3"/>
        <a:cs typeface="ヒラギノ角ゴ ProN W3"/>
      </a:majorFont>
      <a:minorFont>
        <a:latin typeface="Gill Sans Light"/>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spDef>
    <a:ln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lnDef>
  </a:objectDefaults>
  <a:extraClrSchemeLst>
    <a:extraClrScheme>
      <a:clrScheme name="画像（横長、ダーク）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空白">
  <a:themeElements>
    <a:clrScheme name="">
      <a:dk1>
        <a:srgbClr val="5F7BAE"/>
      </a:dk1>
      <a:lt1>
        <a:srgbClr val="A08451"/>
      </a:lt1>
      <a:dk2>
        <a:srgbClr val="000000"/>
      </a:dk2>
      <a:lt2>
        <a:srgbClr val="808080"/>
      </a:lt2>
      <a:accent1>
        <a:srgbClr val="6796EB"/>
      </a:accent1>
      <a:accent2>
        <a:srgbClr val="333399"/>
      </a:accent2>
      <a:accent3>
        <a:srgbClr val="CDC2B3"/>
      </a:accent3>
      <a:accent4>
        <a:srgbClr val="506894"/>
      </a:accent4>
      <a:accent5>
        <a:srgbClr val="B8C9F3"/>
      </a:accent5>
      <a:accent6>
        <a:srgbClr val="2D2D8A"/>
      </a:accent6>
      <a:hlink>
        <a:srgbClr val="009999"/>
      </a:hlink>
      <a:folHlink>
        <a:srgbClr val="99CC00"/>
      </a:folHlink>
    </a:clrScheme>
    <a:fontScheme name="空白">
      <a:majorFont>
        <a:latin typeface="Herculanum"/>
        <a:ea typeface="ヒラギノ明朝 ProN W3"/>
        <a:cs typeface="ヒラギノ明朝 ProN W3"/>
      </a:majorFont>
      <a:minorFont>
        <a:latin typeface="Palatino"/>
        <a:ea typeface="ヒラギノ明朝 ProN W3"/>
        <a:cs typeface="ヒラギノ明朝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spDef>
    <a:ln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lnDef>
  </a:objectDefaults>
  <a:extraClrSchemeLst>
    <a:extraClrScheme>
      <a:clrScheme name="空白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タイトル &amp; サブタイトル（画像）">
  <a:themeElements>
    <a:clrScheme name="">
      <a:dk1>
        <a:srgbClr val="414141"/>
      </a:dk1>
      <a:lt1>
        <a:srgbClr val="FFFFFF"/>
      </a:lt1>
      <a:dk2>
        <a:srgbClr val="000000"/>
      </a:dk2>
      <a:lt2>
        <a:srgbClr val="808080"/>
      </a:lt2>
      <a:accent1>
        <a:srgbClr val="6C7472"/>
      </a:accent1>
      <a:accent2>
        <a:srgbClr val="333399"/>
      </a:accent2>
      <a:accent3>
        <a:srgbClr val="FFFFFF"/>
      </a:accent3>
      <a:accent4>
        <a:srgbClr val="363636"/>
      </a:accent4>
      <a:accent5>
        <a:srgbClr val="BABCBC"/>
      </a:accent5>
      <a:accent6>
        <a:srgbClr val="2D2D8A"/>
      </a:accent6>
      <a:hlink>
        <a:srgbClr val="009999"/>
      </a:hlink>
      <a:folHlink>
        <a:srgbClr val="99CC00"/>
      </a:folHlink>
    </a:clrScheme>
    <a:fontScheme name="タイトル &amp; サブタイトル（画像）">
      <a:majorFont>
        <a:latin typeface="Gill Sans Light"/>
        <a:ea typeface="ヒラギノ角ゴ ProN W3"/>
        <a:cs typeface="ヒラギノ角ゴ ProN W3"/>
      </a:majorFont>
      <a:minorFont>
        <a:latin typeface="Gill Sans Light"/>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spDef>
    <a:ln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lnDef>
  </a:objectDefaults>
  <a:extraClrSchemeLst>
    <a:extraClrScheme>
      <a:clrScheme name="タイトル &amp; サブタイトル（画像）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タイトル &amp; サブタイトル（画像、ダーク）">
  <a:themeElements>
    <a:clrScheme name="">
      <a:dk1>
        <a:srgbClr val="414141"/>
      </a:dk1>
      <a:lt1>
        <a:srgbClr val="FFFFFF"/>
      </a:lt1>
      <a:dk2>
        <a:srgbClr val="000000"/>
      </a:dk2>
      <a:lt2>
        <a:srgbClr val="808080"/>
      </a:lt2>
      <a:accent1>
        <a:srgbClr val="6C7472"/>
      </a:accent1>
      <a:accent2>
        <a:srgbClr val="333399"/>
      </a:accent2>
      <a:accent3>
        <a:srgbClr val="FFFFFF"/>
      </a:accent3>
      <a:accent4>
        <a:srgbClr val="363636"/>
      </a:accent4>
      <a:accent5>
        <a:srgbClr val="BABCBC"/>
      </a:accent5>
      <a:accent6>
        <a:srgbClr val="2D2D8A"/>
      </a:accent6>
      <a:hlink>
        <a:srgbClr val="009999"/>
      </a:hlink>
      <a:folHlink>
        <a:srgbClr val="99CC00"/>
      </a:folHlink>
    </a:clrScheme>
    <a:fontScheme name="タイトル &amp; サブタイトル（画像、ダーク）">
      <a:majorFont>
        <a:latin typeface="Gill Sans Light"/>
        <a:ea typeface="ヒラギノ角ゴ ProN W3"/>
        <a:cs typeface="ヒラギノ角ゴ ProN W3"/>
      </a:majorFont>
      <a:minorFont>
        <a:latin typeface="Gill Sans Light"/>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spDef>
    <a:ln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lnDef>
  </a:objectDefaults>
  <a:extraClrSchemeLst>
    <a:extraClrScheme>
      <a:clrScheme name="タイトル &amp; サブタイトル（画像、ダーク）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2.xml><?xml version="1.0" encoding="utf-8"?>
<a:theme xmlns:a="http://schemas.openxmlformats.org/drawingml/2006/main" name="タイトル &amp; 箇条書き（右）">
  <a:themeElements>
    <a:clrScheme name="">
      <a:dk1>
        <a:srgbClr val="414141"/>
      </a:dk1>
      <a:lt1>
        <a:srgbClr val="FFFFFF"/>
      </a:lt1>
      <a:dk2>
        <a:srgbClr val="000000"/>
      </a:dk2>
      <a:lt2>
        <a:srgbClr val="808080"/>
      </a:lt2>
      <a:accent1>
        <a:srgbClr val="6C7472"/>
      </a:accent1>
      <a:accent2>
        <a:srgbClr val="333399"/>
      </a:accent2>
      <a:accent3>
        <a:srgbClr val="FFFFFF"/>
      </a:accent3>
      <a:accent4>
        <a:srgbClr val="363636"/>
      </a:accent4>
      <a:accent5>
        <a:srgbClr val="BABCBC"/>
      </a:accent5>
      <a:accent6>
        <a:srgbClr val="2D2D8A"/>
      </a:accent6>
      <a:hlink>
        <a:srgbClr val="009999"/>
      </a:hlink>
      <a:folHlink>
        <a:srgbClr val="99CC00"/>
      </a:folHlink>
    </a:clrScheme>
    <a:fontScheme name="タイトル &amp; 箇条書き（右）">
      <a:majorFont>
        <a:latin typeface="Gill Sans Light"/>
        <a:ea typeface="ヒラギノ角ゴ ProN W3"/>
        <a:cs typeface="ヒラギノ角ゴ ProN W3"/>
      </a:majorFont>
      <a:minorFont>
        <a:latin typeface="Gill Sans Light"/>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spDef>
    <a:ln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lnDef>
  </a:objectDefaults>
  <a:extraClrSchemeLst>
    <a:extraClrScheme>
      <a:clrScheme name="タイトル &amp; 箇条書き（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3.xml><?xml version="1.0" encoding="utf-8"?>
<a:theme xmlns:a="http://schemas.openxmlformats.org/drawingml/2006/main" name="2_blank">
  <a:themeElements>
    <a:clrScheme name="">
      <a:dk1>
        <a:srgbClr val="000000"/>
      </a:dk1>
      <a:lt1>
        <a:srgbClr val="FFFFFF"/>
      </a:lt1>
      <a:dk2>
        <a:srgbClr val="000000"/>
      </a:dk2>
      <a:lt2>
        <a:srgbClr val="808080"/>
      </a:lt2>
      <a:accent1>
        <a:srgbClr val="4F81BD"/>
      </a:accent1>
      <a:accent2>
        <a:srgbClr val="333399"/>
      </a:accent2>
      <a:accent3>
        <a:srgbClr val="FFFFFF"/>
      </a:accent3>
      <a:accent4>
        <a:srgbClr val="000000"/>
      </a:accent4>
      <a:accent5>
        <a:srgbClr val="B2C1DB"/>
      </a:accent5>
      <a:accent6>
        <a:srgbClr val="2D2D8A"/>
      </a:accent6>
      <a:hlink>
        <a:srgbClr val="009999"/>
      </a:hlink>
      <a:folHlink>
        <a:srgbClr val="99CC00"/>
      </a:folHlink>
    </a:clrScheme>
    <a:fontScheme name="2_blank">
      <a:majorFont>
        <a:latin typeface="Lucida Grande"/>
        <a:ea typeface="ヒラギノ角ゴ ProN W3"/>
        <a:cs typeface="ヒラギノ角ゴ ProN W3"/>
      </a:majorFont>
      <a:minorFont>
        <a:latin typeface="Lucida Grande"/>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spDef>
    <a:ln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lnDef>
  </a:objectDefaults>
  <a:extraClrSchemeLst>
    <a:extraClrScheme>
      <a:clrScheme name="2_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4.xml><?xml version="1.0" encoding="utf-8"?>
<a:theme xmlns:a="http://schemas.openxmlformats.org/drawingml/2006/main" name="タイトル &amp; 箇条書き（左）">
  <a:themeElements>
    <a:clrScheme name="">
      <a:dk1>
        <a:srgbClr val="414141"/>
      </a:dk1>
      <a:lt1>
        <a:srgbClr val="FFFFFF"/>
      </a:lt1>
      <a:dk2>
        <a:srgbClr val="000000"/>
      </a:dk2>
      <a:lt2>
        <a:srgbClr val="808080"/>
      </a:lt2>
      <a:accent1>
        <a:srgbClr val="6C7472"/>
      </a:accent1>
      <a:accent2>
        <a:srgbClr val="333399"/>
      </a:accent2>
      <a:accent3>
        <a:srgbClr val="FFFFFF"/>
      </a:accent3>
      <a:accent4>
        <a:srgbClr val="363636"/>
      </a:accent4>
      <a:accent5>
        <a:srgbClr val="BABCBC"/>
      </a:accent5>
      <a:accent6>
        <a:srgbClr val="2D2D8A"/>
      </a:accent6>
      <a:hlink>
        <a:srgbClr val="009999"/>
      </a:hlink>
      <a:folHlink>
        <a:srgbClr val="99CC00"/>
      </a:folHlink>
    </a:clrScheme>
    <a:fontScheme name="タイトル &amp; 箇条書き（左）">
      <a:majorFont>
        <a:latin typeface="Gill Sans Light"/>
        <a:ea typeface="ヒラギノ角ゴ ProN W3"/>
        <a:cs typeface="ヒラギノ角ゴ ProN W3"/>
      </a:majorFont>
      <a:minorFont>
        <a:latin typeface="Gill Sans Light"/>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spDef>
    <a:ln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lnDef>
  </a:objectDefaults>
  <a:extraClrSchemeLst>
    <a:extraClrScheme>
      <a:clrScheme name="タイトル &amp; 箇条書き（左）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5.xml><?xml version="1.0" encoding="utf-8"?>
<a:theme xmlns:a="http://schemas.openxmlformats.org/drawingml/2006/main" name="タイトル、箇条書き、画像">
  <a:themeElements>
    <a:clrScheme name="">
      <a:dk1>
        <a:srgbClr val="414141"/>
      </a:dk1>
      <a:lt1>
        <a:srgbClr val="FFFFFF"/>
      </a:lt1>
      <a:dk2>
        <a:srgbClr val="000000"/>
      </a:dk2>
      <a:lt2>
        <a:srgbClr val="808080"/>
      </a:lt2>
      <a:accent1>
        <a:srgbClr val="6C7472"/>
      </a:accent1>
      <a:accent2>
        <a:srgbClr val="333399"/>
      </a:accent2>
      <a:accent3>
        <a:srgbClr val="FFFFFF"/>
      </a:accent3>
      <a:accent4>
        <a:srgbClr val="363636"/>
      </a:accent4>
      <a:accent5>
        <a:srgbClr val="BABCBC"/>
      </a:accent5>
      <a:accent6>
        <a:srgbClr val="2D2D8A"/>
      </a:accent6>
      <a:hlink>
        <a:srgbClr val="009999"/>
      </a:hlink>
      <a:folHlink>
        <a:srgbClr val="99CC00"/>
      </a:folHlink>
    </a:clrScheme>
    <a:fontScheme name="タイトル、箇条書き、画像">
      <a:majorFont>
        <a:latin typeface="Gill Sans Light"/>
        <a:ea typeface="ヒラギノ角ゴ ProN W3"/>
        <a:cs typeface="ヒラギノ角ゴ ProN W3"/>
      </a:majorFont>
      <a:minorFont>
        <a:latin typeface="Gill Sans Light"/>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spDef>
    <a:ln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lnDef>
  </a:objectDefaults>
  <a:extraClrSchemeLst>
    <a:extraClrScheme>
      <a:clrScheme name="タイトル、箇条書き、画像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6.xml><?xml version="1.0" encoding="utf-8"?>
<a:theme xmlns:a="http://schemas.openxmlformats.org/drawingml/2006/main" name="1_blank">
  <a:themeElements>
    <a:clrScheme name="">
      <a:dk1>
        <a:srgbClr val="000000"/>
      </a:dk1>
      <a:lt1>
        <a:srgbClr val="FFFFFF"/>
      </a:lt1>
      <a:dk2>
        <a:srgbClr val="000000"/>
      </a:dk2>
      <a:lt2>
        <a:srgbClr val="808080"/>
      </a:lt2>
      <a:accent1>
        <a:srgbClr val="4F81BD"/>
      </a:accent1>
      <a:accent2>
        <a:srgbClr val="333399"/>
      </a:accent2>
      <a:accent3>
        <a:srgbClr val="FFFFFF"/>
      </a:accent3>
      <a:accent4>
        <a:srgbClr val="000000"/>
      </a:accent4>
      <a:accent5>
        <a:srgbClr val="B2C1DB"/>
      </a:accent5>
      <a:accent6>
        <a:srgbClr val="2D2D8A"/>
      </a:accent6>
      <a:hlink>
        <a:srgbClr val="009999"/>
      </a:hlink>
      <a:folHlink>
        <a:srgbClr val="99CC00"/>
      </a:folHlink>
    </a:clrScheme>
    <a:fontScheme name="1_blank">
      <a:majorFont>
        <a:latin typeface="Lucida Grande"/>
        <a:ea typeface="ヒラギノ角ゴ ProN W3"/>
        <a:cs typeface="ヒラギノ角ゴ ProN W3"/>
      </a:majorFont>
      <a:minorFont>
        <a:latin typeface="Lucida Grande"/>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spDef>
    <a:ln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lnDef>
  </a:objectDefaults>
  <a:extraClrSchemeLst>
    <a:extraClrScheme>
      <a:clrScheme name="1_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7.xml><?xml version="1.0" encoding="utf-8"?>
<a:theme xmlns:a="http://schemas.openxmlformats.org/drawingml/2006/main" name="空白">
  <a:themeElements>
    <a:clrScheme name="">
      <a:dk1>
        <a:srgbClr val="414141"/>
      </a:dk1>
      <a:lt1>
        <a:srgbClr val="FFFFFF"/>
      </a:lt1>
      <a:dk2>
        <a:srgbClr val="000000"/>
      </a:dk2>
      <a:lt2>
        <a:srgbClr val="808080"/>
      </a:lt2>
      <a:accent1>
        <a:srgbClr val="6C7472"/>
      </a:accent1>
      <a:accent2>
        <a:srgbClr val="333399"/>
      </a:accent2>
      <a:accent3>
        <a:srgbClr val="FFFFFF"/>
      </a:accent3>
      <a:accent4>
        <a:srgbClr val="363636"/>
      </a:accent4>
      <a:accent5>
        <a:srgbClr val="BABCBC"/>
      </a:accent5>
      <a:accent6>
        <a:srgbClr val="2D2D8A"/>
      </a:accent6>
      <a:hlink>
        <a:srgbClr val="009999"/>
      </a:hlink>
      <a:folHlink>
        <a:srgbClr val="99CC00"/>
      </a:folHlink>
    </a:clrScheme>
    <a:fontScheme name="空白">
      <a:majorFont>
        <a:latin typeface="Gill Sans Light"/>
        <a:ea typeface="ヒラギノ角ゴ ProN W3"/>
        <a:cs typeface="ヒラギノ角ゴ ProN W3"/>
      </a:majorFont>
      <a:minorFont>
        <a:latin typeface="Gill Sans Light"/>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spDef>
    <a:ln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lnDef>
  </a:objectDefaults>
  <a:extraClrSchemeLst>
    <a:extraClrScheme>
      <a:clrScheme name="空白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8.xml><?xml version="1.0" encoding="utf-8"?>
<a:theme xmlns:a="http://schemas.openxmlformats.org/drawingml/2006/main" name="空白（ダーク）">
  <a:themeElements>
    <a:clrScheme name="">
      <a:dk1>
        <a:srgbClr val="414141"/>
      </a:dk1>
      <a:lt1>
        <a:srgbClr val="FFFFFF"/>
      </a:lt1>
      <a:dk2>
        <a:srgbClr val="000000"/>
      </a:dk2>
      <a:lt2>
        <a:srgbClr val="808080"/>
      </a:lt2>
      <a:accent1>
        <a:srgbClr val="6C7472"/>
      </a:accent1>
      <a:accent2>
        <a:srgbClr val="333399"/>
      </a:accent2>
      <a:accent3>
        <a:srgbClr val="FFFFFF"/>
      </a:accent3>
      <a:accent4>
        <a:srgbClr val="363636"/>
      </a:accent4>
      <a:accent5>
        <a:srgbClr val="BABCBC"/>
      </a:accent5>
      <a:accent6>
        <a:srgbClr val="2D2D8A"/>
      </a:accent6>
      <a:hlink>
        <a:srgbClr val="009999"/>
      </a:hlink>
      <a:folHlink>
        <a:srgbClr val="99CC00"/>
      </a:folHlink>
    </a:clrScheme>
    <a:fontScheme name="空白（ダーク）">
      <a:majorFont>
        <a:latin typeface="Gill Sans Light"/>
        <a:ea typeface="ヒラギノ角ゴ ProN W3"/>
        <a:cs typeface="ヒラギノ角ゴ ProN W3"/>
      </a:majorFont>
      <a:minorFont>
        <a:latin typeface="Gill Sans Light"/>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spDef>
    <a:ln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lnDef>
  </a:objectDefaults>
  <a:extraClrSchemeLst>
    <a:extraClrScheme>
      <a:clrScheme name="空白（ダーク）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タイトル（上）">
  <a:themeElements>
    <a:clrScheme name="">
      <a:dk1>
        <a:srgbClr val="414141"/>
      </a:dk1>
      <a:lt1>
        <a:srgbClr val="FFFFFF"/>
      </a:lt1>
      <a:dk2>
        <a:srgbClr val="000000"/>
      </a:dk2>
      <a:lt2>
        <a:srgbClr val="808080"/>
      </a:lt2>
      <a:accent1>
        <a:srgbClr val="6C7472"/>
      </a:accent1>
      <a:accent2>
        <a:srgbClr val="333399"/>
      </a:accent2>
      <a:accent3>
        <a:srgbClr val="FFFFFF"/>
      </a:accent3>
      <a:accent4>
        <a:srgbClr val="363636"/>
      </a:accent4>
      <a:accent5>
        <a:srgbClr val="BABCBC"/>
      </a:accent5>
      <a:accent6>
        <a:srgbClr val="2D2D8A"/>
      </a:accent6>
      <a:hlink>
        <a:srgbClr val="009999"/>
      </a:hlink>
      <a:folHlink>
        <a:srgbClr val="99CC00"/>
      </a:folHlink>
    </a:clrScheme>
    <a:fontScheme name="タイトル（上）">
      <a:majorFont>
        <a:latin typeface="Gill Sans Light"/>
        <a:ea typeface="ヒラギノ角ゴ ProN W3"/>
        <a:cs typeface="ヒラギノ角ゴ ProN W3"/>
      </a:majorFont>
      <a:minorFont>
        <a:latin typeface="Gill Sans Light"/>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spDef>
    <a:ln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lnDef>
  </a:objectDefaults>
  <a:extraClrSchemeLst>
    <a:extraClrScheme>
      <a:clrScheme name="タイトル（上）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画像（縦長）">
  <a:themeElements>
    <a:clrScheme name="">
      <a:dk1>
        <a:srgbClr val="5F7BAE"/>
      </a:dk1>
      <a:lt1>
        <a:srgbClr val="A08451"/>
      </a:lt1>
      <a:dk2>
        <a:srgbClr val="000000"/>
      </a:dk2>
      <a:lt2>
        <a:srgbClr val="808080"/>
      </a:lt2>
      <a:accent1>
        <a:srgbClr val="6796EB"/>
      </a:accent1>
      <a:accent2>
        <a:srgbClr val="333399"/>
      </a:accent2>
      <a:accent3>
        <a:srgbClr val="CDC2B3"/>
      </a:accent3>
      <a:accent4>
        <a:srgbClr val="506894"/>
      </a:accent4>
      <a:accent5>
        <a:srgbClr val="B8C9F3"/>
      </a:accent5>
      <a:accent6>
        <a:srgbClr val="2D2D8A"/>
      </a:accent6>
      <a:hlink>
        <a:srgbClr val="009999"/>
      </a:hlink>
      <a:folHlink>
        <a:srgbClr val="99CC00"/>
      </a:folHlink>
    </a:clrScheme>
    <a:fontScheme name="画像（縦長）">
      <a:majorFont>
        <a:latin typeface="Herculanum"/>
        <a:ea typeface="ヒラギノ明朝 ProN W3"/>
        <a:cs typeface="ヒラギノ明朝 ProN W3"/>
      </a:majorFont>
      <a:minorFont>
        <a:latin typeface="Palatino"/>
        <a:ea typeface="ヒラギノ明朝 ProN W3"/>
        <a:cs typeface="ヒラギノ明朝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spDef>
    <a:ln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lnDef>
  </a:objectDefaults>
  <a:extraClrSchemeLst>
    <a:extraClrScheme>
      <a:clrScheme name="画像（縦長）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0.xml><?xml version="1.0" encoding="utf-8"?>
<a:theme xmlns:a="http://schemas.openxmlformats.org/drawingml/2006/main" name="タイトル（上、ダーク）">
  <a:themeElements>
    <a:clrScheme name="">
      <a:dk1>
        <a:srgbClr val="414141"/>
      </a:dk1>
      <a:lt1>
        <a:srgbClr val="FFFFFF"/>
      </a:lt1>
      <a:dk2>
        <a:srgbClr val="000000"/>
      </a:dk2>
      <a:lt2>
        <a:srgbClr val="808080"/>
      </a:lt2>
      <a:accent1>
        <a:srgbClr val="6C7472"/>
      </a:accent1>
      <a:accent2>
        <a:srgbClr val="333399"/>
      </a:accent2>
      <a:accent3>
        <a:srgbClr val="FFFFFF"/>
      </a:accent3>
      <a:accent4>
        <a:srgbClr val="363636"/>
      </a:accent4>
      <a:accent5>
        <a:srgbClr val="BABCBC"/>
      </a:accent5>
      <a:accent6>
        <a:srgbClr val="2D2D8A"/>
      </a:accent6>
      <a:hlink>
        <a:srgbClr val="009999"/>
      </a:hlink>
      <a:folHlink>
        <a:srgbClr val="99CC00"/>
      </a:folHlink>
    </a:clrScheme>
    <a:fontScheme name="タイトル（上、ダーク）">
      <a:majorFont>
        <a:latin typeface="Gill Sans Light"/>
        <a:ea typeface="ヒラギノ角ゴ ProN W3"/>
        <a:cs typeface="ヒラギノ角ゴ ProN W3"/>
      </a:majorFont>
      <a:minorFont>
        <a:latin typeface="Gill Sans Light"/>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spDef>
    <a:ln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lnDef>
  </a:objectDefaults>
  <a:extraClrSchemeLst>
    <a:extraClrScheme>
      <a:clrScheme name="タイトル（上、ダーク）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1.xml><?xml version="1.0" encoding="utf-8"?>
<a:theme xmlns:a="http://schemas.openxmlformats.org/drawingml/2006/main" name="そよ風">
  <a:themeElements>
    <a:clrScheme name="そよ風">
      <a:dk1>
        <a:sysClr val="windowText" lastClr="000000"/>
      </a:dk1>
      <a:lt1>
        <a:sysClr val="window" lastClr="FFFFFF"/>
      </a:lt1>
      <a:dk2>
        <a:srgbClr val="09213B"/>
      </a:dk2>
      <a:lt2>
        <a:srgbClr val="D5EDF4"/>
      </a:lt2>
      <a:accent1>
        <a:srgbClr val="2C7C9F"/>
      </a:accent1>
      <a:accent2>
        <a:srgbClr val="244A58"/>
      </a:accent2>
      <a:accent3>
        <a:srgbClr val="E2751D"/>
      </a:accent3>
      <a:accent4>
        <a:srgbClr val="FFB400"/>
      </a:accent4>
      <a:accent5>
        <a:srgbClr val="7EB606"/>
      </a:accent5>
      <a:accent6>
        <a:srgbClr val="C00000"/>
      </a:accent6>
      <a:hlink>
        <a:srgbClr val="7030A0"/>
      </a:hlink>
      <a:folHlink>
        <a:srgbClr val="00B0F0"/>
      </a:folHlink>
    </a:clrScheme>
    <a:fontScheme name="そよ風">
      <a:majorFont>
        <a:latin typeface="News Gothic MT"/>
        <a:ea typeface=""/>
        <a:cs typeface=""/>
        <a:font script="Jpan" typeface="ＭＳ Ｐゴシック"/>
        <a:font script="Hans" typeface="宋体"/>
        <a:font script="Hant" typeface="新細明體"/>
      </a:majorFont>
      <a:minorFont>
        <a:latin typeface="News Gothic MT"/>
        <a:ea typeface=""/>
        <a:cs typeface=""/>
        <a:font script="Jpan" typeface="ＭＳ Ｐゴシック"/>
        <a:font script="Hans" typeface="宋体"/>
        <a:font script="Hant" typeface="新細明體"/>
      </a:minorFont>
    </a:fontScheme>
    <a:fmtScheme name="そよ風">
      <a:fillStyleLst>
        <a:solidFill>
          <a:schemeClr val="phClr"/>
        </a:solidFill>
        <a:gradFill rotWithShape="1">
          <a:gsLst>
            <a:gs pos="31000">
              <a:schemeClr val="phClr">
                <a:tint val="100000"/>
                <a:shade val="100000"/>
                <a:satMod val="120000"/>
              </a:schemeClr>
            </a:gs>
            <a:gs pos="100000">
              <a:schemeClr val="phClr">
                <a:tint val="50000"/>
                <a:satMod val="150000"/>
              </a:schemeClr>
            </a:gs>
          </a:gsLst>
          <a:lin ang="5400000" scaled="1"/>
        </a:gradFill>
        <a:gradFill rotWithShape="1">
          <a:gsLst>
            <a:gs pos="0">
              <a:schemeClr val="phClr">
                <a:shade val="100000"/>
                <a:satMod val="120000"/>
              </a:schemeClr>
            </a:gs>
            <a:gs pos="69000">
              <a:schemeClr val="phClr">
                <a:tint val="80000"/>
                <a:shade val="100000"/>
                <a:satMod val="150000"/>
              </a:schemeClr>
            </a:gs>
            <a:gs pos="100000">
              <a:schemeClr val="phClr">
                <a:tint val="50000"/>
                <a:shade val="100000"/>
                <a:satMod val="150000"/>
              </a:schemeClr>
            </a:gs>
          </a:gsLst>
          <a:path path="circle">
            <a:fillToRect l="100000" t="100000" r="100000" b="100000"/>
          </a:path>
        </a:gradFill>
      </a:fillStyleLst>
      <a:lnStyleLst>
        <a:ln w="12700" cap="flat" cmpd="sng" algn="ctr">
          <a:solidFill>
            <a:schemeClr val="phClr">
              <a:shade val="95000"/>
              <a:satMod val="105000"/>
            </a:schemeClr>
          </a:solidFill>
          <a:prstDash val="solid"/>
        </a:ln>
        <a:ln w="25400" cap="flat" cmpd="dbl" algn="ctr">
          <a:solidFill>
            <a:schemeClr val="phClr"/>
          </a:solidFill>
          <a:prstDash val="solid"/>
        </a:ln>
        <a:ln w="31750" cap="flat" cmpd="dbl" algn="ctr">
          <a:solidFill>
            <a:schemeClr val="phClr"/>
          </a:solidFill>
          <a:prstDash val="solid"/>
        </a:ln>
      </a:lnStyleLst>
      <a:effectStyleLst>
        <a:effectStyle>
          <a:effectLst/>
        </a:effectStyle>
        <a:effectStyle>
          <a:effectLst>
            <a:outerShdw blurRad="63500" dist="25400" dir="5400000" sx="101000" sy="101000" rotWithShape="0">
              <a:srgbClr val="000000">
                <a:alpha val="40000"/>
              </a:srgbClr>
            </a:outerShdw>
          </a:effectLst>
        </a:effectStyle>
        <a:effectStyle>
          <a:effectLst>
            <a:innerShdw blurRad="127000" dist="25400" dir="13500000">
              <a:srgbClr val="C0C0C0">
                <a:alpha val="75000"/>
              </a:srgbClr>
            </a:innerShdw>
            <a:outerShdw blurRad="88900" dist="25400" dir="5400000" sx="102000" sy="102000" algn="ctr" rotWithShape="0">
              <a:srgbClr val="C0C0C0">
                <a:alpha val="40000"/>
              </a:srgbClr>
            </a:outerShdw>
          </a:effectLst>
          <a:scene3d>
            <a:camera prst="perspectiveLeft" fov="300000"/>
            <a:lightRig rig="soft" dir="l">
              <a:rot lat="0" lon="0" rev="4200000"/>
            </a:lightRig>
          </a:scene3d>
          <a:sp3d extrusionH="38100" prstMaterial="powder">
            <a:bevelT w="50800" h="88900" prst="convex"/>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blipFill rotWithShape="1">
          <a:blip xmlns:r="http://schemas.openxmlformats.org/officeDocument/2006/relationships" r:embed="rId1">
            <a:duotone>
              <a:schemeClr val="phClr">
                <a:shade val="40000"/>
                <a:satMod val="400000"/>
              </a:schemeClr>
              <a:schemeClr val="phClr">
                <a:tint val="10000"/>
                <a:satMod val="200000"/>
              </a:schemeClr>
            </a:duotone>
          </a:blip>
          <a:stretch/>
        </a:blipFill>
      </a:bgFillStyleLst>
    </a:fmtScheme>
  </a:themeElements>
  <a:objectDefaults>
    <a:spDef>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3.xml><?xml version="1.0" encoding="utf-8"?>
<a:theme xmlns:a="http://schemas.openxmlformats.org/drawingml/2006/main" name="ホワイ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画像（横長）">
  <a:themeElements>
    <a:clrScheme name="">
      <a:dk1>
        <a:srgbClr val="5F7BAE"/>
      </a:dk1>
      <a:lt1>
        <a:srgbClr val="A08451"/>
      </a:lt1>
      <a:dk2>
        <a:srgbClr val="000000"/>
      </a:dk2>
      <a:lt2>
        <a:srgbClr val="808080"/>
      </a:lt2>
      <a:accent1>
        <a:srgbClr val="6796EB"/>
      </a:accent1>
      <a:accent2>
        <a:srgbClr val="333399"/>
      </a:accent2>
      <a:accent3>
        <a:srgbClr val="CDC2B3"/>
      </a:accent3>
      <a:accent4>
        <a:srgbClr val="506894"/>
      </a:accent4>
      <a:accent5>
        <a:srgbClr val="B8C9F3"/>
      </a:accent5>
      <a:accent6>
        <a:srgbClr val="2D2D8A"/>
      </a:accent6>
      <a:hlink>
        <a:srgbClr val="009999"/>
      </a:hlink>
      <a:folHlink>
        <a:srgbClr val="99CC00"/>
      </a:folHlink>
    </a:clrScheme>
    <a:fontScheme name="画像（横長）">
      <a:majorFont>
        <a:latin typeface="Herculanum"/>
        <a:ea typeface="ヒラギノ明朝 ProN W3"/>
        <a:cs typeface="ヒラギノ明朝 ProN W3"/>
      </a:majorFont>
      <a:minorFont>
        <a:latin typeface="Palatino"/>
        <a:ea typeface="ヒラギノ明朝 ProN W3"/>
        <a:cs typeface="ヒラギノ明朝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spDef>
    <a:ln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lnDef>
  </a:objectDefaults>
  <a:extraClrSchemeLst>
    <a:extraClrScheme>
      <a:clrScheme name="画像（横長）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タイトル（中央）">
  <a:themeElements>
    <a:clrScheme name="">
      <a:dk1>
        <a:srgbClr val="5F7BAE"/>
      </a:dk1>
      <a:lt1>
        <a:srgbClr val="A08451"/>
      </a:lt1>
      <a:dk2>
        <a:srgbClr val="000000"/>
      </a:dk2>
      <a:lt2>
        <a:srgbClr val="808080"/>
      </a:lt2>
      <a:accent1>
        <a:srgbClr val="6796EB"/>
      </a:accent1>
      <a:accent2>
        <a:srgbClr val="333399"/>
      </a:accent2>
      <a:accent3>
        <a:srgbClr val="CDC2B3"/>
      </a:accent3>
      <a:accent4>
        <a:srgbClr val="506894"/>
      </a:accent4>
      <a:accent5>
        <a:srgbClr val="B8C9F3"/>
      </a:accent5>
      <a:accent6>
        <a:srgbClr val="2D2D8A"/>
      </a:accent6>
      <a:hlink>
        <a:srgbClr val="009999"/>
      </a:hlink>
      <a:folHlink>
        <a:srgbClr val="99CC00"/>
      </a:folHlink>
    </a:clrScheme>
    <a:fontScheme name="タイトル（中央）">
      <a:majorFont>
        <a:latin typeface="Herculanum"/>
        <a:ea typeface="ヒラギノ明朝 ProN W3"/>
        <a:cs typeface="ヒラギノ明朝 ProN W3"/>
      </a:majorFont>
      <a:minorFont>
        <a:latin typeface="Palatino"/>
        <a:ea typeface="ヒラギノ明朝 ProN W3"/>
        <a:cs typeface="ヒラギノ明朝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spDef>
    <a:ln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lnDef>
  </a:objectDefaults>
  <a:extraClrSchemeLst>
    <a:extraClrScheme>
      <a:clrScheme name="タイトル（中央）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タイトル &amp; サブタイトル">
  <a:themeElements>
    <a:clrScheme name="">
      <a:dk1>
        <a:srgbClr val="5F7BAE"/>
      </a:dk1>
      <a:lt1>
        <a:srgbClr val="A08451"/>
      </a:lt1>
      <a:dk2>
        <a:srgbClr val="000000"/>
      </a:dk2>
      <a:lt2>
        <a:srgbClr val="808080"/>
      </a:lt2>
      <a:accent1>
        <a:srgbClr val="6796EB"/>
      </a:accent1>
      <a:accent2>
        <a:srgbClr val="333399"/>
      </a:accent2>
      <a:accent3>
        <a:srgbClr val="CDC2B3"/>
      </a:accent3>
      <a:accent4>
        <a:srgbClr val="506894"/>
      </a:accent4>
      <a:accent5>
        <a:srgbClr val="B8C9F3"/>
      </a:accent5>
      <a:accent6>
        <a:srgbClr val="2D2D8A"/>
      </a:accent6>
      <a:hlink>
        <a:srgbClr val="009999"/>
      </a:hlink>
      <a:folHlink>
        <a:srgbClr val="99CC00"/>
      </a:folHlink>
    </a:clrScheme>
    <a:fontScheme name="タイトル &amp; サブタイトル">
      <a:majorFont>
        <a:latin typeface="Herculanum"/>
        <a:ea typeface="ヒラギノ明朝 ProN W3"/>
        <a:cs typeface="ヒラギノ明朝 ProN W3"/>
      </a:majorFont>
      <a:minorFont>
        <a:latin typeface="Palatino"/>
        <a:ea typeface="ヒラギノ明朝 ProN W3"/>
        <a:cs typeface="ヒラギノ明朝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spDef>
    <a:ln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lnDef>
  </a:objectDefaults>
  <a:extraClrSchemeLst>
    <a:extraClrScheme>
      <a:clrScheme name="タイトル &amp; サブタイトル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箇条書き">
  <a:themeElements>
    <a:clrScheme name="">
      <a:dk1>
        <a:srgbClr val="5F7BAE"/>
      </a:dk1>
      <a:lt1>
        <a:srgbClr val="A08451"/>
      </a:lt1>
      <a:dk2>
        <a:srgbClr val="000000"/>
      </a:dk2>
      <a:lt2>
        <a:srgbClr val="808080"/>
      </a:lt2>
      <a:accent1>
        <a:srgbClr val="6796EB"/>
      </a:accent1>
      <a:accent2>
        <a:srgbClr val="333399"/>
      </a:accent2>
      <a:accent3>
        <a:srgbClr val="CDC2B3"/>
      </a:accent3>
      <a:accent4>
        <a:srgbClr val="506894"/>
      </a:accent4>
      <a:accent5>
        <a:srgbClr val="B8C9F3"/>
      </a:accent5>
      <a:accent6>
        <a:srgbClr val="2D2D8A"/>
      </a:accent6>
      <a:hlink>
        <a:srgbClr val="009999"/>
      </a:hlink>
      <a:folHlink>
        <a:srgbClr val="99CC00"/>
      </a:folHlink>
    </a:clrScheme>
    <a:fontScheme name="箇条書き">
      <a:majorFont>
        <a:latin typeface="Herculanum"/>
        <a:ea typeface="ヒラギノ明朝 ProN W3"/>
        <a:cs typeface="ヒラギノ明朝 ProN W3"/>
      </a:majorFont>
      <a:minorFont>
        <a:latin typeface="Palatino"/>
        <a:ea typeface="ヒラギノ明朝 ProN W3"/>
        <a:cs typeface="ヒラギノ明朝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spDef>
    <a:ln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lnDef>
  </a:objectDefaults>
  <a:extraClrSchemeLst>
    <a:extraClrScheme>
      <a:clrScheme name="箇条書き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タイトル（上）">
  <a:themeElements>
    <a:clrScheme name="">
      <a:dk1>
        <a:srgbClr val="5F7BAE"/>
      </a:dk1>
      <a:lt1>
        <a:srgbClr val="A08451"/>
      </a:lt1>
      <a:dk2>
        <a:srgbClr val="000000"/>
      </a:dk2>
      <a:lt2>
        <a:srgbClr val="808080"/>
      </a:lt2>
      <a:accent1>
        <a:srgbClr val="6796EB"/>
      </a:accent1>
      <a:accent2>
        <a:srgbClr val="333399"/>
      </a:accent2>
      <a:accent3>
        <a:srgbClr val="CDC2B3"/>
      </a:accent3>
      <a:accent4>
        <a:srgbClr val="506894"/>
      </a:accent4>
      <a:accent5>
        <a:srgbClr val="B8C9F3"/>
      </a:accent5>
      <a:accent6>
        <a:srgbClr val="2D2D8A"/>
      </a:accent6>
      <a:hlink>
        <a:srgbClr val="009999"/>
      </a:hlink>
      <a:folHlink>
        <a:srgbClr val="99CC00"/>
      </a:folHlink>
    </a:clrScheme>
    <a:fontScheme name="タイトル（上）">
      <a:majorFont>
        <a:latin typeface="Herculanum"/>
        <a:ea typeface="ヒラギノ明朝 ProN W3"/>
        <a:cs typeface="ヒラギノ明朝 ProN W3"/>
      </a:majorFont>
      <a:minorFont>
        <a:latin typeface="Palatino"/>
        <a:ea typeface="ヒラギノ明朝 ProN W3"/>
        <a:cs typeface="ヒラギノ明朝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spDef>
    <a:ln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lnDef>
  </a:objectDefaults>
  <a:extraClrSchemeLst>
    <a:extraClrScheme>
      <a:clrScheme name="タイトル（上）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タイトル &amp; 箇条書き（左）">
  <a:themeElements>
    <a:clrScheme name="">
      <a:dk1>
        <a:srgbClr val="5F7BAE"/>
      </a:dk1>
      <a:lt1>
        <a:srgbClr val="A08451"/>
      </a:lt1>
      <a:dk2>
        <a:srgbClr val="000000"/>
      </a:dk2>
      <a:lt2>
        <a:srgbClr val="808080"/>
      </a:lt2>
      <a:accent1>
        <a:srgbClr val="6796EB"/>
      </a:accent1>
      <a:accent2>
        <a:srgbClr val="333399"/>
      </a:accent2>
      <a:accent3>
        <a:srgbClr val="CDC2B3"/>
      </a:accent3>
      <a:accent4>
        <a:srgbClr val="506894"/>
      </a:accent4>
      <a:accent5>
        <a:srgbClr val="B8C9F3"/>
      </a:accent5>
      <a:accent6>
        <a:srgbClr val="2D2D8A"/>
      </a:accent6>
      <a:hlink>
        <a:srgbClr val="009999"/>
      </a:hlink>
      <a:folHlink>
        <a:srgbClr val="99CC00"/>
      </a:folHlink>
    </a:clrScheme>
    <a:fontScheme name="タイトル &amp; 箇条書き（左）">
      <a:majorFont>
        <a:latin typeface="Herculanum"/>
        <a:ea typeface="ヒラギノ明朝 ProN W3"/>
        <a:cs typeface="ヒラギノ明朝 ProN W3"/>
      </a:majorFont>
      <a:minorFont>
        <a:latin typeface="Palatino"/>
        <a:ea typeface="ヒラギノ明朝 ProN W3"/>
        <a:cs typeface="ヒラギノ明朝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spDef>
    <a:lnDef>
      <a:spPr bwMode="auto">
        <a:xfrm>
          <a:off x="0" y="0"/>
          <a:ext cx="1" cy="1"/>
        </a:xfrm>
        <a:custGeom>
          <a:avLst/>
          <a:gdLst/>
          <a:ahLst/>
          <a:cxnLst/>
          <a:rect l="0" t="0" r="0" b="0"/>
          <a:pathLst/>
        </a:custGeom>
        <a:solidFill>
          <a:srgbClr val="4F81BD"/>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0000"/>
            </a:solidFill>
            <a:effectLst/>
            <a:latin typeface="Lucida Grande" charset="0"/>
            <a:ea typeface="ヒラギノ角ゴ ProN W3" charset="0"/>
            <a:cs typeface="ヒラギノ角ゴ ProN W3" charset="0"/>
            <a:sym typeface="Lucida Grande" charset="0"/>
          </a:defRPr>
        </a:defPPr>
      </a:lstStyle>
    </a:lnDef>
  </a:objectDefaults>
  <a:extraClrSchemeLst>
    <a:extraClrScheme>
      <a:clrScheme name="タイトル &amp; 箇条書き（左）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F75D5C35C5DB94AAB48ADABE5733461" ma:contentTypeVersion="4" ma:contentTypeDescription="Create a new document." ma:contentTypeScope="" ma:versionID="1e336c0bef3338d4c349938ea52ba48b">
  <xsd:schema xmlns:xsd="http://www.w3.org/2001/XMLSchema" xmlns:xs="http://www.w3.org/2001/XMLSchema" xmlns:p="http://schemas.microsoft.com/office/2006/metadata/properties" xmlns:ns1="http://schemas.microsoft.com/sharepoint/v3" xmlns:ns2="1aaea1ea-72e4-4374-b05e-72e2f16fb7ae" targetNamespace="http://schemas.microsoft.com/office/2006/metadata/properties" ma:root="true" ma:fieldsID="0a370456390dc8c2763c4626a714d79b" ns1:_="" ns2:_="">
    <xsd:import namespace="http://schemas.microsoft.com/sharepoint/v3"/>
    <xsd:import namespace="1aaea1ea-72e4-4374-b05e-72e2f16fb7ae"/>
    <xsd:element name="properties">
      <xsd:complexType>
        <xsd:sequence>
          <xsd:element name="documentManagement">
            <xsd:complexType>
              <xsd:all>
                <xsd:element ref="ns1:PublishingStartDate" minOccurs="0"/>
                <xsd:element ref="ns1:PublishingExpirationDate"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 ma:hidden="true" ma:internalName="PublishingStartDate">
      <xsd:simpleType>
        <xsd:restriction base="dms:Unknown"/>
      </xsd:simpleType>
    </xsd:element>
    <xsd:element name="PublishingExpirationDate" ma:index="9"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aaea1ea-72e4-4374-b05e-72e2f16fb7ae"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B475BE29-5395-4CAE-8E6D-A009D6BBFA20}"/>
</file>

<file path=customXml/itemProps2.xml><?xml version="1.0" encoding="utf-8"?>
<ds:datastoreItem xmlns:ds="http://schemas.openxmlformats.org/officeDocument/2006/customXml" ds:itemID="{DBA1EB22-46EF-40C9-B05C-24D314F115C8}"/>
</file>

<file path=customXml/itemProps3.xml><?xml version="1.0" encoding="utf-8"?>
<ds:datastoreItem xmlns:ds="http://schemas.openxmlformats.org/officeDocument/2006/customXml" ds:itemID="{4BC75DFA-7D75-4815-A831-A8BA63255377}"/>
</file>

<file path=docProps/app.xml><?xml version="1.0" encoding="utf-8"?>
<Properties xmlns="http://schemas.openxmlformats.org/officeDocument/2006/extended-properties" xmlns:vt="http://schemas.openxmlformats.org/officeDocument/2006/docPropsVTypes">
  <TotalTime>3226</TotalTime>
  <Pages>0</Pages>
  <Words>2300</Words>
  <Characters>0</Characters>
  <Application>Microsoft Office PowerPoint</Application>
  <PresentationFormat>On-screen Show (4:3)</PresentationFormat>
  <Lines>0</Lines>
  <Paragraphs>303</Paragraphs>
  <Slides>20</Slides>
  <Notes>16</Notes>
  <HiddenSlides>0</HiddenSlides>
  <MMClips>0</MMClips>
  <ScaleCrop>false</ScaleCrop>
  <HeadingPairs>
    <vt:vector size="4" baseType="variant">
      <vt:variant>
        <vt:lpstr>Theme</vt:lpstr>
      </vt:variant>
      <vt:variant>
        <vt:i4>31</vt:i4>
      </vt:variant>
      <vt:variant>
        <vt:lpstr>Slide Titles</vt:lpstr>
      </vt:variant>
      <vt:variant>
        <vt:i4>20</vt:i4>
      </vt:variant>
    </vt:vector>
  </HeadingPairs>
  <TitlesOfParts>
    <vt:vector size="51" baseType="lpstr">
      <vt:lpstr>タイトル &amp; 箇条書き</vt:lpstr>
      <vt:lpstr>空白</vt:lpstr>
      <vt:lpstr>画像（縦長）</vt:lpstr>
      <vt:lpstr>画像（横長）</vt:lpstr>
      <vt:lpstr>タイトル（中央）</vt:lpstr>
      <vt:lpstr>タイトル &amp; サブタイトル</vt:lpstr>
      <vt:lpstr>箇条書き</vt:lpstr>
      <vt:lpstr>タイトル（上）</vt:lpstr>
      <vt:lpstr>タイトル &amp; 箇条書き（左）</vt:lpstr>
      <vt:lpstr>タイトル &amp; 箇条書き（2 段組み）</vt:lpstr>
      <vt:lpstr>タイトル、箇条書き、画像</vt:lpstr>
      <vt:lpstr>タイトル &amp; 箇条書き（右）</vt:lpstr>
      <vt:lpstr>blank</vt:lpstr>
      <vt:lpstr>タイトル &amp; サブタイトル</vt:lpstr>
      <vt:lpstr>画像（縦長）</vt:lpstr>
      <vt:lpstr>画像（縦長、ダーク）</vt:lpstr>
      <vt:lpstr>タイトル（中央）</vt:lpstr>
      <vt:lpstr>画像（横長）</vt:lpstr>
      <vt:lpstr>画像（横長、ダーク）</vt:lpstr>
      <vt:lpstr>タイトル &amp; サブタイトル（画像）</vt:lpstr>
      <vt:lpstr>タイトル &amp; サブタイトル（画像、ダーク）</vt:lpstr>
      <vt:lpstr>タイトル &amp; 箇条書き（右）</vt:lpstr>
      <vt:lpstr>2_blank</vt:lpstr>
      <vt:lpstr>タイトル &amp; 箇条書き（左）</vt:lpstr>
      <vt:lpstr>タイトル、箇条書き、画像</vt:lpstr>
      <vt:lpstr>1_blank</vt:lpstr>
      <vt:lpstr>空白</vt:lpstr>
      <vt:lpstr>空白（ダーク）</vt:lpstr>
      <vt:lpstr>タイトル（上）</vt:lpstr>
      <vt:lpstr>タイトル（上、ダーク）</vt:lpstr>
      <vt:lpstr>そよ風</vt:lpstr>
      <vt:lpstr>Slide 1</vt:lpstr>
      <vt:lpstr>Slide 2</vt:lpstr>
      <vt:lpstr>Slide 3</vt:lpstr>
      <vt:lpstr>New Membership</vt:lpstr>
      <vt:lpstr>Objectives</vt:lpstr>
      <vt:lpstr>The PAC MLA</vt:lpstr>
      <vt:lpstr>Established MLA Programs</vt:lpstr>
      <vt:lpstr>Newly launched MLAs</vt:lpstr>
      <vt:lpstr>Slide 9</vt:lpstr>
      <vt:lpstr>Slide 10</vt:lpstr>
      <vt:lpstr>Slide 11</vt:lpstr>
      <vt:lpstr>Slide 12</vt:lpstr>
      <vt:lpstr>Slide 13</vt:lpstr>
      <vt:lpstr>Slide 14</vt:lpstr>
      <vt:lpstr>Slide 15</vt:lpstr>
      <vt:lpstr>Slide 16</vt:lpstr>
      <vt:lpstr>Slide 17</vt:lpstr>
      <vt:lpstr>Goal 4 – Increase the acceptance of PAC among stakeholders</vt:lpstr>
      <vt:lpstr>Slide 19</vt:lpstr>
      <vt:lpstr>Slide 20</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スライド 1</dc:title>
  <dc:creator>情報システム厚生課</dc:creator>
  <cp:lastModifiedBy>B .V</cp:lastModifiedBy>
  <cp:revision>268</cp:revision>
  <dcterms:modified xsi:type="dcterms:W3CDTF">2013-11-22T04:35: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F75D5C35C5DB94AAB48ADABE5733461</vt:lpwstr>
  </property>
</Properties>
</file>